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6"/>
  </p:notesMasterIdLst>
  <p:sldIdLst>
    <p:sldId id="268" r:id="rId2"/>
    <p:sldId id="300" r:id="rId3"/>
    <p:sldId id="292" r:id="rId4"/>
    <p:sldId id="289" r:id="rId5"/>
    <p:sldId id="288" r:id="rId6"/>
    <p:sldId id="285" r:id="rId7"/>
    <p:sldId id="287" r:id="rId8"/>
    <p:sldId id="293" r:id="rId9"/>
    <p:sldId id="294" r:id="rId10"/>
    <p:sldId id="286" r:id="rId11"/>
    <p:sldId id="282" r:id="rId12"/>
    <p:sldId id="284" r:id="rId13"/>
    <p:sldId id="274" r:id="rId14"/>
    <p:sldId id="275" r:id="rId15"/>
    <p:sldId id="273" r:id="rId16"/>
    <p:sldId id="256" r:id="rId17"/>
    <p:sldId id="270" r:id="rId18"/>
    <p:sldId id="269" r:id="rId19"/>
    <p:sldId id="272" r:id="rId20"/>
    <p:sldId id="267" r:id="rId21"/>
    <p:sldId id="295" r:id="rId22"/>
    <p:sldId id="265" r:id="rId23"/>
    <p:sldId id="264" r:id="rId24"/>
    <p:sldId id="266" r:id="rId25"/>
    <p:sldId id="263" r:id="rId26"/>
    <p:sldId id="271" r:id="rId27"/>
    <p:sldId id="261" r:id="rId28"/>
    <p:sldId id="260" r:id="rId29"/>
    <p:sldId id="283" r:id="rId30"/>
    <p:sldId id="259" r:id="rId31"/>
    <p:sldId id="258" r:id="rId32"/>
    <p:sldId id="257" r:id="rId33"/>
    <p:sldId id="279" r:id="rId34"/>
    <p:sldId id="276" r:id="rId35"/>
    <p:sldId id="290" r:id="rId36"/>
    <p:sldId id="297" r:id="rId37"/>
    <p:sldId id="298" r:id="rId38"/>
    <p:sldId id="299" r:id="rId39"/>
    <p:sldId id="280" r:id="rId40"/>
    <p:sldId id="291" r:id="rId41"/>
    <p:sldId id="296" r:id="rId42"/>
    <p:sldId id="301" r:id="rId43"/>
    <p:sldId id="277" r:id="rId44"/>
    <p:sldId id="278" r:id="rId45"/>
  </p:sldIdLst>
  <p:sldSz cx="12192000" cy="6858000"/>
  <p:notesSz cx="6858000" cy="9144000"/>
  <p:custDataLst>
    <p:tags r:id="rId4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4D0CE"/>
    <a:srgbClr val="CCECFF"/>
    <a:srgbClr val="E6B4BF"/>
    <a:srgbClr val="99CCFF"/>
    <a:srgbClr val="1A29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352" autoAdjust="0"/>
    <p:restoredTop sz="94660"/>
  </p:normalViewPr>
  <p:slideViewPr>
    <p:cSldViewPr snapToGrid="0">
      <p:cViewPr varScale="1">
        <p:scale>
          <a:sx n="124" d="100"/>
          <a:sy n="124" d="100"/>
        </p:scale>
        <p:origin x="396" y="10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tags" Target="tags/tag1.xml"/><Relationship Id="rId50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DD37F5-048F-4840-9C6A-E88D052B6663}" type="datetimeFigureOut">
              <a:rPr lang="en-US" smtClean="0"/>
              <a:t>10/4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F04476-38E9-453C-9ABD-82D13FB6EE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5931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07D3DF-1EB1-DBA6-959B-2A37C731794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3D5E76A-9660-2CAD-FF69-4CB6530BA8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F8DDC4-F9F9-2486-03BF-92CC684333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48EDEA-1FAE-080C-24BC-BFE7BD63A7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2AD75D-7042-CDFC-AE64-9447195933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686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B13693-F1D8-6126-F6B1-0F6D5EF19F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7B09019-EA84-91FC-E45C-29AD47AFAD1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1F950CF-97E1-0D90-29F9-DA2934A9E9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6C7B11-0780-1B28-BC0A-BF77274A4C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AB5220-801A-D139-86D1-1087FD07A2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76888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84771C7-3227-1325-DEFD-3E09D24F671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325B2D6-800F-5C45-1002-B675E287E11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93BB87-EA2D-FB7D-6522-C28585293C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7A3572-B504-CD87-D5AF-296D61EBC2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EF0E9E-9529-12DD-A52D-5D9417404C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19659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E1AC0F-6EAE-899D-CEE3-6535EB0F84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5A8830-A31F-B007-9C20-33A58B9B7D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CF346E-0418-7061-398E-88665B1C36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ED4440-129E-7498-2074-D24B90DB52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632184-1F41-938E-CE3E-7CC6B7F7C4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78977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60B732-4DD7-E53E-012E-67F77A8EFB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77C1F2-3648-C98B-8694-5C271B91F9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C66E19-FF1E-321C-03DD-6AD1EE92F0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807CBD-A4DB-2840-118B-BBFAFC3A42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5FAD5E-1A20-3E75-4354-2009B6991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77795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784325-E73F-5FA6-6D80-28B3A465A5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6649A5-F17A-481D-152D-3C6314F4669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5571785-ED56-F01F-3506-4B50CBF64B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4E42675-F4A0-0062-C04F-C9458A25C3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4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EB6C8E-62CD-3104-F2B4-FFC45B7DD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188290-7BA7-1AF6-D5EA-5A4D624D00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27613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3B08E6-47B1-F32D-496A-0248BA0BC2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C3A6B-5653-EF3D-4FAE-AB90A57C13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4271F09-102D-B8B0-B73F-25F618FEBE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CE29F23-8605-B081-5041-014357E9157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AB3345F-A3A1-E09A-B6EE-24B722327F6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2DAAB50-42B9-E999-0508-F30EEBFF0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4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AF7550A-A1CA-ED04-DB2B-FF214ADA45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ADACA6E-72D6-4FFC-1543-DAA189E0F6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22519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37525F-27D8-074B-85A6-012F354B04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55A121-698F-059F-ACC7-5B481928DC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4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0CEF5BF-69A1-9A65-610D-321DA32771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175DBC7-F943-8B56-FBB4-37CB4A6648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59788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C7FFC84-8A10-B3EC-704C-4ABDA5814F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4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AEE885D-C4D0-3D4D-E2C0-598539724F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7666E4-6EC0-33E4-095B-AB3B6F1762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3849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10BDF3-3E83-0B6A-9591-94F3AD8A7C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BC49D0-4337-F03A-AAA5-5274CD8124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358633-BCA2-596C-74F0-D3ED11815D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9F6101F-0BAF-0307-BCD8-979394089B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4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CF9260-B447-6062-3DAA-0D95071508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A5D3821-39BC-DA23-1FAC-2FFCB3EB86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70704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73C7FF-5EB2-A4E8-ADD7-FC3BB55538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C17AD84-00A4-2679-4833-B33F259B180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E0484F2-69C9-F375-194F-B2AA48A7874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8250AC-FE65-AEB6-E5E5-00F082706A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4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DEE06D-136F-8FCA-A1E5-545849672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92981F2-3E9A-955D-214F-DAE8779FE7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7066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6829E9A-97AA-1A17-4F52-D36F248EA7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6248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47" imgH="348" progId="TCLayout.ActiveDocument.1">
                  <p:embed/>
                </p:oleObj>
              </mc:Choice>
              <mc:Fallback>
                <p:oleObj name="think-cell Slide" r:id="rId1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333A35F-C2F0-F675-87BA-831E5EE0FC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EDB8C9-7001-E909-B4A1-3577DC95BD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56CD66-EBE4-A12C-8F69-87F3140248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CA07F9-06C3-4C90-A7AE-61AB97B15816}" type="datetimeFigureOut">
              <a:rPr lang="en-US" smtClean="0"/>
              <a:t>10/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ED67B-3126-6ABD-9FB4-C80F39B2BE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F5418C-40BD-4D1C-D96B-512ECF0165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6152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5" Type="http://schemas.openxmlformats.org/officeDocument/2006/relationships/image" Target="../media/image21.png"/><Relationship Id="rId4" Type="http://schemas.openxmlformats.org/officeDocument/2006/relationships/image" Target="../media/image1.emf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5.svg"/><Relationship Id="rId4" Type="http://schemas.openxmlformats.org/officeDocument/2006/relationships/image" Target="../media/image24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55018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A02CAD-32B4-F5EF-6457-A5434BA24A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9103" y="129396"/>
            <a:ext cx="11761839" cy="665096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VPLS configuration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{ 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 # Specify the list of Open vSwitch ports where hosts are connected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</a:t>
            </a: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Device ID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MAC address of logical management interface (Bridge br0) of Open vSwitch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         Interfaces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name, MAC address and VLAN ID of the host device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endParaRPr lang="en-US" sz="2000" dirty="0">
              <a:latin typeface="Bahnschrift Light Condensed" panose="020B0502040204020203" pitchFamily="34" charset="0"/>
              <a:cs typeface="Arial" panose="020B0604020202020204" pitchFamily="34" charset="0"/>
            </a:endParaRP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         Set the application ID of VPLS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org.onosproject.vpls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endParaRPr lang="en-US" sz="2000" dirty="0">
              <a:latin typeface="Bahnschrift Light Condensed" panose="020B0502040204020203" pitchFamily="34" charset="0"/>
              <a:cs typeface="Arial" panose="020B0604020202020204" pitchFamily="34" charset="0"/>
            </a:endParaRP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</a:t>
            </a: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        # Create the list of VPLS overlay network</a:t>
            </a:r>
          </a:p>
          <a:p>
            <a:pPr marL="457200" lvl="1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Set VPLS ID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name for VPLS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         Add the interfaces to the created VPLS ID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name of the host device participating in the same VPLS ID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         Set encapsulation method for VLAN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VLAN, MPLS or none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}</a:t>
            </a:r>
            <a:endParaRPr lang="en-DE" sz="2000" dirty="0">
              <a:latin typeface="Bahnschrift Light Condensed" panose="020B0502040204020203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80945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A02CAD-32B4-F5EF-6457-A5434BA24A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9103" y="129396"/>
            <a:ext cx="11761839" cy="665096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Flows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     {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Declare priority value of flow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0 and 65535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Set the flow entry state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permanent=true, timeout-0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Set Device ID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MAC address of logical management interface (Bridge br0) of Open vSwitch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endParaRPr lang="en-US" sz="2000" dirty="0">
              <a:latin typeface="Bahnschrift Light Condensed" panose="020B0502040204020203" pitchFamily="34" charset="0"/>
              <a:cs typeface="Arial" panose="020B0604020202020204" pitchFamily="34" charset="0"/>
            </a:endParaRPr>
          </a:p>
          <a:p>
            <a:pPr marL="457200" lvl="1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# Action to be taken by open vSwitch after the match-fields are matched</a:t>
            </a:r>
          </a:p>
          <a:p>
            <a:pPr marL="457200" lvl="1" indent="0">
              <a:buNone/>
            </a:pPr>
            <a:r>
              <a:rPr lang="en-US" sz="2000" i="1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Treatment: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instructions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send out the packet from port number, 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	     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send packet to flow table number, etc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. }</a:t>
            </a:r>
          </a:p>
          <a:p>
            <a:pPr marL="457200" lvl="1" indent="0">
              <a:buNone/>
            </a:pPr>
            <a:endParaRPr lang="en-US" sz="2000" dirty="0">
              <a:latin typeface="Bahnschrift Light Condensed" panose="020B0502040204020203" pitchFamily="34" charset="0"/>
              <a:cs typeface="Arial" panose="020B0604020202020204" pitchFamily="34" charset="0"/>
            </a:endParaRPr>
          </a:p>
          <a:p>
            <a:pPr marL="457200" lvl="1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# Specifying the match-fields for flow</a:t>
            </a:r>
          </a:p>
          <a:p>
            <a:pPr marL="457200" lvl="1" indent="0">
              <a:buNone/>
            </a:pPr>
            <a:r>
              <a:rPr lang="en-US" sz="2000" i="1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Selector: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criteria: { 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source and destination MAC address,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                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source and destination IP address,</a:t>
            </a:r>
          </a:p>
          <a:p>
            <a:pPr marL="457200" lvl="1" indent="0">
              <a:buNone/>
            </a:pP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         ingress port, VLAN ID, etc.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  <a:endParaRPr lang="en-DE" sz="2000" dirty="0">
              <a:latin typeface="Bahnschrift Light Condensed" panose="020B0502040204020203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68678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A02CAD-32B4-F5EF-6457-A5434BA24A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9103" y="129396"/>
            <a:ext cx="11761839" cy="665096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Intents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         {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 Declare the type of intent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Host-to-Host, SinglePoint-to-MultiPoint, MultiPoint-to-SinglePoint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 Set the application ID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org.onosproject.ovsdb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 Declare priority value of intent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0 and 65535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endParaRPr lang="en-US" sz="2000" dirty="0">
              <a:latin typeface="Bahnschrift Light Condensed" panose="020B0502040204020203" pitchFamily="34" charset="0"/>
              <a:cs typeface="Arial" panose="020B0604020202020204" pitchFamily="34" charset="0"/>
            </a:endParaRPr>
          </a:p>
          <a:p>
            <a:pPr marL="457200" lvl="1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 # Specify the information of devices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 For Host-to-Host intent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MAC address of the first and second host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endParaRPr lang="en-US" sz="2000" dirty="0">
              <a:solidFill>
                <a:schemeClr val="accent2">
                  <a:lumMod val="75000"/>
                </a:schemeClr>
              </a:solidFill>
              <a:latin typeface="Bahnschrift Light Condensed" panose="020B0502040204020203" pitchFamily="34" charset="0"/>
              <a:cs typeface="Arial" panose="020B0604020202020204" pitchFamily="34" charset="0"/>
            </a:endParaRP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 For SinglePoint-to-MultiPoint intent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Device ID with ingress port number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&amp;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Device IDs with egress port numbers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endParaRPr lang="en-US" sz="2000" dirty="0">
              <a:latin typeface="Bahnschrift Light Condensed" panose="020B0502040204020203" pitchFamily="34" charset="0"/>
              <a:cs typeface="Arial" panose="020B0604020202020204" pitchFamily="34" charset="0"/>
            </a:endParaRP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 For MultiPoint-to-SinglePoint intent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Device IDs with ingress port numbers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&amp;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Device ID with egress port number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	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 }</a:t>
            </a:r>
            <a:endParaRPr lang="en-DE" sz="2000" dirty="0">
              <a:latin typeface="Bahnschrift Light Condensed" panose="020B0502040204020203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921194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80760F4-8937-76E5-60D6-6E355A037172}"/>
              </a:ext>
            </a:extLst>
          </p:cNvPr>
          <p:cNvSpPr/>
          <p:nvPr/>
        </p:nvSpPr>
        <p:spPr>
          <a:xfrm>
            <a:off x="2559001" y="2661792"/>
            <a:ext cx="4187798" cy="238205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pic>
        <p:nvPicPr>
          <p:cNvPr id="2" name="Picture 1" descr="Diagram&#10;&#10;Description automatically generated">
            <a:extLst>
              <a:ext uri="{FF2B5EF4-FFF2-40B4-BE49-F238E27FC236}">
                <a16:creationId xmlns:a16="http://schemas.microsoft.com/office/drawing/2014/main" id="{6EC6A58D-CC40-2EA7-AE8B-1086520DC1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71271" y="125591"/>
            <a:ext cx="3162935" cy="2611120"/>
          </a:xfrm>
          <a:prstGeom prst="rect">
            <a:avLst/>
          </a:prstGeom>
        </p:spPr>
      </p:pic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3EAB7A32-4A25-55A8-49A0-975011BFC2D9}"/>
              </a:ext>
            </a:extLst>
          </p:cNvPr>
          <p:cNvSpPr/>
          <p:nvPr/>
        </p:nvSpPr>
        <p:spPr>
          <a:xfrm>
            <a:off x="2941371" y="4140170"/>
            <a:ext cx="787805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Flow Table 0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BACF1FE-2D3F-6C5A-1898-FBB500E84798}"/>
              </a:ext>
            </a:extLst>
          </p:cNvPr>
          <p:cNvSpPr/>
          <p:nvPr/>
        </p:nvSpPr>
        <p:spPr>
          <a:xfrm>
            <a:off x="5082856" y="2970349"/>
            <a:ext cx="722199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Group Table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BBFD3AE8-0321-E861-7CE5-6DDE53793D14}"/>
              </a:ext>
            </a:extLst>
          </p:cNvPr>
          <p:cNvSpPr/>
          <p:nvPr/>
        </p:nvSpPr>
        <p:spPr>
          <a:xfrm>
            <a:off x="5875643" y="2970349"/>
            <a:ext cx="722200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Meter Table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91B4477-6A8C-AC41-3D42-770F2C62E64A}"/>
              </a:ext>
            </a:extLst>
          </p:cNvPr>
          <p:cNvSpPr/>
          <p:nvPr/>
        </p:nvSpPr>
        <p:spPr>
          <a:xfrm>
            <a:off x="2675090" y="2832364"/>
            <a:ext cx="983498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penFlow</a:t>
            </a:r>
          </a:p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Channel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B94A0E07-B2AD-83D2-5BAC-50C6A79D9C44}"/>
              </a:ext>
            </a:extLst>
          </p:cNvPr>
          <p:cNvSpPr/>
          <p:nvPr/>
        </p:nvSpPr>
        <p:spPr>
          <a:xfrm>
            <a:off x="3729176" y="2832364"/>
            <a:ext cx="983498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penFlow</a:t>
            </a:r>
          </a:p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Channel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FE593779-B87E-53BE-668F-F273616069DB}"/>
              </a:ext>
            </a:extLst>
          </p:cNvPr>
          <p:cNvSpPr/>
          <p:nvPr/>
        </p:nvSpPr>
        <p:spPr>
          <a:xfrm>
            <a:off x="5576602" y="4140171"/>
            <a:ext cx="787805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Flow Table n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193442B0-CB2D-0298-3BC4-7ADC6CB275FA}"/>
              </a:ext>
            </a:extLst>
          </p:cNvPr>
          <p:cNvSpPr/>
          <p:nvPr/>
        </p:nvSpPr>
        <p:spPr>
          <a:xfrm>
            <a:off x="3971556" y="4140170"/>
            <a:ext cx="787805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Flow Table 1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13" name="Rectangle: Top Corners Snipped 12">
            <a:extLst>
              <a:ext uri="{FF2B5EF4-FFF2-40B4-BE49-F238E27FC236}">
                <a16:creationId xmlns:a16="http://schemas.microsoft.com/office/drawing/2014/main" id="{F56FAE29-978D-4F57-261D-6BF3F57138C0}"/>
              </a:ext>
            </a:extLst>
          </p:cNvPr>
          <p:cNvSpPr/>
          <p:nvPr/>
        </p:nvSpPr>
        <p:spPr>
          <a:xfrm>
            <a:off x="2316621" y="4273517"/>
            <a:ext cx="484760" cy="301925"/>
          </a:xfrm>
          <a:prstGeom prst="snip2Same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ysClr val="windowText" lastClr="000000"/>
                </a:solidFill>
              </a:rPr>
              <a:t>Port</a:t>
            </a:r>
            <a:endParaRPr lang="en-DE" sz="1100" dirty="0">
              <a:solidFill>
                <a:sysClr val="windowText" lastClr="000000"/>
              </a:solidFill>
            </a:endParaRPr>
          </a:p>
        </p:txBody>
      </p:sp>
      <p:sp>
        <p:nvSpPr>
          <p:cNvPr id="14" name="Rectangle: Top Corners Snipped 13">
            <a:extLst>
              <a:ext uri="{FF2B5EF4-FFF2-40B4-BE49-F238E27FC236}">
                <a16:creationId xmlns:a16="http://schemas.microsoft.com/office/drawing/2014/main" id="{66185063-5A30-2D12-AD40-264D7D94C3D6}"/>
              </a:ext>
            </a:extLst>
          </p:cNvPr>
          <p:cNvSpPr/>
          <p:nvPr/>
        </p:nvSpPr>
        <p:spPr>
          <a:xfrm>
            <a:off x="6504419" y="4273517"/>
            <a:ext cx="484760" cy="301925"/>
          </a:xfrm>
          <a:prstGeom prst="snip2Same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ysClr val="windowText" lastClr="000000"/>
                </a:solidFill>
              </a:rPr>
              <a:t>Port</a:t>
            </a:r>
            <a:endParaRPr lang="en-DE" sz="1100" dirty="0">
              <a:solidFill>
                <a:sysClr val="windowText" lastClr="000000"/>
              </a:solidFill>
            </a:endParaRP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3247570B-6C61-9DD2-560E-187208054A1C}"/>
              </a:ext>
            </a:extLst>
          </p:cNvPr>
          <p:cNvCxnSpPr/>
          <p:nvPr/>
        </p:nvCxnSpPr>
        <p:spPr>
          <a:xfrm>
            <a:off x="3729176" y="4424479"/>
            <a:ext cx="250166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1F30BBFC-530A-5B75-BBC4-DCB52BF61D04}"/>
              </a:ext>
            </a:extLst>
          </p:cNvPr>
          <p:cNvCxnSpPr/>
          <p:nvPr/>
        </p:nvCxnSpPr>
        <p:spPr>
          <a:xfrm>
            <a:off x="4759361" y="4424479"/>
            <a:ext cx="250166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45476C02-A2A5-9AEA-D112-B209057E3158}"/>
              </a:ext>
            </a:extLst>
          </p:cNvPr>
          <p:cNvCxnSpPr/>
          <p:nvPr/>
        </p:nvCxnSpPr>
        <p:spPr>
          <a:xfrm>
            <a:off x="5318872" y="4424479"/>
            <a:ext cx="250166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F725A953-B85E-56AD-5B11-4DCC821B9E54}"/>
              </a:ext>
            </a:extLst>
          </p:cNvPr>
          <p:cNvSpPr txBox="1"/>
          <p:nvPr/>
        </p:nvSpPr>
        <p:spPr>
          <a:xfrm>
            <a:off x="4943662" y="4192300"/>
            <a:ext cx="4635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. . .</a:t>
            </a:r>
            <a:endParaRPr lang="en-DE" dirty="0"/>
          </a:p>
        </p:txBody>
      </p:sp>
      <p:sp>
        <p:nvSpPr>
          <p:cNvPr id="20" name="Rectangle: Top Corners Rounded 19">
            <a:extLst>
              <a:ext uri="{FF2B5EF4-FFF2-40B4-BE49-F238E27FC236}">
                <a16:creationId xmlns:a16="http://schemas.microsoft.com/office/drawing/2014/main" id="{FD1D96B0-1A01-7BB3-B791-40B790288B27}"/>
              </a:ext>
            </a:extLst>
          </p:cNvPr>
          <p:cNvSpPr/>
          <p:nvPr/>
        </p:nvSpPr>
        <p:spPr>
          <a:xfrm>
            <a:off x="2438379" y="1564883"/>
            <a:ext cx="1220209" cy="463432"/>
          </a:xfrm>
          <a:prstGeom prst="round2Same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Controller 1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09DCC192-A6FB-6378-54BC-0E108B44A3D0}"/>
              </a:ext>
            </a:extLst>
          </p:cNvPr>
          <p:cNvSpPr/>
          <p:nvPr/>
        </p:nvSpPr>
        <p:spPr>
          <a:xfrm>
            <a:off x="3723453" y="1564883"/>
            <a:ext cx="1220209" cy="463432"/>
          </a:xfrm>
          <a:prstGeom prst="round2Same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Controller 1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8F28E2B6-1620-C5A4-5F4A-4EE379B578D1}"/>
              </a:ext>
            </a:extLst>
          </p:cNvPr>
          <p:cNvCxnSpPr>
            <a:cxnSpLocks/>
          </p:cNvCxnSpPr>
          <p:nvPr/>
        </p:nvCxnSpPr>
        <p:spPr>
          <a:xfrm>
            <a:off x="3169254" y="2028315"/>
            <a:ext cx="0" cy="804049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032BA6B3-2CCC-105A-B58E-7BC713CEF690}"/>
              </a:ext>
            </a:extLst>
          </p:cNvPr>
          <p:cNvCxnSpPr>
            <a:cxnSpLocks/>
          </p:cNvCxnSpPr>
          <p:nvPr/>
        </p:nvCxnSpPr>
        <p:spPr>
          <a:xfrm>
            <a:off x="4192922" y="2028315"/>
            <a:ext cx="0" cy="804049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E04A6344-51C7-4076-E0A7-F3D463F19CCC}"/>
              </a:ext>
            </a:extLst>
          </p:cNvPr>
          <p:cNvSpPr txBox="1"/>
          <p:nvPr/>
        </p:nvSpPr>
        <p:spPr>
          <a:xfrm>
            <a:off x="3209004" y="2211860"/>
            <a:ext cx="9441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/>
              <a:t>OpenFlow</a:t>
            </a:r>
            <a:endParaRPr lang="en-DE" sz="1400" b="1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BC4FDFF-BB06-8822-C216-A8E639BD6BC8}"/>
              </a:ext>
            </a:extLst>
          </p:cNvPr>
          <p:cNvSpPr txBox="1"/>
          <p:nvPr/>
        </p:nvSpPr>
        <p:spPr>
          <a:xfrm>
            <a:off x="5372661" y="2409605"/>
            <a:ext cx="14466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OpenFlow Switch</a:t>
            </a:r>
            <a:endParaRPr lang="en-DE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04924B0-4EDE-C0FF-6181-36FD605314B5}"/>
              </a:ext>
            </a:extLst>
          </p:cNvPr>
          <p:cNvSpPr txBox="1"/>
          <p:nvPr/>
        </p:nvSpPr>
        <p:spPr>
          <a:xfrm>
            <a:off x="4313750" y="4712442"/>
            <a:ext cx="6848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Pipeline</a:t>
            </a:r>
            <a:endParaRPr lang="en-DE" sz="1200" i="1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882EC15-FCB6-59D6-CD12-E9D2B39A4856}"/>
              </a:ext>
            </a:extLst>
          </p:cNvPr>
          <p:cNvSpPr txBox="1"/>
          <p:nvPr/>
        </p:nvSpPr>
        <p:spPr>
          <a:xfrm>
            <a:off x="5477322" y="2705366"/>
            <a:ext cx="77245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Datapath</a:t>
            </a:r>
            <a:endParaRPr lang="en-DE" sz="1200" i="1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0031DBD-9E34-A2E6-FCF9-9BFD93930D99}"/>
              </a:ext>
            </a:extLst>
          </p:cNvPr>
          <p:cNvSpPr txBox="1"/>
          <p:nvPr/>
        </p:nvSpPr>
        <p:spPr>
          <a:xfrm>
            <a:off x="3138545" y="3351422"/>
            <a:ext cx="11890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Control Channel</a:t>
            </a:r>
            <a:endParaRPr lang="en-DE" sz="1200" i="1" dirty="0"/>
          </a:p>
        </p:txBody>
      </p:sp>
    </p:spTree>
    <p:extLst>
      <p:ext uri="{BB962C8B-B14F-4D97-AF65-F5344CB8AC3E}">
        <p14:creationId xmlns:p14="http://schemas.microsoft.com/office/powerpoint/2010/main" val="309245466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Graphical user interface, website&#10;&#10;Description automatically generated with medium confidence">
            <a:extLst>
              <a:ext uri="{FF2B5EF4-FFF2-40B4-BE49-F238E27FC236}">
                <a16:creationId xmlns:a16="http://schemas.microsoft.com/office/drawing/2014/main" id="{A288866C-940C-195E-097B-8B0EE83D5AB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5" t="2067" r="620" b="7481"/>
          <a:stretch/>
        </p:blipFill>
        <p:spPr bwMode="auto">
          <a:xfrm>
            <a:off x="8362144" y="443935"/>
            <a:ext cx="3580216" cy="1855946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C3AC9DB4-167D-C706-93BC-515B73158EBD}"/>
              </a:ext>
            </a:extLst>
          </p:cNvPr>
          <p:cNvSpPr/>
          <p:nvPr/>
        </p:nvSpPr>
        <p:spPr>
          <a:xfrm>
            <a:off x="977497" y="1758571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Applications, Orchestration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749755A6-000F-0BBF-8649-22D37291BFA0}"/>
              </a:ext>
            </a:extLst>
          </p:cNvPr>
          <p:cNvSpPr/>
          <p:nvPr/>
        </p:nvSpPr>
        <p:spPr>
          <a:xfrm>
            <a:off x="977497" y="2167180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orth-bound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D219F823-B7E0-E2CD-FCD6-ED1315BE6315}"/>
              </a:ext>
            </a:extLst>
          </p:cNvPr>
          <p:cNvSpPr/>
          <p:nvPr/>
        </p:nvSpPr>
        <p:spPr>
          <a:xfrm>
            <a:off x="977497" y="2575789"/>
            <a:ext cx="6377748" cy="228937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D3C6BAA7-600E-491F-AC4F-20BDBD376584}"/>
              </a:ext>
            </a:extLst>
          </p:cNvPr>
          <p:cNvSpPr/>
          <p:nvPr/>
        </p:nvSpPr>
        <p:spPr>
          <a:xfrm>
            <a:off x="977497" y="5375021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South-bound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7D914ED2-C203-BC0E-C120-1FAF33B19E22}"/>
              </a:ext>
            </a:extLst>
          </p:cNvPr>
          <p:cNvSpPr/>
          <p:nvPr/>
        </p:nvSpPr>
        <p:spPr>
          <a:xfrm>
            <a:off x="977497" y="5783632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etwork Elements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BB99A52-9485-09A1-2987-E432FC4DA41E}"/>
              </a:ext>
            </a:extLst>
          </p:cNvPr>
          <p:cNvSpPr txBox="1"/>
          <p:nvPr/>
        </p:nvSpPr>
        <p:spPr>
          <a:xfrm>
            <a:off x="3399696" y="2530991"/>
            <a:ext cx="16593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ysClr val="windowText" lastClr="000000"/>
                </a:solidFill>
              </a:rPr>
              <a:t>OpenDaylight</a:t>
            </a:r>
            <a:endParaRPr lang="en-DE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981FE12-C019-E53A-5606-F2C103A73D66}"/>
              </a:ext>
            </a:extLst>
          </p:cNvPr>
          <p:cNvSpPr/>
          <p:nvPr/>
        </p:nvSpPr>
        <p:spPr>
          <a:xfrm>
            <a:off x="1195956" y="2922851"/>
            <a:ext cx="1894890" cy="171551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Platform Services</a:t>
            </a: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AA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Data Exchan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Infrastructure utiliti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425A25F-B247-6856-892E-331F9047403F}"/>
              </a:ext>
            </a:extLst>
          </p:cNvPr>
          <p:cNvSpPr/>
          <p:nvPr/>
        </p:nvSpPr>
        <p:spPr>
          <a:xfrm>
            <a:off x="5215338" y="2922851"/>
            <a:ext cx="1894890" cy="171551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Built-in Applications</a:t>
            </a: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Layer 2 Swit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Virtual Tenant Network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2A1E80A-26BB-8D0A-D947-5B6216A561F2}"/>
              </a:ext>
            </a:extLst>
          </p:cNvPr>
          <p:cNvSpPr/>
          <p:nvPr/>
        </p:nvSpPr>
        <p:spPr>
          <a:xfrm>
            <a:off x="3205647" y="2922851"/>
            <a:ext cx="1894890" cy="171551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Network Services</a:t>
            </a: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endParaRPr lang="en-US" sz="1400" dirty="0">
              <a:solidFill>
                <a:sysClr val="windowText" lastClr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LISP serv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Group-based poli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Application layer traffic optimization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E6CE86E9-B92A-A9F1-7762-94CE657B198E}"/>
              </a:ext>
            </a:extLst>
          </p:cNvPr>
          <p:cNvSpPr/>
          <p:nvPr/>
        </p:nvSpPr>
        <p:spPr>
          <a:xfrm>
            <a:off x="977497" y="4966412"/>
            <a:ext cx="6377748" cy="307361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Platform (MD-SAL, YANG tools)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940516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Diagram&#10;&#10;Description automatically generated">
            <a:extLst>
              <a:ext uri="{FF2B5EF4-FFF2-40B4-BE49-F238E27FC236}">
                <a16:creationId xmlns:a16="http://schemas.microsoft.com/office/drawing/2014/main" id="{433D2BD5-7D6F-CC30-8456-49DA0A11F13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617" b="1675"/>
          <a:stretch/>
        </p:blipFill>
        <p:spPr bwMode="auto">
          <a:xfrm>
            <a:off x="7870587" y="228408"/>
            <a:ext cx="4242435" cy="269748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0B805173-8BFB-DA69-9ACB-FF0D8B043379}"/>
              </a:ext>
            </a:extLst>
          </p:cNvPr>
          <p:cNvSpPr/>
          <p:nvPr/>
        </p:nvSpPr>
        <p:spPr>
          <a:xfrm>
            <a:off x="1132540" y="1718106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Applications, Operator, OpenStack cloud orchestration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1AE2990D-3AC9-BB26-F92A-9D73916AADBC}"/>
              </a:ext>
            </a:extLst>
          </p:cNvPr>
          <p:cNvSpPr/>
          <p:nvPr/>
        </p:nvSpPr>
        <p:spPr>
          <a:xfrm>
            <a:off x="1132540" y="2122588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orth-bound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349DE5BB-9671-14CA-8031-5F69C144EB7C}"/>
              </a:ext>
            </a:extLst>
          </p:cNvPr>
          <p:cNvSpPr/>
          <p:nvPr/>
        </p:nvSpPr>
        <p:spPr>
          <a:xfrm>
            <a:off x="1132540" y="2527069"/>
            <a:ext cx="6377748" cy="228937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903A3E00-3E2C-D687-DD30-798BED7C21A8}"/>
              </a:ext>
            </a:extLst>
          </p:cNvPr>
          <p:cNvSpPr/>
          <p:nvPr/>
        </p:nvSpPr>
        <p:spPr>
          <a:xfrm>
            <a:off x="1132540" y="4913564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South-bound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81D49532-5608-2B42-424C-2CEF233CB88C}"/>
              </a:ext>
            </a:extLst>
          </p:cNvPr>
          <p:cNvSpPr/>
          <p:nvPr/>
        </p:nvSpPr>
        <p:spPr>
          <a:xfrm>
            <a:off x="1132540" y="5318045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etwork Elements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F5E2AF6-E36D-2774-32E8-CD91E2DB02B3}"/>
              </a:ext>
            </a:extLst>
          </p:cNvPr>
          <p:cNvSpPr txBox="1"/>
          <p:nvPr/>
        </p:nvSpPr>
        <p:spPr>
          <a:xfrm>
            <a:off x="3486268" y="2519131"/>
            <a:ext cx="16702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>
                <a:solidFill>
                  <a:sysClr val="windowText" lastClr="000000"/>
                </a:solidFill>
              </a:rPr>
              <a:t>Ryu Framework</a:t>
            </a:r>
            <a:endParaRPr lang="en-DE" sz="1800" b="1" dirty="0">
              <a:solidFill>
                <a:sysClr val="windowText" lastClr="000000"/>
              </a:solidFill>
            </a:endParaRPr>
          </a:p>
          <a:p>
            <a:endParaRPr lang="en-DE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3F8BC2B-6CC8-87CE-6A60-C31EFF3D0F6F}"/>
              </a:ext>
            </a:extLst>
          </p:cNvPr>
          <p:cNvSpPr/>
          <p:nvPr/>
        </p:nvSpPr>
        <p:spPr>
          <a:xfrm>
            <a:off x="1465014" y="2877490"/>
            <a:ext cx="5712799" cy="28959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Built-in Applications: tenant isolation, layer2 switch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1DDDB5B-AC80-173B-E6A0-32AADCBAA574}"/>
              </a:ext>
            </a:extLst>
          </p:cNvPr>
          <p:cNvSpPr/>
          <p:nvPr/>
        </p:nvSpPr>
        <p:spPr>
          <a:xfrm>
            <a:off x="1465014" y="3215478"/>
            <a:ext cx="5712799" cy="28959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Libraries: topology discovery, OpenFlow REST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0FEE919-2027-98D4-FDB0-B3BFF8A784A3}"/>
              </a:ext>
            </a:extLst>
          </p:cNvPr>
          <p:cNvSpPr/>
          <p:nvPr/>
        </p:nvSpPr>
        <p:spPr>
          <a:xfrm>
            <a:off x="1465014" y="3553466"/>
            <a:ext cx="2663366" cy="116585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penFlow protocols parser/ serializer</a:t>
            </a: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penFlow, OF-config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5EC69EE-E5FF-B45A-6A0D-5CA79E8E829A}"/>
              </a:ext>
            </a:extLst>
          </p:cNvPr>
          <p:cNvSpPr/>
          <p:nvPr/>
        </p:nvSpPr>
        <p:spPr>
          <a:xfrm>
            <a:off x="4514447" y="3553465"/>
            <a:ext cx="2663366" cy="116585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Non-OpenFlow protocols parser/ serializer</a:t>
            </a: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NetConf, NetFlow, VRRP 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309360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41E2A8A3-83BF-F7B3-91D6-5911D73D2657}"/>
              </a:ext>
            </a:extLst>
          </p:cNvPr>
          <p:cNvSpPr/>
          <p:nvPr/>
        </p:nvSpPr>
        <p:spPr>
          <a:xfrm>
            <a:off x="2907126" y="1290918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Applications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7FCEB6E3-D1B3-661F-AB6F-29DC90005192}"/>
              </a:ext>
            </a:extLst>
          </p:cNvPr>
          <p:cNvSpPr/>
          <p:nvPr/>
        </p:nvSpPr>
        <p:spPr>
          <a:xfrm>
            <a:off x="2907126" y="1771597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orth-bound (Consumer)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F0E0AF55-5D3F-C7D2-15EA-9AE163C555B4}"/>
              </a:ext>
            </a:extLst>
          </p:cNvPr>
          <p:cNvSpPr/>
          <p:nvPr/>
        </p:nvSpPr>
        <p:spPr>
          <a:xfrm>
            <a:off x="2907126" y="2252276"/>
            <a:ext cx="6377748" cy="56349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Core</a:t>
            </a:r>
          </a:p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(Modules, Subsystems)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ACE38161-C3CF-5C96-4233-07182500C97D}"/>
              </a:ext>
            </a:extLst>
          </p:cNvPr>
          <p:cNvSpPr/>
          <p:nvPr/>
        </p:nvSpPr>
        <p:spPr>
          <a:xfrm>
            <a:off x="2907126" y="2989089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South-bound (Provider)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E9C85CEB-56A4-7490-F2EA-B38E8B907C72}"/>
              </a:ext>
            </a:extLst>
          </p:cNvPr>
          <p:cNvSpPr/>
          <p:nvPr/>
        </p:nvSpPr>
        <p:spPr>
          <a:xfrm>
            <a:off x="2907126" y="3469768"/>
            <a:ext cx="6377748" cy="563495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Providers</a:t>
            </a:r>
          </a:p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(Link, Flow, Device, Host)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9BB3E960-A78B-A1DD-F1D6-637CB18D6752}"/>
              </a:ext>
            </a:extLst>
          </p:cNvPr>
          <p:cNvSpPr/>
          <p:nvPr/>
        </p:nvSpPr>
        <p:spPr>
          <a:xfrm>
            <a:off x="2907126" y="4206581"/>
            <a:ext cx="6377748" cy="307361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Protocols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D9E6D915-CC9A-799F-4B93-6ABF98E8FA44}"/>
              </a:ext>
            </a:extLst>
          </p:cNvPr>
          <p:cNvSpPr/>
          <p:nvPr/>
        </p:nvSpPr>
        <p:spPr>
          <a:xfrm>
            <a:off x="2907126" y="4687263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etwork Elements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843998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5B5C06E-BE60-1484-9209-36EF9E2CF110}"/>
              </a:ext>
            </a:extLst>
          </p:cNvPr>
          <p:cNvSpPr/>
          <p:nvPr/>
        </p:nvSpPr>
        <p:spPr>
          <a:xfrm>
            <a:off x="1273250" y="828548"/>
            <a:ext cx="9512949" cy="51252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FDDD025-BEB3-3CFE-BA2E-7923E7D08ABC}"/>
              </a:ext>
            </a:extLst>
          </p:cNvPr>
          <p:cNvSpPr/>
          <p:nvPr/>
        </p:nvSpPr>
        <p:spPr>
          <a:xfrm>
            <a:off x="1547694" y="1047924"/>
            <a:ext cx="6740179" cy="467108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FA44421-75EE-C84E-DFB5-6611F91D5D46}"/>
              </a:ext>
            </a:extLst>
          </p:cNvPr>
          <p:cNvSpPr/>
          <p:nvPr/>
        </p:nvSpPr>
        <p:spPr>
          <a:xfrm>
            <a:off x="8578428" y="1359532"/>
            <a:ext cx="1940858" cy="183776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GNS3 Client</a:t>
            </a:r>
            <a:endParaRPr lang="en-DE" b="1" dirty="0">
              <a:solidFill>
                <a:schemeClr val="tx1"/>
              </a:solidFill>
              <a:cs typeface="Aharoni" panose="020B0604020202020204" pitchFamily="2" charset="-79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18F2715-7707-4D42-4FB6-D7A92CD56F85}"/>
              </a:ext>
            </a:extLst>
          </p:cNvPr>
          <p:cNvSpPr/>
          <p:nvPr/>
        </p:nvSpPr>
        <p:spPr>
          <a:xfrm>
            <a:off x="6029725" y="1359532"/>
            <a:ext cx="1940858" cy="183776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GNS3 Server</a:t>
            </a:r>
          </a:p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(GNS3 VM)</a:t>
            </a:r>
            <a:endParaRPr lang="en-DE" b="1" dirty="0">
              <a:solidFill>
                <a:schemeClr val="tx1"/>
              </a:solidFill>
              <a:cs typeface="Aharoni" panose="020B0604020202020204" pitchFamily="2" charset="-79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D67BE2B-BE5E-6EC8-CCA2-051C04F659D9}"/>
              </a:ext>
            </a:extLst>
          </p:cNvPr>
          <p:cNvSpPr/>
          <p:nvPr/>
        </p:nvSpPr>
        <p:spPr>
          <a:xfrm>
            <a:off x="1884188" y="1243726"/>
            <a:ext cx="1940858" cy="69051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ONOS</a:t>
            </a:r>
            <a:endParaRPr lang="en-DE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25BC619-FA2E-3D69-0B69-60649584D66C}"/>
              </a:ext>
            </a:extLst>
          </p:cNvPr>
          <p:cNvSpPr/>
          <p:nvPr/>
        </p:nvSpPr>
        <p:spPr>
          <a:xfrm>
            <a:off x="1884188" y="3947008"/>
            <a:ext cx="1940858" cy="69051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ONOS Docker</a:t>
            </a:r>
            <a:endParaRPr lang="en-DE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CA4572D-5A19-381A-43FB-3B3470860CDE}"/>
              </a:ext>
            </a:extLst>
          </p:cNvPr>
          <p:cNvSpPr/>
          <p:nvPr/>
        </p:nvSpPr>
        <p:spPr>
          <a:xfrm>
            <a:off x="1884188" y="3045914"/>
            <a:ext cx="1940858" cy="69051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Ryu</a:t>
            </a:r>
            <a:endParaRPr lang="en-DE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D991346-D037-93D5-AB72-4CCEF0B8CF8F}"/>
              </a:ext>
            </a:extLst>
          </p:cNvPr>
          <p:cNvSpPr/>
          <p:nvPr/>
        </p:nvSpPr>
        <p:spPr>
          <a:xfrm>
            <a:off x="1884188" y="2144820"/>
            <a:ext cx="1940858" cy="69051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OpenDaylight</a:t>
            </a:r>
            <a:endParaRPr lang="en-DE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F3A9E51-E205-36F4-0C54-E52978652AE0}"/>
              </a:ext>
            </a:extLst>
          </p:cNvPr>
          <p:cNvSpPr txBox="1"/>
          <p:nvPr/>
        </p:nvSpPr>
        <p:spPr>
          <a:xfrm>
            <a:off x="7015876" y="5255941"/>
            <a:ext cx="11867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VirtualBox</a:t>
            </a:r>
            <a:endParaRPr lang="en-DE" b="1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5B2EB4C-8C09-F0C5-BE8E-9DFDB1FE18F3}"/>
              </a:ext>
            </a:extLst>
          </p:cNvPr>
          <p:cNvSpPr txBox="1"/>
          <p:nvPr/>
        </p:nvSpPr>
        <p:spPr>
          <a:xfrm>
            <a:off x="9304084" y="5491274"/>
            <a:ext cx="14917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Host machine</a:t>
            </a:r>
            <a:endParaRPr lang="en-DE" b="1" dirty="0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CA48E854-13C4-9AF8-F0FF-8196757F5CB8}"/>
              </a:ext>
            </a:extLst>
          </p:cNvPr>
          <p:cNvSpPr/>
          <p:nvPr/>
        </p:nvSpPr>
        <p:spPr>
          <a:xfrm>
            <a:off x="10342971" y="4036924"/>
            <a:ext cx="553250" cy="307362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NIC</a:t>
            </a:r>
            <a:endParaRPr lang="en-DE" sz="1400" b="1" dirty="0">
              <a:solidFill>
                <a:schemeClr val="tx1"/>
              </a:solidFill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FA3D0DD-CF63-BB5B-32D3-2F55A6AB0CAD}"/>
              </a:ext>
            </a:extLst>
          </p:cNvPr>
          <p:cNvCxnSpPr>
            <a:cxnSpLocks/>
            <a:stCxn id="6" idx="3"/>
            <a:endCxn id="32" idx="2"/>
          </p:cNvCxnSpPr>
          <p:nvPr/>
        </p:nvCxnSpPr>
        <p:spPr>
          <a:xfrm>
            <a:off x="3825046" y="1588985"/>
            <a:ext cx="970429" cy="1802438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5C9ABF5-B834-29F6-BE74-CEF8055BE62F}"/>
              </a:ext>
            </a:extLst>
          </p:cNvPr>
          <p:cNvCxnSpPr>
            <a:cxnSpLocks/>
            <a:stCxn id="9" idx="3"/>
            <a:endCxn id="32" idx="2"/>
          </p:cNvCxnSpPr>
          <p:nvPr/>
        </p:nvCxnSpPr>
        <p:spPr>
          <a:xfrm>
            <a:off x="3825046" y="2490079"/>
            <a:ext cx="970429" cy="901344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D063B80-F8B2-8480-4188-D08F8037C2D8}"/>
              </a:ext>
            </a:extLst>
          </p:cNvPr>
          <p:cNvCxnSpPr>
            <a:cxnSpLocks/>
            <a:stCxn id="8" idx="3"/>
            <a:endCxn id="32" idx="2"/>
          </p:cNvCxnSpPr>
          <p:nvPr/>
        </p:nvCxnSpPr>
        <p:spPr>
          <a:xfrm>
            <a:off x="3825046" y="3391173"/>
            <a:ext cx="970429" cy="25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03A4EA7-1CE8-45E2-2A6B-227D0B311257}"/>
              </a:ext>
            </a:extLst>
          </p:cNvPr>
          <p:cNvCxnSpPr>
            <a:cxnSpLocks/>
            <a:stCxn id="7" idx="3"/>
            <a:endCxn id="32" idx="2"/>
          </p:cNvCxnSpPr>
          <p:nvPr/>
        </p:nvCxnSpPr>
        <p:spPr>
          <a:xfrm flipV="1">
            <a:off x="3825046" y="3391423"/>
            <a:ext cx="970429" cy="900844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CFA1C8E-6349-D84E-9E81-9EDAC99B0399}"/>
              </a:ext>
            </a:extLst>
          </p:cNvPr>
          <p:cNvCxnSpPr>
            <a:cxnSpLocks/>
            <a:stCxn id="32" idx="6"/>
            <a:endCxn id="3" idx="1"/>
          </p:cNvCxnSpPr>
          <p:nvPr/>
        </p:nvCxnSpPr>
        <p:spPr>
          <a:xfrm flipV="1">
            <a:off x="5141256" y="2278415"/>
            <a:ext cx="888469" cy="1113008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Oval 31">
            <a:extLst>
              <a:ext uri="{FF2B5EF4-FFF2-40B4-BE49-F238E27FC236}">
                <a16:creationId xmlns:a16="http://schemas.microsoft.com/office/drawing/2014/main" id="{6AF289B3-82CF-91FE-9792-44FD22AF8537}"/>
              </a:ext>
            </a:extLst>
          </p:cNvPr>
          <p:cNvSpPr/>
          <p:nvPr/>
        </p:nvSpPr>
        <p:spPr>
          <a:xfrm>
            <a:off x="4795475" y="3209567"/>
            <a:ext cx="345781" cy="36371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545952D7-FBE8-6C82-F583-6AC7B8E5F594}"/>
              </a:ext>
            </a:extLst>
          </p:cNvPr>
          <p:cNvSpPr/>
          <p:nvPr/>
        </p:nvSpPr>
        <p:spPr>
          <a:xfrm>
            <a:off x="8074799" y="3986731"/>
            <a:ext cx="345781" cy="36371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D2EB8AA9-A293-B7D7-FCD2-6AE57CB1E16F}"/>
              </a:ext>
            </a:extLst>
          </p:cNvPr>
          <p:cNvCxnSpPr>
            <a:cxnSpLocks/>
            <a:stCxn id="3" idx="2"/>
            <a:endCxn id="40" idx="2"/>
          </p:cNvCxnSpPr>
          <p:nvPr/>
        </p:nvCxnSpPr>
        <p:spPr>
          <a:xfrm>
            <a:off x="7000154" y="3197298"/>
            <a:ext cx="1074645" cy="971289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FEA13938-8E61-4CD8-6171-DEDE9ACB4731}"/>
              </a:ext>
            </a:extLst>
          </p:cNvPr>
          <p:cNvCxnSpPr>
            <a:cxnSpLocks/>
            <a:stCxn id="40" idx="6"/>
            <a:endCxn id="2" idx="2"/>
          </p:cNvCxnSpPr>
          <p:nvPr/>
        </p:nvCxnSpPr>
        <p:spPr>
          <a:xfrm flipV="1">
            <a:off x="8420580" y="3197298"/>
            <a:ext cx="1128277" cy="971289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D198F12F-DE46-9D02-3868-93B5E97F9B5F}"/>
              </a:ext>
            </a:extLst>
          </p:cNvPr>
          <p:cNvCxnSpPr>
            <a:cxnSpLocks/>
            <a:stCxn id="40" idx="6"/>
            <a:endCxn id="13" idx="1"/>
          </p:cNvCxnSpPr>
          <p:nvPr/>
        </p:nvCxnSpPr>
        <p:spPr>
          <a:xfrm>
            <a:off x="8420580" y="4168587"/>
            <a:ext cx="1922391" cy="22018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CAD7D2F2-3436-2BE5-0B10-483C162859ED}"/>
              </a:ext>
            </a:extLst>
          </p:cNvPr>
          <p:cNvCxnSpPr>
            <a:cxnSpLocks/>
            <a:stCxn id="32" idx="6"/>
            <a:endCxn id="40" idx="2"/>
          </p:cNvCxnSpPr>
          <p:nvPr/>
        </p:nvCxnSpPr>
        <p:spPr>
          <a:xfrm>
            <a:off x="5141256" y="3391423"/>
            <a:ext cx="2933543" cy="777164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>
            <a:extLst>
              <a:ext uri="{FF2B5EF4-FFF2-40B4-BE49-F238E27FC236}">
                <a16:creationId xmlns:a16="http://schemas.microsoft.com/office/drawing/2014/main" id="{7A159D5B-3999-C772-60C7-2310F96B8FE0}"/>
              </a:ext>
            </a:extLst>
          </p:cNvPr>
          <p:cNvSpPr/>
          <p:nvPr/>
        </p:nvSpPr>
        <p:spPr>
          <a:xfrm>
            <a:off x="1884188" y="4848102"/>
            <a:ext cx="1940858" cy="69051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Mininet</a:t>
            </a:r>
            <a:endParaRPr lang="en-DE" dirty="0"/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E3C2BE4A-4621-4A86-D18F-011C1E4769F4}"/>
              </a:ext>
            </a:extLst>
          </p:cNvPr>
          <p:cNvCxnSpPr>
            <a:cxnSpLocks/>
            <a:stCxn id="32" idx="2"/>
            <a:endCxn id="57" idx="3"/>
          </p:cNvCxnSpPr>
          <p:nvPr/>
        </p:nvCxnSpPr>
        <p:spPr>
          <a:xfrm flipH="1">
            <a:off x="3825046" y="3391423"/>
            <a:ext cx="970429" cy="1801938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Box 71">
            <a:extLst>
              <a:ext uri="{FF2B5EF4-FFF2-40B4-BE49-F238E27FC236}">
                <a16:creationId xmlns:a16="http://schemas.microsoft.com/office/drawing/2014/main" id="{B73A6C10-69B2-1301-422F-52CC6B62F0E5}"/>
              </a:ext>
            </a:extLst>
          </p:cNvPr>
          <p:cNvSpPr txBox="1"/>
          <p:nvPr/>
        </p:nvSpPr>
        <p:spPr>
          <a:xfrm>
            <a:off x="4657748" y="3549172"/>
            <a:ext cx="70160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/>
              <a:t>Bridge</a:t>
            </a:r>
          </a:p>
          <a:p>
            <a:pPr algn="ctr"/>
            <a:r>
              <a:rPr lang="en-US" sz="1200" b="1" dirty="0"/>
              <a:t>Adapter</a:t>
            </a:r>
            <a:endParaRPr lang="en-DE" sz="1200" b="1" dirty="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A71E3688-6460-5000-383C-848E4184F149}"/>
              </a:ext>
            </a:extLst>
          </p:cNvPr>
          <p:cNvSpPr txBox="1"/>
          <p:nvPr/>
        </p:nvSpPr>
        <p:spPr>
          <a:xfrm>
            <a:off x="7403823" y="4266905"/>
            <a:ext cx="85645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/>
              <a:t>VirtualBox</a:t>
            </a:r>
          </a:p>
          <a:p>
            <a:pPr algn="ctr"/>
            <a:r>
              <a:rPr lang="en-US" sz="1200" b="1" dirty="0"/>
              <a:t>Adapter</a:t>
            </a:r>
            <a:endParaRPr lang="en-DE" sz="1200" b="1" dirty="0"/>
          </a:p>
        </p:txBody>
      </p:sp>
    </p:spTree>
    <p:extLst>
      <p:ext uri="{BB962C8B-B14F-4D97-AF65-F5344CB8AC3E}">
        <p14:creationId xmlns:p14="http://schemas.microsoft.com/office/powerpoint/2010/main" val="143375919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0AC247BB-3505-0B4F-9567-D11731E4CE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8259296"/>
              </p:ext>
            </p:extLst>
          </p:nvPr>
        </p:nvGraphicFramePr>
        <p:xfrm>
          <a:off x="2031999" y="2316480"/>
          <a:ext cx="8128002" cy="230124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354667">
                  <a:extLst>
                    <a:ext uri="{9D8B030D-6E8A-4147-A177-3AD203B41FA5}">
                      <a16:colId xmlns:a16="http://schemas.microsoft.com/office/drawing/2014/main" val="1939629907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1947658173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2719836434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2161592313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1347804674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16598747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ersion 1.0</a:t>
                      </a:r>
                      <a:endParaRPr lang="en-DE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ersion 1.1</a:t>
                      </a:r>
                      <a:endParaRPr lang="en-DE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ersion 1.2</a:t>
                      </a:r>
                      <a:endParaRPr lang="en-DE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ersion 1.3</a:t>
                      </a:r>
                      <a:endParaRPr lang="en-DE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ersion 1.4</a:t>
                      </a:r>
                      <a:endParaRPr lang="en-DE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ersion 1.5</a:t>
                      </a:r>
                      <a:endParaRPr lang="en-DE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254750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ingle flow table entry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ultiple flow table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pport for IPv6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pport for IPv6 extension heade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Add in bundle mechanism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gress table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243532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ingle Controller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ipeline Processing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xtensible TLV support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Flow meter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pport for Table synchronization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acket type aware Pipeline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980629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pport for IPv4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pport for VLAN and MPLS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pport for Table miss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xtensible flow entry statistics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250325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Group table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47795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DE" sz="1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irtual ports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87742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7621270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1EC9878-FC3A-A303-A366-651F4E0581AE}"/>
              </a:ext>
            </a:extLst>
          </p:cNvPr>
          <p:cNvSpPr/>
          <p:nvPr/>
        </p:nvSpPr>
        <p:spPr>
          <a:xfrm>
            <a:off x="4528457" y="430305"/>
            <a:ext cx="3135086" cy="49177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DN Control Architecture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9789066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6C74A06-FDCB-93E7-93BE-83899F9CE870}"/>
              </a:ext>
            </a:extLst>
          </p:cNvPr>
          <p:cNvSpPr/>
          <p:nvPr/>
        </p:nvSpPr>
        <p:spPr>
          <a:xfrm>
            <a:off x="591675" y="2243475"/>
            <a:ext cx="1381244" cy="5969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Switchport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7C8FD6C-B21F-E9A5-62F9-67BF2F906AFF}"/>
              </a:ext>
            </a:extLst>
          </p:cNvPr>
          <p:cNvSpPr/>
          <p:nvPr/>
        </p:nvSpPr>
        <p:spPr>
          <a:xfrm>
            <a:off x="1974798" y="2243475"/>
            <a:ext cx="1381244" cy="5969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VLAN ID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2095C5A-9FD7-D180-6F09-F4B5DDE5B33D}"/>
              </a:ext>
            </a:extLst>
          </p:cNvPr>
          <p:cNvSpPr/>
          <p:nvPr/>
        </p:nvSpPr>
        <p:spPr>
          <a:xfrm>
            <a:off x="3359323" y="2243475"/>
            <a:ext cx="1381244" cy="5969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Src MAC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E2491F0-16D2-4CE5-8F81-83E7B6AE680D}"/>
              </a:ext>
            </a:extLst>
          </p:cNvPr>
          <p:cNvSpPr/>
          <p:nvPr/>
        </p:nvSpPr>
        <p:spPr>
          <a:xfrm>
            <a:off x="4741181" y="2243473"/>
            <a:ext cx="1381244" cy="5969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est MAC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60AE4E7-1935-BB48-963F-008B3D9CC77A}"/>
              </a:ext>
            </a:extLst>
          </p:cNvPr>
          <p:cNvSpPr/>
          <p:nvPr/>
        </p:nvSpPr>
        <p:spPr>
          <a:xfrm>
            <a:off x="8910529" y="2243473"/>
            <a:ext cx="1381244" cy="596900"/>
          </a:xfrm>
          <a:prstGeom prst="rect">
            <a:avLst/>
          </a:prstGeom>
          <a:solidFill>
            <a:srgbClr val="CCEC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OF: Match-fields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A1A2EB5-EB23-62ED-E94D-0EE6DC4F8932}"/>
              </a:ext>
            </a:extLst>
          </p:cNvPr>
          <p:cNvSpPr/>
          <p:nvPr/>
        </p:nvSpPr>
        <p:spPr>
          <a:xfrm>
            <a:off x="10291773" y="2243473"/>
            <a:ext cx="1381244" cy="596900"/>
          </a:xfrm>
          <a:prstGeom prst="rect">
            <a:avLst/>
          </a:prstGeom>
          <a:solidFill>
            <a:srgbClr val="E4D0C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OF: Action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DBF138C-8CE9-632A-26A2-86017C3ECFE1}"/>
              </a:ext>
            </a:extLst>
          </p:cNvPr>
          <p:cNvSpPr/>
          <p:nvPr/>
        </p:nvSpPr>
        <p:spPr>
          <a:xfrm>
            <a:off x="6133677" y="2243473"/>
            <a:ext cx="1381244" cy="5969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Src IP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6508ABD-8842-0CE6-9A00-91933FD38115}"/>
              </a:ext>
            </a:extLst>
          </p:cNvPr>
          <p:cNvSpPr/>
          <p:nvPr/>
        </p:nvSpPr>
        <p:spPr>
          <a:xfrm>
            <a:off x="7526173" y="2243473"/>
            <a:ext cx="1381244" cy="5969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est IP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0A644CE-4BDD-A273-71D0-D7D22CB683A5}"/>
              </a:ext>
            </a:extLst>
          </p:cNvPr>
          <p:cNvSpPr txBox="1"/>
          <p:nvPr/>
        </p:nvSpPr>
        <p:spPr>
          <a:xfrm>
            <a:off x="1144278" y="2849978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1</a:t>
            </a:r>
            <a:endParaRPr lang="en-DE" sz="1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2A308E8-AE17-0E71-380B-55C72AA22F3A}"/>
              </a:ext>
            </a:extLst>
          </p:cNvPr>
          <p:cNvSpPr txBox="1"/>
          <p:nvPr/>
        </p:nvSpPr>
        <p:spPr>
          <a:xfrm>
            <a:off x="10347830" y="2840375"/>
            <a:ext cx="126913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Egress port 2,3</a:t>
            </a:r>
            <a:endParaRPr lang="en-DE" sz="14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3F21955-4807-5567-4A68-0FAB80660819}"/>
              </a:ext>
            </a:extLst>
          </p:cNvPr>
          <p:cNvSpPr txBox="1"/>
          <p:nvPr/>
        </p:nvSpPr>
        <p:spPr>
          <a:xfrm>
            <a:off x="4775188" y="2840375"/>
            <a:ext cx="14061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FF:FF:FF:FF:FF:FF</a:t>
            </a:r>
            <a:endParaRPr lang="en-DE" sz="14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2F7A25F-BF01-5428-9D5F-41C9CB4C1630}"/>
              </a:ext>
            </a:extLst>
          </p:cNvPr>
          <p:cNvSpPr txBox="1"/>
          <p:nvPr/>
        </p:nvSpPr>
        <p:spPr>
          <a:xfrm>
            <a:off x="9071677" y="2840373"/>
            <a:ext cx="1052724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Ingress port</a:t>
            </a:r>
          </a:p>
          <a:p>
            <a:r>
              <a:rPr lang="en-US" sz="1400" dirty="0"/>
              <a:t>Dest MAC</a:t>
            </a:r>
          </a:p>
          <a:p>
            <a:r>
              <a:rPr lang="en-US" sz="1400" dirty="0"/>
              <a:t>VLAN ID</a:t>
            </a:r>
            <a:endParaRPr lang="en-DE" sz="14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EE1865F-0AAF-EA23-0B4A-CC4501D76220}"/>
              </a:ext>
            </a:extLst>
          </p:cNvPr>
          <p:cNvSpPr txBox="1"/>
          <p:nvPr/>
        </p:nvSpPr>
        <p:spPr>
          <a:xfrm>
            <a:off x="2528203" y="2849978"/>
            <a:ext cx="36740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10</a:t>
            </a:r>
            <a:endParaRPr lang="en-DE" sz="14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6E62BD3-570B-3B37-1804-078F9F2B8815}"/>
              </a:ext>
            </a:extLst>
          </p:cNvPr>
          <p:cNvSpPr txBox="1"/>
          <p:nvPr/>
        </p:nvSpPr>
        <p:spPr>
          <a:xfrm>
            <a:off x="3921950" y="2849978"/>
            <a:ext cx="27443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*</a:t>
            </a:r>
            <a:endParaRPr lang="en-DE" sz="14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FFA7BCD-865B-CC08-35B6-3B510424201C}"/>
              </a:ext>
            </a:extLst>
          </p:cNvPr>
          <p:cNvSpPr txBox="1"/>
          <p:nvPr/>
        </p:nvSpPr>
        <p:spPr>
          <a:xfrm>
            <a:off x="6697713" y="2854945"/>
            <a:ext cx="27443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*</a:t>
            </a:r>
            <a:endParaRPr lang="en-DE" sz="14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B1ABAF7-C978-66C3-CC35-5F563B00B58A}"/>
              </a:ext>
            </a:extLst>
          </p:cNvPr>
          <p:cNvSpPr txBox="1"/>
          <p:nvPr/>
        </p:nvSpPr>
        <p:spPr>
          <a:xfrm>
            <a:off x="8091460" y="2854945"/>
            <a:ext cx="27443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*</a:t>
            </a:r>
            <a:endParaRPr lang="en-DE" sz="1400" dirty="0"/>
          </a:p>
        </p:txBody>
      </p:sp>
    </p:spTree>
    <p:extLst>
      <p:ext uri="{BB962C8B-B14F-4D97-AF65-F5344CB8AC3E}">
        <p14:creationId xmlns:p14="http://schemas.microsoft.com/office/powerpoint/2010/main" val="390613985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F93735E-F6FA-8725-7B0D-DE95E725F9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56110" y="0"/>
            <a:ext cx="8279780" cy="6858000"/>
          </a:xfrm>
          <a:prstGeom prst="rect">
            <a:avLst/>
          </a:prstGeom>
        </p:spPr>
      </p:pic>
      <p:sp>
        <p:nvSpPr>
          <p:cNvPr id="2" name="Text Box 149">
            <a:extLst>
              <a:ext uri="{FF2B5EF4-FFF2-40B4-BE49-F238E27FC236}">
                <a16:creationId xmlns:a16="http://schemas.microsoft.com/office/drawing/2014/main" id="{5DF115B9-C206-E1E5-EADF-14540AC8311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05462" y="713926"/>
            <a:ext cx="421481" cy="246482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: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777899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149">
            <a:extLst>
              <a:ext uri="{FF2B5EF4-FFF2-40B4-BE49-F238E27FC236}">
                <a16:creationId xmlns:a16="http://schemas.microsoft.com/office/drawing/2014/main" id="{5DF115B9-C206-E1E5-EADF-14540AC8311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05462" y="713926"/>
            <a:ext cx="421481" cy="246482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: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B965E83-B324-02BC-4842-522FA61E55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90340" y="0"/>
            <a:ext cx="801132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869077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Table&#10;&#10;Description automatically generated">
            <a:extLst>
              <a:ext uri="{FF2B5EF4-FFF2-40B4-BE49-F238E27FC236}">
                <a16:creationId xmlns:a16="http://schemas.microsoft.com/office/drawing/2014/main" id="{4C070B5F-4CD0-2992-8036-0422D6152B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06678" y="883387"/>
            <a:ext cx="6577432" cy="526719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6FBE390-30CE-599E-D24A-D80D8CA024E6}"/>
              </a:ext>
            </a:extLst>
          </p:cNvPr>
          <p:cNvSpPr txBox="1"/>
          <p:nvPr/>
        </p:nvSpPr>
        <p:spPr>
          <a:xfrm>
            <a:off x="4962347" y="844829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26489DB-2567-8FED-BB95-28FAF5DC495D}"/>
              </a:ext>
            </a:extLst>
          </p:cNvPr>
          <p:cNvSpPr txBox="1"/>
          <p:nvPr/>
        </p:nvSpPr>
        <p:spPr>
          <a:xfrm>
            <a:off x="4795365" y="2335218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3</a:t>
            </a:r>
          </a:p>
        </p:txBody>
      </p:sp>
      <p:sp>
        <p:nvSpPr>
          <p:cNvPr id="9" name="Left Brace 8">
            <a:extLst>
              <a:ext uri="{FF2B5EF4-FFF2-40B4-BE49-F238E27FC236}">
                <a16:creationId xmlns:a16="http://schemas.microsoft.com/office/drawing/2014/main" id="{0D181F37-98DB-5D6F-AFFC-1CF1A5B3F77E}"/>
              </a:ext>
            </a:extLst>
          </p:cNvPr>
          <p:cNvSpPr/>
          <p:nvPr/>
        </p:nvSpPr>
        <p:spPr>
          <a:xfrm>
            <a:off x="5041337" y="1095627"/>
            <a:ext cx="74757" cy="2756182"/>
          </a:xfrm>
          <a:prstGeom prst="leftBrac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28703BB-DC91-8AF7-1FA5-FD16D198B8D8}"/>
              </a:ext>
            </a:extLst>
          </p:cNvPr>
          <p:cNvSpPr txBox="1"/>
          <p:nvPr/>
        </p:nvSpPr>
        <p:spPr>
          <a:xfrm>
            <a:off x="4961062" y="3787097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4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D109307-2BA8-8F42-4C5B-A29D03E0E9A5}"/>
              </a:ext>
            </a:extLst>
          </p:cNvPr>
          <p:cNvSpPr txBox="1"/>
          <p:nvPr/>
        </p:nvSpPr>
        <p:spPr>
          <a:xfrm>
            <a:off x="4961062" y="3925596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5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5D9902B-0E3B-E960-7339-134BE3FD5325}"/>
              </a:ext>
            </a:extLst>
          </p:cNvPr>
          <p:cNvSpPr txBox="1"/>
          <p:nvPr/>
        </p:nvSpPr>
        <p:spPr>
          <a:xfrm>
            <a:off x="4961062" y="4086384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6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B919113-0F90-CE24-0DBE-34E61474A475}"/>
              </a:ext>
            </a:extLst>
          </p:cNvPr>
          <p:cNvSpPr txBox="1"/>
          <p:nvPr/>
        </p:nvSpPr>
        <p:spPr>
          <a:xfrm>
            <a:off x="4961062" y="4224883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7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5E4E91-BEE1-A6F9-8962-9097B9D07713}"/>
              </a:ext>
            </a:extLst>
          </p:cNvPr>
          <p:cNvSpPr txBox="1"/>
          <p:nvPr/>
        </p:nvSpPr>
        <p:spPr>
          <a:xfrm>
            <a:off x="4961062" y="436338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9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EF4171C-CCE5-C032-FF08-E186EBEB8B22}"/>
              </a:ext>
            </a:extLst>
          </p:cNvPr>
          <p:cNvSpPr txBox="1"/>
          <p:nvPr/>
        </p:nvSpPr>
        <p:spPr>
          <a:xfrm>
            <a:off x="4878213" y="4501881"/>
            <a:ext cx="37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0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807E76E-52DA-3EEF-47B5-140274764AE9}"/>
              </a:ext>
            </a:extLst>
          </p:cNvPr>
          <p:cNvSpPr txBox="1"/>
          <p:nvPr/>
        </p:nvSpPr>
        <p:spPr>
          <a:xfrm>
            <a:off x="4878212" y="4640380"/>
            <a:ext cx="37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3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8D07F80-A89F-81A0-A628-0A1BA47A00F8}"/>
              </a:ext>
            </a:extLst>
          </p:cNvPr>
          <p:cNvSpPr txBox="1"/>
          <p:nvPr/>
        </p:nvSpPr>
        <p:spPr>
          <a:xfrm>
            <a:off x="4878211" y="5343990"/>
            <a:ext cx="37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4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FA68EB1-C08A-3014-86A3-D7C249CCD132}"/>
              </a:ext>
            </a:extLst>
          </p:cNvPr>
          <p:cNvSpPr txBox="1"/>
          <p:nvPr/>
        </p:nvSpPr>
        <p:spPr>
          <a:xfrm>
            <a:off x="4892628" y="5623873"/>
            <a:ext cx="37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6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76660A7-D5D5-1A43-1C93-C1796DDE1A1B}"/>
              </a:ext>
            </a:extLst>
          </p:cNvPr>
          <p:cNvSpPr txBox="1"/>
          <p:nvPr/>
        </p:nvSpPr>
        <p:spPr>
          <a:xfrm>
            <a:off x="4892628" y="5915432"/>
            <a:ext cx="37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7</a:t>
            </a:r>
          </a:p>
        </p:txBody>
      </p:sp>
    </p:spTree>
    <p:extLst>
      <p:ext uri="{BB962C8B-B14F-4D97-AF65-F5344CB8AC3E}">
        <p14:creationId xmlns:p14="http://schemas.microsoft.com/office/powerpoint/2010/main" val="172197346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Box 149">
            <a:extLst>
              <a:ext uri="{FF2B5EF4-FFF2-40B4-BE49-F238E27FC236}">
                <a16:creationId xmlns:a16="http://schemas.microsoft.com/office/drawing/2014/main" id="{178E0C05-B1BA-DF40-59C2-15EEBDE141F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58527" y="4668432"/>
            <a:ext cx="3658584" cy="2217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: 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" name="Text Box 149">
            <a:extLst>
              <a:ext uri="{FF2B5EF4-FFF2-40B4-BE49-F238E27FC236}">
                <a16:creationId xmlns:a16="http://schemas.microsoft.com/office/drawing/2014/main" id="{955532A8-C3D2-79FD-6595-544EBD38B1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46723" y="4963092"/>
            <a:ext cx="3658584" cy="2217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: 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" name="Text Box 149">
            <a:extLst>
              <a:ext uri="{FF2B5EF4-FFF2-40B4-BE49-F238E27FC236}">
                <a16:creationId xmlns:a16="http://schemas.microsoft.com/office/drawing/2014/main" id="{16F2C2F9-7F01-DC7D-06C0-12924385D73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9967" y="1222531"/>
            <a:ext cx="2391482" cy="25153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3" name="Text Box 149">
            <a:extLst>
              <a:ext uri="{FF2B5EF4-FFF2-40B4-BE49-F238E27FC236}">
                <a16:creationId xmlns:a16="http://schemas.microsoft.com/office/drawing/2014/main" id="{3DD7E440-84FD-DE3B-5C3C-A26AC9CA9EF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57840" y="1260265"/>
            <a:ext cx="2275927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: Neighbor Solicitation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4" name="Text Box 149">
            <a:extLst>
              <a:ext uri="{FF2B5EF4-FFF2-40B4-BE49-F238E27FC236}">
                <a16:creationId xmlns:a16="http://schemas.microsoft.com/office/drawing/2014/main" id="{4B49054F-5624-3B72-1E62-F209B1E081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77275" y="2877797"/>
            <a:ext cx="2275927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: Neighbor Advertisement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2" name="Text Box 149">
            <a:extLst>
              <a:ext uri="{FF2B5EF4-FFF2-40B4-BE49-F238E27FC236}">
                <a16:creationId xmlns:a16="http://schemas.microsoft.com/office/drawing/2014/main" id="{6A3FD2B9-6037-1565-6E76-462C1E1486E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8597" y="2765487"/>
            <a:ext cx="3647540" cy="26314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: Neighbor Advertisement 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4" name="Text Box 149">
            <a:extLst>
              <a:ext uri="{FF2B5EF4-FFF2-40B4-BE49-F238E27FC236}">
                <a16:creationId xmlns:a16="http://schemas.microsoft.com/office/drawing/2014/main" id="{2234042C-5D5C-E4AC-83ED-E02A39203D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21188" y="3925541"/>
            <a:ext cx="2570249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: 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5" name="Text Box 149">
            <a:extLst>
              <a:ext uri="{FF2B5EF4-FFF2-40B4-BE49-F238E27FC236}">
                <a16:creationId xmlns:a16="http://schemas.microsoft.com/office/drawing/2014/main" id="{46F7A897-05E2-2C17-18D7-EE91B59BEA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79780" y="3519652"/>
            <a:ext cx="2667919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: 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68C34DBB-015C-4A05-16EF-AC3FC7FC0E2E}"/>
              </a:ext>
            </a:extLst>
          </p:cNvPr>
          <p:cNvSpPr/>
          <p:nvPr/>
        </p:nvSpPr>
        <p:spPr>
          <a:xfrm>
            <a:off x="582629" y="444653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ACD28B2-2099-0110-EC0D-25FB826DC3F1}"/>
              </a:ext>
            </a:extLst>
          </p:cNvPr>
          <p:cNvCxnSpPr>
            <a:cxnSpLocks/>
          </p:cNvCxnSpPr>
          <p:nvPr/>
        </p:nvCxnSpPr>
        <p:spPr>
          <a:xfrm>
            <a:off x="893777" y="1032765"/>
            <a:ext cx="0" cy="56362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60549B99-BEC8-A4B0-02DD-20D74F39D4AE}"/>
              </a:ext>
            </a:extLst>
          </p:cNvPr>
          <p:cNvSpPr/>
          <p:nvPr/>
        </p:nvSpPr>
        <p:spPr>
          <a:xfrm>
            <a:off x="2516781" y="447479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1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37E0BF5-75FF-9A57-8552-C293C1140142}"/>
              </a:ext>
            </a:extLst>
          </p:cNvPr>
          <p:cNvCxnSpPr>
            <a:cxnSpLocks/>
          </p:cNvCxnSpPr>
          <p:nvPr/>
        </p:nvCxnSpPr>
        <p:spPr>
          <a:xfrm>
            <a:off x="3062455" y="1116732"/>
            <a:ext cx="21531" cy="552022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13D59527-F161-71D5-1B66-BCEF0B271EA5}"/>
              </a:ext>
            </a:extLst>
          </p:cNvPr>
          <p:cNvSpPr/>
          <p:nvPr/>
        </p:nvSpPr>
        <p:spPr>
          <a:xfrm>
            <a:off x="8454081" y="447479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4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B3FB880-4954-9B74-6101-408319BDCE60}"/>
              </a:ext>
            </a:extLst>
          </p:cNvPr>
          <p:cNvCxnSpPr>
            <a:cxnSpLocks/>
          </p:cNvCxnSpPr>
          <p:nvPr/>
        </p:nvCxnSpPr>
        <p:spPr>
          <a:xfrm>
            <a:off x="9001452" y="1112231"/>
            <a:ext cx="24884" cy="552022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Box 21">
            <a:extLst>
              <a:ext uri="{FF2B5EF4-FFF2-40B4-BE49-F238E27FC236}">
                <a16:creationId xmlns:a16="http://schemas.microsoft.com/office/drawing/2014/main" id="{5373CA8D-A8A4-FC28-8742-5A556E65AA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4131" y="199714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1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65999C34-FAD3-1E60-AD57-1EA1D3E8CD83}"/>
              </a:ext>
            </a:extLst>
          </p:cNvPr>
          <p:cNvCxnSpPr>
            <a:cxnSpLocks/>
          </p:cNvCxnSpPr>
          <p:nvPr/>
        </p:nvCxnSpPr>
        <p:spPr>
          <a:xfrm>
            <a:off x="897900" y="1462808"/>
            <a:ext cx="216173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A5A9E30F-311D-98BC-57C0-BE9A9DFAF7E7}"/>
              </a:ext>
            </a:extLst>
          </p:cNvPr>
          <p:cNvCxnSpPr>
            <a:cxnSpLocks/>
          </p:cNvCxnSpPr>
          <p:nvPr/>
        </p:nvCxnSpPr>
        <p:spPr>
          <a:xfrm flipH="1">
            <a:off x="3068934" y="3265735"/>
            <a:ext cx="2277790" cy="4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BA2BF0B1-D3A4-0D3C-C824-A102923105A5}"/>
              </a:ext>
            </a:extLst>
          </p:cNvPr>
          <p:cNvCxnSpPr>
            <a:cxnSpLocks/>
          </p:cNvCxnSpPr>
          <p:nvPr/>
        </p:nvCxnSpPr>
        <p:spPr>
          <a:xfrm>
            <a:off x="3077275" y="4491519"/>
            <a:ext cx="593335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3005B01E-7093-7B94-45CC-3F1C7044B74D}"/>
              </a:ext>
            </a:extLst>
          </p:cNvPr>
          <p:cNvCxnSpPr>
            <a:cxnSpLocks/>
          </p:cNvCxnSpPr>
          <p:nvPr/>
        </p:nvCxnSpPr>
        <p:spPr>
          <a:xfrm flipH="1">
            <a:off x="3057575" y="4174044"/>
            <a:ext cx="229435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Rectangle 48">
            <a:extLst>
              <a:ext uri="{FF2B5EF4-FFF2-40B4-BE49-F238E27FC236}">
                <a16:creationId xmlns:a16="http://schemas.microsoft.com/office/drawing/2014/main" id="{629A40C6-CF52-8B4F-7F71-76FFF0B45B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15240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DE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995764F5-36E9-191F-10A5-2956EE9E7145}"/>
              </a:ext>
            </a:extLst>
          </p:cNvPr>
          <p:cNvSpPr/>
          <p:nvPr/>
        </p:nvSpPr>
        <p:spPr>
          <a:xfrm>
            <a:off x="10957125" y="444653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4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90E2785-9153-8157-E69F-E105B11A96B6}"/>
              </a:ext>
            </a:extLst>
          </p:cNvPr>
          <p:cNvCxnSpPr>
            <a:cxnSpLocks/>
          </p:cNvCxnSpPr>
          <p:nvPr/>
        </p:nvCxnSpPr>
        <p:spPr>
          <a:xfrm>
            <a:off x="11268273" y="960169"/>
            <a:ext cx="24610" cy="567228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Flowchart: Terminator 50">
            <a:extLst>
              <a:ext uri="{FF2B5EF4-FFF2-40B4-BE49-F238E27FC236}">
                <a16:creationId xmlns:a16="http://schemas.microsoft.com/office/drawing/2014/main" id="{0377C347-4EE8-D2BE-475B-DE1AAA615EEB}"/>
              </a:ext>
            </a:extLst>
          </p:cNvPr>
          <p:cNvSpPr/>
          <p:nvPr/>
        </p:nvSpPr>
        <p:spPr>
          <a:xfrm>
            <a:off x="4797544" y="450746"/>
            <a:ext cx="1074420" cy="670560"/>
          </a:xfrm>
          <a:prstGeom prst="flowChartTerminator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NOS Controller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B608EFF2-2A7B-629B-843E-61DD5EC3F0D5}"/>
              </a:ext>
            </a:extLst>
          </p:cNvPr>
          <p:cNvCxnSpPr>
            <a:cxnSpLocks/>
          </p:cNvCxnSpPr>
          <p:nvPr/>
        </p:nvCxnSpPr>
        <p:spPr>
          <a:xfrm>
            <a:off x="5340245" y="1116732"/>
            <a:ext cx="12957" cy="551572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C3213CED-26EF-68BD-9F9F-9BE8C8B03EAD}"/>
              </a:ext>
            </a:extLst>
          </p:cNvPr>
          <p:cNvCxnSpPr>
            <a:cxnSpLocks/>
          </p:cNvCxnSpPr>
          <p:nvPr/>
        </p:nvCxnSpPr>
        <p:spPr>
          <a:xfrm>
            <a:off x="3062455" y="1631746"/>
            <a:ext cx="227779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3A4BED29-B25D-CC31-0E8C-A3CF41140673}"/>
              </a:ext>
            </a:extLst>
          </p:cNvPr>
          <p:cNvCxnSpPr>
            <a:cxnSpLocks/>
          </p:cNvCxnSpPr>
          <p:nvPr/>
        </p:nvCxnSpPr>
        <p:spPr>
          <a:xfrm flipH="1">
            <a:off x="5353202" y="3043434"/>
            <a:ext cx="3672935" cy="72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01E09612-AD38-9E67-7C31-6338D60ADA0C}"/>
              </a:ext>
            </a:extLst>
          </p:cNvPr>
          <p:cNvCxnSpPr>
            <a:cxnSpLocks/>
          </p:cNvCxnSpPr>
          <p:nvPr/>
        </p:nvCxnSpPr>
        <p:spPr>
          <a:xfrm>
            <a:off x="3077275" y="3764492"/>
            <a:ext cx="227779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0" name="Text Box 21">
            <a:extLst>
              <a:ext uri="{FF2B5EF4-FFF2-40B4-BE49-F238E27FC236}">
                <a16:creationId xmlns:a16="http://schemas.microsoft.com/office/drawing/2014/main" id="{5044FB16-4543-7770-DDCA-605DC15E91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753314" y="199714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4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Text Box 149">
            <a:extLst>
              <a:ext uri="{FF2B5EF4-FFF2-40B4-BE49-F238E27FC236}">
                <a16:creationId xmlns:a16="http://schemas.microsoft.com/office/drawing/2014/main" id="{C1201ABF-A30F-5073-216D-58EC583FF8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99007" y="4248185"/>
            <a:ext cx="2619974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038455B-2C03-9CBF-F52E-E7F37C1987D2}"/>
              </a:ext>
            </a:extLst>
          </p:cNvPr>
          <p:cNvSpPr/>
          <p:nvPr/>
        </p:nvSpPr>
        <p:spPr>
          <a:xfrm>
            <a:off x="6143476" y="447479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2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8991329-9B79-F91D-5282-2A160FD8143F}"/>
              </a:ext>
            </a:extLst>
          </p:cNvPr>
          <p:cNvCxnSpPr>
            <a:cxnSpLocks/>
          </p:cNvCxnSpPr>
          <p:nvPr/>
        </p:nvCxnSpPr>
        <p:spPr>
          <a:xfrm>
            <a:off x="6713047" y="1112070"/>
            <a:ext cx="5938" cy="83787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FFF32704-E2B9-BC30-5490-EEFE5E506BC0}"/>
              </a:ext>
            </a:extLst>
          </p:cNvPr>
          <p:cNvSpPr/>
          <p:nvPr/>
        </p:nvSpPr>
        <p:spPr>
          <a:xfrm>
            <a:off x="7293213" y="447479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3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7F46292-8B16-1C1C-5A52-31435FCC6BFC}"/>
              </a:ext>
            </a:extLst>
          </p:cNvPr>
          <p:cNvCxnSpPr>
            <a:cxnSpLocks/>
          </p:cNvCxnSpPr>
          <p:nvPr/>
        </p:nvCxnSpPr>
        <p:spPr>
          <a:xfrm>
            <a:off x="7840584" y="1118765"/>
            <a:ext cx="0" cy="117894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Box 149">
            <a:extLst>
              <a:ext uri="{FF2B5EF4-FFF2-40B4-BE49-F238E27FC236}">
                <a16:creationId xmlns:a16="http://schemas.microsoft.com/office/drawing/2014/main" id="{93AC6B3A-7049-0616-8C39-E8465C09F06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13185" y="1322617"/>
            <a:ext cx="2275927" cy="4727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: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Solicitation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11565A74-A3A8-EB1E-C0A4-7261BF2AD39F}"/>
              </a:ext>
            </a:extLst>
          </p:cNvPr>
          <p:cNvCxnSpPr>
            <a:cxnSpLocks/>
          </p:cNvCxnSpPr>
          <p:nvPr/>
        </p:nvCxnSpPr>
        <p:spPr>
          <a:xfrm>
            <a:off x="5333767" y="1868936"/>
            <a:ext cx="140093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ext Box 149">
            <a:extLst>
              <a:ext uri="{FF2B5EF4-FFF2-40B4-BE49-F238E27FC236}">
                <a16:creationId xmlns:a16="http://schemas.microsoft.com/office/drawing/2014/main" id="{ECCBC542-7114-BA1D-6578-C1B05A86649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92690" y="2007532"/>
            <a:ext cx="2778444" cy="2217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: Neighbor Solicitation 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D7C12AA0-5BC6-9058-9C81-C72D2D3DBE66}"/>
              </a:ext>
            </a:extLst>
          </p:cNvPr>
          <p:cNvCxnSpPr>
            <a:cxnSpLocks/>
          </p:cNvCxnSpPr>
          <p:nvPr/>
        </p:nvCxnSpPr>
        <p:spPr>
          <a:xfrm>
            <a:off x="5346723" y="2242844"/>
            <a:ext cx="249386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Text Box 149">
            <a:extLst>
              <a:ext uri="{FF2B5EF4-FFF2-40B4-BE49-F238E27FC236}">
                <a16:creationId xmlns:a16="http://schemas.microsoft.com/office/drawing/2014/main" id="{DA1D141D-63C8-9F11-B6C5-A837B81D346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58527" y="2393428"/>
            <a:ext cx="3587683" cy="2217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: Neighbor Solicitation 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B847F186-9FCB-D84A-670F-9E7F0475A46A}"/>
              </a:ext>
            </a:extLst>
          </p:cNvPr>
          <p:cNvCxnSpPr>
            <a:cxnSpLocks/>
          </p:cNvCxnSpPr>
          <p:nvPr/>
        </p:nvCxnSpPr>
        <p:spPr>
          <a:xfrm flipV="1">
            <a:off x="5352049" y="2637014"/>
            <a:ext cx="3658584" cy="247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9BB2A62B-DC6B-CD60-1ED8-184E74DE1DC2}"/>
              </a:ext>
            </a:extLst>
          </p:cNvPr>
          <p:cNvCxnSpPr>
            <a:cxnSpLocks/>
          </p:cNvCxnSpPr>
          <p:nvPr/>
        </p:nvCxnSpPr>
        <p:spPr>
          <a:xfrm flipH="1">
            <a:off x="5353202" y="4876312"/>
            <a:ext cx="3672935" cy="72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28A6E172-10CE-97D6-1790-A3891FEB630E}"/>
              </a:ext>
            </a:extLst>
          </p:cNvPr>
          <p:cNvCxnSpPr>
            <a:cxnSpLocks/>
          </p:cNvCxnSpPr>
          <p:nvPr/>
        </p:nvCxnSpPr>
        <p:spPr>
          <a:xfrm>
            <a:off x="5360733" y="5258053"/>
            <a:ext cx="36499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" name="Text Box 21">
            <a:extLst>
              <a:ext uri="{FF2B5EF4-FFF2-40B4-BE49-F238E27FC236}">
                <a16:creationId xmlns:a16="http://schemas.microsoft.com/office/drawing/2014/main" id="{526C1A3C-6AB0-2B13-09F0-D6A1F49766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77856" y="215908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59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3" name="Text Box 21">
            <a:extLst>
              <a:ext uri="{FF2B5EF4-FFF2-40B4-BE49-F238E27FC236}">
                <a16:creationId xmlns:a16="http://schemas.microsoft.com/office/drawing/2014/main" id="{933AE5EF-E56F-FCB6-F8D8-81BE54E6C8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27120" y="215908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64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4" name="Text Box 21">
            <a:extLst>
              <a:ext uri="{FF2B5EF4-FFF2-40B4-BE49-F238E27FC236}">
                <a16:creationId xmlns:a16="http://schemas.microsoft.com/office/drawing/2014/main" id="{894B659F-A57D-FEBA-6931-13D3C58D9CC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83894" y="215908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75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7" name="Text Box 21">
            <a:extLst>
              <a:ext uri="{FF2B5EF4-FFF2-40B4-BE49-F238E27FC236}">
                <a16:creationId xmlns:a16="http://schemas.microsoft.com/office/drawing/2014/main" id="{D7AC877F-C8FC-A6D1-DEB2-D63176255D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68903" y="215908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35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8" name="Text Box 21">
            <a:extLst>
              <a:ext uri="{FF2B5EF4-FFF2-40B4-BE49-F238E27FC236}">
                <a16:creationId xmlns:a16="http://schemas.microsoft.com/office/drawing/2014/main" id="{45A0BAE6-B6C2-E713-AAB2-0F6149B799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25293" y="215908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0.114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68CE9AD2-EF21-9988-6FCA-A175DCF12C8F}"/>
              </a:ext>
            </a:extLst>
          </p:cNvPr>
          <p:cNvSpPr txBox="1"/>
          <p:nvPr/>
        </p:nvSpPr>
        <p:spPr>
          <a:xfrm>
            <a:off x="815903" y="1386835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001B0950-8C0D-B8A1-A193-C7127C037846}"/>
              </a:ext>
            </a:extLst>
          </p:cNvPr>
          <p:cNvSpPr txBox="1"/>
          <p:nvPr/>
        </p:nvSpPr>
        <p:spPr>
          <a:xfrm>
            <a:off x="3024216" y="1577570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BC9BCE66-1427-5CA9-6F40-945441D0E1C3}"/>
              </a:ext>
            </a:extLst>
          </p:cNvPr>
          <p:cNvSpPr txBox="1"/>
          <p:nvPr/>
        </p:nvSpPr>
        <p:spPr>
          <a:xfrm>
            <a:off x="4940796" y="2132277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3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EA61342E-46BB-D226-CC2D-C67FCF9AF905}"/>
              </a:ext>
            </a:extLst>
          </p:cNvPr>
          <p:cNvSpPr txBox="1"/>
          <p:nvPr/>
        </p:nvSpPr>
        <p:spPr>
          <a:xfrm>
            <a:off x="8762075" y="300655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4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DC6A6FE4-8194-6B8D-3B1C-86884430FEE8}"/>
              </a:ext>
            </a:extLst>
          </p:cNvPr>
          <p:cNvSpPr txBox="1"/>
          <p:nvPr/>
        </p:nvSpPr>
        <p:spPr>
          <a:xfrm>
            <a:off x="5124546" y="322197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5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297E737A-18B7-2D27-BF7F-5523FC7BE3CD}"/>
              </a:ext>
            </a:extLst>
          </p:cNvPr>
          <p:cNvSpPr txBox="1"/>
          <p:nvPr/>
        </p:nvSpPr>
        <p:spPr>
          <a:xfrm>
            <a:off x="3021188" y="3712365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6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3B9A51C2-3656-C4B9-A47B-2B5D66958908}"/>
              </a:ext>
            </a:extLst>
          </p:cNvPr>
          <p:cNvSpPr txBox="1"/>
          <p:nvPr/>
        </p:nvSpPr>
        <p:spPr>
          <a:xfrm>
            <a:off x="5124546" y="4114508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7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2F0DA36-2B04-08AF-998F-01F0C4CCBA86}"/>
              </a:ext>
            </a:extLst>
          </p:cNvPr>
          <p:cNvSpPr txBox="1"/>
          <p:nvPr/>
        </p:nvSpPr>
        <p:spPr>
          <a:xfrm>
            <a:off x="3031165" y="4446298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8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3FA4575D-67FA-9F69-6EB5-F4109618E031}"/>
              </a:ext>
            </a:extLst>
          </p:cNvPr>
          <p:cNvSpPr txBox="1"/>
          <p:nvPr/>
        </p:nvSpPr>
        <p:spPr>
          <a:xfrm>
            <a:off x="8809344" y="4825996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9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2376CF76-D6BC-E941-DD19-91C516709971}"/>
              </a:ext>
            </a:extLst>
          </p:cNvPr>
          <p:cNvSpPr txBox="1"/>
          <p:nvPr/>
        </p:nvSpPr>
        <p:spPr>
          <a:xfrm>
            <a:off x="5321131" y="5210579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0</a:t>
            </a:r>
          </a:p>
        </p:txBody>
      </p:sp>
      <p:sp>
        <p:nvSpPr>
          <p:cNvPr id="72" name="Left Brace 71">
            <a:extLst>
              <a:ext uri="{FF2B5EF4-FFF2-40B4-BE49-F238E27FC236}">
                <a16:creationId xmlns:a16="http://schemas.microsoft.com/office/drawing/2014/main" id="{6368B5B1-B6AC-7241-0F37-8818C17F7882}"/>
              </a:ext>
            </a:extLst>
          </p:cNvPr>
          <p:cNvSpPr/>
          <p:nvPr/>
        </p:nvSpPr>
        <p:spPr>
          <a:xfrm>
            <a:off x="5156717" y="1838130"/>
            <a:ext cx="121185" cy="871246"/>
          </a:xfrm>
          <a:prstGeom prst="leftBrac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47585235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Box 149">
            <a:extLst>
              <a:ext uri="{FF2B5EF4-FFF2-40B4-BE49-F238E27FC236}">
                <a16:creationId xmlns:a16="http://schemas.microsoft.com/office/drawing/2014/main" id="{178E0C05-B1BA-DF40-59C2-15EEBDE141F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34572" y="2170368"/>
            <a:ext cx="3658584" cy="2217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lang="en-US" altLang="en-DE" sz="1100" dirty="0">
                <a:solidFill>
                  <a:srgbClr val="0070C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O</a:t>
            </a: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: 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" name="Text Box 149">
            <a:extLst>
              <a:ext uri="{FF2B5EF4-FFF2-40B4-BE49-F238E27FC236}">
                <a16:creationId xmlns:a16="http://schemas.microsoft.com/office/drawing/2014/main" id="{955532A8-C3D2-79FD-6595-544EBD38B1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22768" y="2465028"/>
            <a:ext cx="3658584" cy="2217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lang="en-US" altLang="en-DE" sz="1100" dirty="0">
                <a:solidFill>
                  <a:srgbClr val="0070C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O</a:t>
            </a: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: 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7" name="Text Box 149">
            <a:extLst>
              <a:ext uri="{FF2B5EF4-FFF2-40B4-BE49-F238E27FC236}">
                <a16:creationId xmlns:a16="http://schemas.microsoft.com/office/drawing/2014/main" id="{04CD86AB-B61F-D75F-9F69-EFFC4BF01B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47815" y="1623865"/>
            <a:ext cx="2418632" cy="28543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Text Box 149">
            <a:extLst>
              <a:ext uri="{FF2B5EF4-FFF2-40B4-BE49-F238E27FC236}">
                <a16:creationId xmlns:a16="http://schemas.microsoft.com/office/drawing/2014/main" id="{CC3DD145-F8F9-6873-1882-894255714D3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03330" y="1929841"/>
            <a:ext cx="2131537" cy="268704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9" name="Text Box 149">
            <a:extLst>
              <a:ext uri="{FF2B5EF4-FFF2-40B4-BE49-F238E27FC236}">
                <a16:creationId xmlns:a16="http://schemas.microsoft.com/office/drawing/2014/main" id="{C32DC08A-0D8B-5DF6-99E9-E11051CDE8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5716" y="3876903"/>
            <a:ext cx="2157789" cy="29986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4" name="Text Box 149">
            <a:extLst>
              <a:ext uri="{FF2B5EF4-FFF2-40B4-BE49-F238E27FC236}">
                <a16:creationId xmlns:a16="http://schemas.microsoft.com/office/drawing/2014/main" id="{2234042C-5D5C-E4AC-83ED-E02A39203D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35883" y="3589040"/>
            <a:ext cx="2405997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lang="en-US" altLang="en-DE" sz="1100" dirty="0">
                <a:solidFill>
                  <a:srgbClr val="0070C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O</a:t>
            </a: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: 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5" name="Text Box 149">
            <a:extLst>
              <a:ext uri="{FF2B5EF4-FFF2-40B4-BE49-F238E27FC236}">
                <a16:creationId xmlns:a16="http://schemas.microsoft.com/office/drawing/2014/main" id="{46F7A897-05E2-2C17-18D7-EE91B59BEA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24216" y="3188987"/>
            <a:ext cx="2391482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lang="en-US" altLang="en-DE" sz="1100" dirty="0">
                <a:solidFill>
                  <a:srgbClr val="0070C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O</a:t>
            </a: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: 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68C34DBB-015C-4A05-16EF-AC3FC7FC0E2E}"/>
              </a:ext>
            </a:extLst>
          </p:cNvPr>
          <p:cNvSpPr/>
          <p:nvPr/>
        </p:nvSpPr>
        <p:spPr>
          <a:xfrm>
            <a:off x="582629" y="480951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ACD28B2-2099-0110-EC0D-25FB826DC3F1}"/>
              </a:ext>
            </a:extLst>
          </p:cNvPr>
          <p:cNvCxnSpPr>
            <a:cxnSpLocks/>
          </p:cNvCxnSpPr>
          <p:nvPr/>
        </p:nvCxnSpPr>
        <p:spPr>
          <a:xfrm>
            <a:off x="893777" y="1032765"/>
            <a:ext cx="0" cy="56362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60549B99-BEC8-A4B0-02DD-20D74F39D4AE}"/>
              </a:ext>
            </a:extLst>
          </p:cNvPr>
          <p:cNvSpPr/>
          <p:nvPr/>
        </p:nvSpPr>
        <p:spPr>
          <a:xfrm>
            <a:off x="2516781" y="446173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1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37E0BF5-75FF-9A57-8552-C293C1140142}"/>
              </a:ext>
            </a:extLst>
          </p:cNvPr>
          <p:cNvCxnSpPr>
            <a:cxnSpLocks/>
          </p:cNvCxnSpPr>
          <p:nvPr/>
        </p:nvCxnSpPr>
        <p:spPr>
          <a:xfrm>
            <a:off x="3062455" y="1116732"/>
            <a:ext cx="21531" cy="552022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13D59527-F161-71D5-1B66-BCEF0B271EA5}"/>
              </a:ext>
            </a:extLst>
          </p:cNvPr>
          <p:cNvSpPr/>
          <p:nvPr/>
        </p:nvSpPr>
        <p:spPr>
          <a:xfrm>
            <a:off x="8454081" y="444212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4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B3FB880-4954-9B74-6101-408319BDCE60}"/>
              </a:ext>
            </a:extLst>
          </p:cNvPr>
          <p:cNvCxnSpPr>
            <a:cxnSpLocks/>
          </p:cNvCxnSpPr>
          <p:nvPr/>
        </p:nvCxnSpPr>
        <p:spPr>
          <a:xfrm>
            <a:off x="9001452" y="1112231"/>
            <a:ext cx="24884" cy="552022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Box 21">
            <a:extLst>
              <a:ext uri="{FF2B5EF4-FFF2-40B4-BE49-F238E27FC236}">
                <a16:creationId xmlns:a16="http://schemas.microsoft.com/office/drawing/2014/main" id="{5373CA8D-A8A4-FC28-8742-5A556E65AA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4131" y="199714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1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3005B01E-7093-7B94-45CC-3F1C7044B74D}"/>
              </a:ext>
            </a:extLst>
          </p:cNvPr>
          <p:cNvCxnSpPr>
            <a:cxnSpLocks/>
          </p:cNvCxnSpPr>
          <p:nvPr/>
        </p:nvCxnSpPr>
        <p:spPr>
          <a:xfrm flipH="1">
            <a:off x="3062294" y="3843615"/>
            <a:ext cx="229435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Rectangle 48">
            <a:extLst>
              <a:ext uri="{FF2B5EF4-FFF2-40B4-BE49-F238E27FC236}">
                <a16:creationId xmlns:a16="http://schemas.microsoft.com/office/drawing/2014/main" id="{629A40C6-CF52-8B4F-7F71-76FFF0B45B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15240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DE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995764F5-36E9-191F-10A5-2956EE9E7145}"/>
              </a:ext>
            </a:extLst>
          </p:cNvPr>
          <p:cNvSpPr/>
          <p:nvPr/>
        </p:nvSpPr>
        <p:spPr>
          <a:xfrm>
            <a:off x="10957125" y="408355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4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90E2785-9153-8157-E69F-E105B11A96B6}"/>
              </a:ext>
            </a:extLst>
          </p:cNvPr>
          <p:cNvCxnSpPr>
            <a:cxnSpLocks/>
          </p:cNvCxnSpPr>
          <p:nvPr/>
        </p:nvCxnSpPr>
        <p:spPr>
          <a:xfrm>
            <a:off x="11268273" y="960169"/>
            <a:ext cx="24610" cy="567228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Flowchart: Terminator 50">
            <a:extLst>
              <a:ext uri="{FF2B5EF4-FFF2-40B4-BE49-F238E27FC236}">
                <a16:creationId xmlns:a16="http://schemas.microsoft.com/office/drawing/2014/main" id="{0377C347-4EE8-D2BE-475B-DE1AAA615EEB}"/>
              </a:ext>
            </a:extLst>
          </p:cNvPr>
          <p:cNvSpPr/>
          <p:nvPr/>
        </p:nvSpPr>
        <p:spPr>
          <a:xfrm>
            <a:off x="4797544" y="450746"/>
            <a:ext cx="1074420" cy="670560"/>
          </a:xfrm>
          <a:prstGeom prst="flowChartTerminator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NOS Controller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B608EFF2-2A7B-629B-843E-61DD5EC3F0D5}"/>
              </a:ext>
            </a:extLst>
          </p:cNvPr>
          <p:cNvCxnSpPr>
            <a:cxnSpLocks/>
          </p:cNvCxnSpPr>
          <p:nvPr/>
        </p:nvCxnSpPr>
        <p:spPr>
          <a:xfrm>
            <a:off x="5340245" y="1116732"/>
            <a:ext cx="16408" cy="298127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2636E65E-066C-7682-AAAD-A54E34B92AE6}"/>
              </a:ext>
            </a:extLst>
          </p:cNvPr>
          <p:cNvCxnSpPr>
            <a:cxnSpLocks/>
          </p:cNvCxnSpPr>
          <p:nvPr/>
        </p:nvCxnSpPr>
        <p:spPr>
          <a:xfrm flipH="1">
            <a:off x="8990624" y="2174216"/>
            <a:ext cx="226407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D6BEBB5D-8303-B54E-C8D7-0B3974D550DF}"/>
              </a:ext>
            </a:extLst>
          </p:cNvPr>
          <p:cNvCxnSpPr>
            <a:cxnSpLocks/>
          </p:cNvCxnSpPr>
          <p:nvPr/>
        </p:nvCxnSpPr>
        <p:spPr>
          <a:xfrm>
            <a:off x="9001417" y="1861498"/>
            <a:ext cx="2253281" cy="7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CC93BE02-E9F2-877B-3D37-E41E666B0B53}"/>
              </a:ext>
            </a:extLst>
          </p:cNvPr>
          <p:cNvCxnSpPr>
            <a:cxnSpLocks/>
          </p:cNvCxnSpPr>
          <p:nvPr/>
        </p:nvCxnSpPr>
        <p:spPr>
          <a:xfrm flipH="1">
            <a:off x="913878" y="4086691"/>
            <a:ext cx="215778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01E09612-AD38-9E67-7C31-6338D60ADA0C}"/>
              </a:ext>
            </a:extLst>
          </p:cNvPr>
          <p:cNvCxnSpPr>
            <a:cxnSpLocks/>
          </p:cNvCxnSpPr>
          <p:nvPr/>
        </p:nvCxnSpPr>
        <p:spPr>
          <a:xfrm>
            <a:off x="3081994" y="3434063"/>
            <a:ext cx="227779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13B7AC4D-0259-467C-2A2B-DA9FF99CC186}"/>
              </a:ext>
            </a:extLst>
          </p:cNvPr>
          <p:cNvCxnSpPr>
            <a:cxnSpLocks/>
          </p:cNvCxnSpPr>
          <p:nvPr/>
        </p:nvCxnSpPr>
        <p:spPr>
          <a:xfrm flipH="1">
            <a:off x="3076360" y="3077458"/>
            <a:ext cx="5949976" cy="245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0" name="Text Box 21">
            <a:extLst>
              <a:ext uri="{FF2B5EF4-FFF2-40B4-BE49-F238E27FC236}">
                <a16:creationId xmlns:a16="http://schemas.microsoft.com/office/drawing/2014/main" id="{5044FB16-4543-7770-DDCA-605DC15E91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753314" y="163202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4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6" name="Text Box 149">
            <a:extLst>
              <a:ext uri="{FF2B5EF4-FFF2-40B4-BE49-F238E27FC236}">
                <a16:creationId xmlns:a16="http://schemas.microsoft.com/office/drawing/2014/main" id="{D3CBD1BE-D7EC-FF2E-B508-42082D6ED5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40444" y="2846641"/>
            <a:ext cx="2507517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038455B-2C03-9CBF-F52E-E7F37C1987D2}"/>
              </a:ext>
            </a:extLst>
          </p:cNvPr>
          <p:cNvSpPr/>
          <p:nvPr/>
        </p:nvSpPr>
        <p:spPr>
          <a:xfrm>
            <a:off x="6143476" y="448889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2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FF32704-E2B9-BC30-5490-EEFE5E506BC0}"/>
              </a:ext>
            </a:extLst>
          </p:cNvPr>
          <p:cNvSpPr/>
          <p:nvPr/>
        </p:nvSpPr>
        <p:spPr>
          <a:xfrm>
            <a:off x="7293213" y="450746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3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9BB2A62B-DC6B-CD60-1ED8-184E74DE1DC2}"/>
              </a:ext>
            </a:extLst>
          </p:cNvPr>
          <p:cNvCxnSpPr>
            <a:cxnSpLocks/>
          </p:cNvCxnSpPr>
          <p:nvPr/>
        </p:nvCxnSpPr>
        <p:spPr>
          <a:xfrm flipH="1">
            <a:off x="5329247" y="2378248"/>
            <a:ext cx="3672935" cy="72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28A6E172-10CE-97D6-1790-A3891FEB630E}"/>
              </a:ext>
            </a:extLst>
          </p:cNvPr>
          <p:cNvCxnSpPr>
            <a:cxnSpLocks/>
          </p:cNvCxnSpPr>
          <p:nvPr/>
        </p:nvCxnSpPr>
        <p:spPr>
          <a:xfrm>
            <a:off x="5336778" y="2759989"/>
            <a:ext cx="36499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" name="Text Box 21">
            <a:extLst>
              <a:ext uri="{FF2B5EF4-FFF2-40B4-BE49-F238E27FC236}">
                <a16:creationId xmlns:a16="http://schemas.microsoft.com/office/drawing/2014/main" id="{526C1A3C-6AB0-2B13-09F0-D6A1F49766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77856" y="21535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59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3" name="Text Box 21">
            <a:extLst>
              <a:ext uri="{FF2B5EF4-FFF2-40B4-BE49-F238E27FC236}">
                <a16:creationId xmlns:a16="http://schemas.microsoft.com/office/drawing/2014/main" id="{933AE5EF-E56F-FCB6-F8D8-81BE54E6C8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27120" y="21209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64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4" name="Text Box 21">
            <a:extLst>
              <a:ext uri="{FF2B5EF4-FFF2-40B4-BE49-F238E27FC236}">
                <a16:creationId xmlns:a16="http://schemas.microsoft.com/office/drawing/2014/main" id="{894B659F-A57D-FEBA-6931-13D3C58D9CC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83894" y="21535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75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7" name="Text Box 21">
            <a:extLst>
              <a:ext uri="{FF2B5EF4-FFF2-40B4-BE49-F238E27FC236}">
                <a16:creationId xmlns:a16="http://schemas.microsoft.com/office/drawing/2014/main" id="{D7AC877F-C8FC-A6D1-DEB2-D63176255D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68903" y="21535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35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8" name="Text Box 21">
            <a:extLst>
              <a:ext uri="{FF2B5EF4-FFF2-40B4-BE49-F238E27FC236}">
                <a16:creationId xmlns:a16="http://schemas.microsoft.com/office/drawing/2014/main" id="{45A0BAE6-B6C2-E713-AAB2-0F6149B799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25293" y="209320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0.114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2376CF76-D6BC-E941-DD19-91C516709971}"/>
              </a:ext>
            </a:extLst>
          </p:cNvPr>
          <p:cNvSpPr txBox="1"/>
          <p:nvPr/>
        </p:nvSpPr>
        <p:spPr>
          <a:xfrm>
            <a:off x="5302426" y="2729990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4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155DE0F6-79E8-7BFF-5900-53C05D37EC4D}"/>
              </a:ext>
            </a:extLst>
          </p:cNvPr>
          <p:cNvSpPr txBox="1"/>
          <p:nvPr/>
        </p:nvSpPr>
        <p:spPr>
          <a:xfrm>
            <a:off x="8947814" y="1817777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1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651CE3A-A8BA-AA54-5F59-629386621F51}"/>
              </a:ext>
            </a:extLst>
          </p:cNvPr>
          <p:cNvSpPr txBox="1"/>
          <p:nvPr/>
        </p:nvSpPr>
        <p:spPr>
          <a:xfrm>
            <a:off x="10960947" y="2141099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2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EBFD0891-D560-B37A-DD4C-3942E5BBCD79}"/>
              </a:ext>
            </a:extLst>
          </p:cNvPr>
          <p:cNvSpPr txBox="1"/>
          <p:nvPr/>
        </p:nvSpPr>
        <p:spPr>
          <a:xfrm>
            <a:off x="8712131" y="2324117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3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5C490E4-C976-EF09-CB12-936860845BF4}"/>
              </a:ext>
            </a:extLst>
          </p:cNvPr>
          <p:cNvSpPr txBox="1"/>
          <p:nvPr/>
        </p:nvSpPr>
        <p:spPr>
          <a:xfrm>
            <a:off x="8736285" y="3048056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5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E66D91F-91D4-D9B2-3B7F-14C6020007FF}"/>
              </a:ext>
            </a:extLst>
          </p:cNvPr>
          <p:cNvSpPr txBox="1"/>
          <p:nvPr/>
        </p:nvSpPr>
        <p:spPr>
          <a:xfrm>
            <a:off x="3029844" y="3393636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6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6D83412-2B8F-6D13-D95D-90BEC9CF726B}"/>
              </a:ext>
            </a:extLst>
          </p:cNvPr>
          <p:cNvSpPr txBox="1"/>
          <p:nvPr/>
        </p:nvSpPr>
        <p:spPr>
          <a:xfrm>
            <a:off x="5075597" y="3802696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7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3D543DC-D2EE-DBD7-5E23-D5FEC758EA8F}"/>
              </a:ext>
            </a:extLst>
          </p:cNvPr>
          <p:cNvSpPr txBox="1"/>
          <p:nvPr/>
        </p:nvSpPr>
        <p:spPr>
          <a:xfrm>
            <a:off x="2777317" y="4068361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8</a:t>
            </a:r>
          </a:p>
        </p:txBody>
      </p:sp>
      <p:sp>
        <p:nvSpPr>
          <p:cNvPr id="16" name="Text Box 149">
            <a:extLst>
              <a:ext uri="{FF2B5EF4-FFF2-40B4-BE49-F238E27FC236}">
                <a16:creationId xmlns:a16="http://schemas.microsoft.com/office/drawing/2014/main" id="{E0BECDDA-DE39-A411-2E3F-89AFF1A785E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8684" y="4316297"/>
            <a:ext cx="2391482" cy="25153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" name="Text Box 149">
            <a:extLst>
              <a:ext uri="{FF2B5EF4-FFF2-40B4-BE49-F238E27FC236}">
                <a16:creationId xmlns:a16="http://schemas.microsoft.com/office/drawing/2014/main" id="{BBE050F0-E8C1-698B-D536-33D350CD26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67646" y="4787520"/>
            <a:ext cx="2418632" cy="28543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Text Box 149">
            <a:extLst>
              <a:ext uri="{FF2B5EF4-FFF2-40B4-BE49-F238E27FC236}">
                <a16:creationId xmlns:a16="http://schemas.microsoft.com/office/drawing/2014/main" id="{362AC69A-4BC5-1F67-6547-49AEA52368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23161" y="5093496"/>
            <a:ext cx="2131537" cy="268704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" name="Text Box 149">
            <a:extLst>
              <a:ext uri="{FF2B5EF4-FFF2-40B4-BE49-F238E27FC236}">
                <a16:creationId xmlns:a16="http://schemas.microsoft.com/office/drawing/2014/main" id="{10A54F3F-918D-0F6E-47DA-5045E7F785F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74109" y="5515530"/>
            <a:ext cx="2157789" cy="29986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AB7D208E-2247-CA81-2551-361789944D11}"/>
              </a:ext>
            </a:extLst>
          </p:cNvPr>
          <p:cNvCxnSpPr>
            <a:cxnSpLocks/>
          </p:cNvCxnSpPr>
          <p:nvPr/>
        </p:nvCxnSpPr>
        <p:spPr>
          <a:xfrm>
            <a:off x="906617" y="4556574"/>
            <a:ext cx="216173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781EFA3-6189-0F68-A514-57808D957663}"/>
              </a:ext>
            </a:extLst>
          </p:cNvPr>
          <p:cNvCxnSpPr>
            <a:cxnSpLocks/>
          </p:cNvCxnSpPr>
          <p:nvPr/>
        </p:nvCxnSpPr>
        <p:spPr>
          <a:xfrm>
            <a:off x="3076161" y="4877876"/>
            <a:ext cx="593335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BFEAA543-1723-8C7B-35E8-DBA48C32052F}"/>
              </a:ext>
            </a:extLst>
          </p:cNvPr>
          <p:cNvCxnSpPr>
            <a:cxnSpLocks/>
          </p:cNvCxnSpPr>
          <p:nvPr/>
        </p:nvCxnSpPr>
        <p:spPr>
          <a:xfrm flipH="1">
            <a:off x="9010455" y="5337871"/>
            <a:ext cx="226407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1788317A-79C9-3BE0-4C4C-3D85D9144B79}"/>
              </a:ext>
            </a:extLst>
          </p:cNvPr>
          <p:cNvCxnSpPr>
            <a:cxnSpLocks/>
          </p:cNvCxnSpPr>
          <p:nvPr/>
        </p:nvCxnSpPr>
        <p:spPr>
          <a:xfrm>
            <a:off x="9021248" y="5025153"/>
            <a:ext cx="2253281" cy="7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F1D67FFA-F513-97AB-729F-8C2693CD4D97}"/>
              </a:ext>
            </a:extLst>
          </p:cNvPr>
          <p:cNvCxnSpPr>
            <a:cxnSpLocks/>
          </p:cNvCxnSpPr>
          <p:nvPr/>
        </p:nvCxnSpPr>
        <p:spPr>
          <a:xfrm flipH="1">
            <a:off x="922271" y="5725318"/>
            <a:ext cx="215778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1C3E957B-4978-45CA-3A55-0EF7E4836127}"/>
              </a:ext>
            </a:extLst>
          </p:cNvPr>
          <p:cNvCxnSpPr>
            <a:cxnSpLocks/>
          </p:cNvCxnSpPr>
          <p:nvPr/>
        </p:nvCxnSpPr>
        <p:spPr>
          <a:xfrm flipH="1">
            <a:off x="3083632" y="5575389"/>
            <a:ext cx="5949976" cy="245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6" name="Text Box 149">
            <a:extLst>
              <a:ext uri="{FF2B5EF4-FFF2-40B4-BE49-F238E27FC236}">
                <a16:creationId xmlns:a16="http://schemas.microsoft.com/office/drawing/2014/main" id="{0739282E-1C1B-704B-5E1B-91D267258E9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97893" y="4634542"/>
            <a:ext cx="2619974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9" name="Text Box 149">
            <a:extLst>
              <a:ext uri="{FF2B5EF4-FFF2-40B4-BE49-F238E27FC236}">
                <a16:creationId xmlns:a16="http://schemas.microsoft.com/office/drawing/2014/main" id="{2BC84AD9-3AA6-7D01-8919-549248D24F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47716" y="5344572"/>
            <a:ext cx="2507517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020E9387-08A7-2385-18D0-F603D2C9D463}"/>
              </a:ext>
            </a:extLst>
          </p:cNvPr>
          <p:cNvSpPr txBox="1"/>
          <p:nvPr/>
        </p:nvSpPr>
        <p:spPr>
          <a:xfrm>
            <a:off x="857054" y="4551225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9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1960F272-D88D-ABB8-FE17-04B140823119}"/>
              </a:ext>
            </a:extLst>
          </p:cNvPr>
          <p:cNvSpPr txBox="1"/>
          <p:nvPr/>
        </p:nvSpPr>
        <p:spPr>
          <a:xfrm>
            <a:off x="3033024" y="4828224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0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ABF46BB0-A868-CC02-1473-780FF508F7BB}"/>
              </a:ext>
            </a:extLst>
          </p:cNvPr>
          <p:cNvSpPr txBox="1"/>
          <p:nvPr/>
        </p:nvSpPr>
        <p:spPr>
          <a:xfrm>
            <a:off x="8963418" y="4972725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1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DE49B67E-73BF-C7E9-49C2-518B3E7FE414}"/>
              </a:ext>
            </a:extLst>
          </p:cNvPr>
          <p:cNvSpPr txBox="1"/>
          <p:nvPr/>
        </p:nvSpPr>
        <p:spPr>
          <a:xfrm>
            <a:off x="11004827" y="5296052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2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13F5AE11-E9B5-76BA-D878-6DD471754467}"/>
              </a:ext>
            </a:extLst>
          </p:cNvPr>
          <p:cNvSpPr txBox="1"/>
          <p:nvPr/>
        </p:nvSpPr>
        <p:spPr>
          <a:xfrm>
            <a:off x="8745046" y="5530433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3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11ED860E-DCE6-DFEF-8869-77E9A11F5EF4}"/>
              </a:ext>
            </a:extLst>
          </p:cNvPr>
          <p:cNvSpPr txBox="1"/>
          <p:nvPr/>
        </p:nvSpPr>
        <p:spPr>
          <a:xfrm>
            <a:off x="2773906" y="5687073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4</a:t>
            </a:r>
          </a:p>
        </p:txBody>
      </p:sp>
    </p:spTree>
    <p:extLst>
      <p:ext uri="{BB962C8B-B14F-4D97-AF65-F5344CB8AC3E}">
        <p14:creationId xmlns:p14="http://schemas.microsoft.com/office/powerpoint/2010/main" val="161387316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Box 149">
            <a:extLst>
              <a:ext uri="{FF2B5EF4-FFF2-40B4-BE49-F238E27FC236}">
                <a16:creationId xmlns:a16="http://schemas.microsoft.com/office/drawing/2014/main" id="{16F2C2F9-7F01-DC7D-06C0-12924385D73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74648" y="1249189"/>
            <a:ext cx="2349636" cy="25153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7" name="Text Box 149">
            <a:extLst>
              <a:ext uri="{FF2B5EF4-FFF2-40B4-BE49-F238E27FC236}">
                <a16:creationId xmlns:a16="http://schemas.microsoft.com/office/drawing/2014/main" id="{04CD86AB-B61F-D75F-9F69-EFFC4BF01B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00245" y="2034719"/>
            <a:ext cx="2373081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Text Box 149">
            <a:extLst>
              <a:ext uri="{FF2B5EF4-FFF2-40B4-BE49-F238E27FC236}">
                <a16:creationId xmlns:a16="http://schemas.microsoft.com/office/drawing/2014/main" id="{CC3DD145-F8F9-6873-1882-894255714D3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41379" y="2643155"/>
            <a:ext cx="2248504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9" name="Text Box 149">
            <a:extLst>
              <a:ext uri="{FF2B5EF4-FFF2-40B4-BE49-F238E27FC236}">
                <a16:creationId xmlns:a16="http://schemas.microsoft.com/office/drawing/2014/main" id="{C32DC08A-0D8B-5DF6-99E9-E11051CDE8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41640" y="3498615"/>
            <a:ext cx="2248504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68C34DBB-015C-4A05-16EF-AC3FC7FC0E2E}"/>
              </a:ext>
            </a:extLst>
          </p:cNvPr>
          <p:cNvSpPr/>
          <p:nvPr/>
        </p:nvSpPr>
        <p:spPr>
          <a:xfrm>
            <a:off x="1153064" y="445699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ACD28B2-2099-0110-EC0D-25FB826DC3F1}"/>
              </a:ext>
            </a:extLst>
          </p:cNvPr>
          <p:cNvCxnSpPr>
            <a:cxnSpLocks/>
          </p:cNvCxnSpPr>
          <p:nvPr/>
        </p:nvCxnSpPr>
        <p:spPr>
          <a:xfrm>
            <a:off x="1464212" y="997513"/>
            <a:ext cx="0" cy="31509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60549B99-BEC8-A4B0-02DD-20D74F39D4AE}"/>
              </a:ext>
            </a:extLst>
          </p:cNvPr>
          <p:cNvSpPr/>
          <p:nvPr/>
        </p:nvSpPr>
        <p:spPr>
          <a:xfrm>
            <a:off x="3092404" y="442931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1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37E0BF5-75FF-9A57-8552-C293C1140142}"/>
              </a:ext>
            </a:extLst>
          </p:cNvPr>
          <p:cNvCxnSpPr>
            <a:cxnSpLocks/>
          </p:cNvCxnSpPr>
          <p:nvPr/>
        </p:nvCxnSpPr>
        <p:spPr>
          <a:xfrm>
            <a:off x="3633621" y="1120941"/>
            <a:ext cx="11042" cy="303823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13D59527-F161-71D5-1B66-BCEF0B271EA5}"/>
              </a:ext>
            </a:extLst>
          </p:cNvPr>
          <p:cNvSpPr/>
          <p:nvPr/>
        </p:nvSpPr>
        <p:spPr>
          <a:xfrm>
            <a:off x="5456307" y="457707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4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B3FB880-4954-9B74-6101-408319BDCE60}"/>
              </a:ext>
            </a:extLst>
          </p:cNvPr>
          <p:cNvCxnSpPr>
            <a:cxnSpLocks/>
          </p:cNvCxnSpPr>
          <p:nvPr/>
        </p:nvCxnSpPr>
        <p:spPr>
          <a:xfrm flipH="1">
            <a:off x="8146621" y="1100115"/>
            <a:ext cx="4683" cy="304568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Box 21">
            <a:extLst>
              <a:ext uri="{FF2B5EF4-FFF2-40B4-BE49-F238E27FC236}">
                <a16:creationId xmlns:a16="http://schemas.microsoft.com/office/drawing/2014/main" id="{5373CA8D-A8A4-FC28-8742-5A556E65AA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6923" y="164461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1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65999C34-FAD3-1E60-AD57-1EA1D3E8CD83}"/>
              </a:ext>
            </a:extLst>
          </p:cNvPr>
          <p:cNvCxnSpPr>
            <a:cxnSpLocks/>
          </p:cNvCxnSpPr>
          <p:nvPr/>
        </p:nvCxnSpPr>
        <p:spPr>
          <a:xfrm>
            <a:off x="1474547" y="1498386"/>
            <a:ext cx="2159074" cy="42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BA2BF0B1-D3A4-0D3C-C824-A102923105A5}"/>
              </a:ext>
            </a:extLst>
          </p:cNvPr>
          <p:cNvCxnSpPr>
            <a:cxnSpLocks/>
          </p:cNvCxnSpPr>
          <p:nvPr/>
        </p:nvCxnSpPr>
        <p:spPr>
          <a:xfrm>
            <a:off x="3636054" y="1871542"/>
            <a:ext cx="237202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Rectangle 48">
            <a:extLst>
              <a:ext uri="{FF2B5EF4-FFF2-40B4-BE49-F238E27FC236}">
                <a16:creationId xmlns:a16="http://schemas.microsoft.com/office/drawing/2014/main" id="{629A40C6-CF52-8B4F-7F71-76FFF0B45B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15240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DE"/>
          </a:p>
        </p:txBody>
      </p:sp>
      <p:sp>
        <p:nvSpPr>
          <p:cNvPr id="46" name="Rectangle 52">
            <a:extLst>
              <a:ext uri="{FF2B5EF4-FFF2-40B4-BE49-F238E27FC236}">
                <a16:creationId xmlns:a16="http://schemas.microsoft.com/office/drawing/2014/main" id="{2FD39592-C8E3-B185-25E8-047793ABF6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6096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DE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995764F5-36E9-191F-10A5-2956EE9E7145}"/>
              </a:ext>
            </a:extLst>
          </p:cNvPr>
          <p:cNvSpPr/>
          <p:nvPr/>
        </p:nvSpPr>
        <p:spPr>
          <a:xfrm>
            <a:off x="7820211" y="548301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4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90E2785-9153-8157-E69F-E105B11A96B6}"/>
              </a:ext>
            </a:extLst>
          </p:cNvPr>
          <p:cNvCxnSpPr>
            <a:cxnSpLocks/>
          </p:cNvCxnSpPr>
          <p:nvPr/>
        </p:nvCxnSpPr>
        <p:spPr>
          <a:xfrm>
            <a:off x="6008079" y="1113490"/>
            <a:ext cx="0" cy="304568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2636E65E-066C-7682-AAAD-A54E34B92AE6}"/>
              </a:ext>
            </a:extLst>
          </p:cNvPr>
          <p:cNvCxnSpPr>
            <a:cxnSpLocks/>
          </p:cNvCxnSpPr>
          <p:nvPr/>
        </p:nvCxnSpPr>
        <p:spPr>
          <a:xfrm flipH="1">
            <a:off x="6006250" y="2882736"/>
            <a:ext cx="2103581" cy="119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13B7AC4D-0259-467C-2A2B-DA9FF99CC186}"/>
              </a:ext>
            </a:extLst>
          </p:cNvPr>
          <p:cNvCxnSpPr>
            <a:cxnSpLocks/>
          </p:cNvCxnSpPr>
          <p:nvPr/>
        </p:nvCxnSpPr>
        <p:spPr>
          <a:xfrm flipH="1">
            <a:off x="3621335" y="3363884"/>
            <a:ext cx="241052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0" name="Text Box 21">
            <a:extLst>
              <a:ext uri="{FF2B5EF4-FFF2-40B4-BE49-F238E27FC236}">
                <a16:creationId xmlns:a16="http://schemas.microsoft.com/office/drawing/2014/main" id="{5044FB16-4543-7770-DDCA-605DC15E91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20483" y="210279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4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Text Box 149">
            <a:extLst>
              <a:ext uri="{FF2B5EF4-FFF2-40B4-BE49-F238E27FC236}">
                <a16:creationId xmlns:a16="http://schemas.microsoft.com/office/drawing/2014/main" id="{C1201ABF-A30F-5073-216D-58EC583FF8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45839" y="1621167"/>
            <a:ext cx="2405856" cy="22847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6" name="Text Box 149">
            <a:extLst>
              <a:ext uri="{FF2B5EF4-FFF2-40B4-BE49-F238E27FC236}">
                <a16:creationId xmlns:a16="http://schemas.microsoft.com/office/drawing/2014/main" id="{D3CBD1BE-D7EC-FF2E-B508-42082D6ED5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63570" y="3088001"/>
            <a:ext cx="2248504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AC7557B8-600F-47B4-6A7F-CDAADF2AEC04}"/>
              </a:ext>
            </a:extLst>
          </p:cNvPr>
          <p:cNvCxnSpPr>
            <a:cxnSpLocks/>
          </p:cNvCxnSpPr>
          <p:nvPr/>
        </p:nvCxnSpPr>
        <p:spPr>
          <a:xfrm>
            <a:off x="6007249" y="2277474"/>
            <a:ext cx="2159074" cy="42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E2E6F77E-13BE-1FFF-CF9B-0C8BCD2699CF}"/>
              </a:ext>
            </a:extLst>
          </p:cNvPr>
          <p:cNvCxnSpPr>
            <a:cxnSpLocks/>
          </p:cNvCxnSpPr>
          <p:nvPr/>
        </p:nvCxnSpPr>
        <p:spPr>
          <a:xfrm flipH="1">
            <a:off x="1469929" y="3745532"/>
            <a:ext cx="2159074" cy="42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6" name="TextBox 55">
            <a:extLst>
              <a:ext uri="{FF2B5EF4-FFF2-40B4-BE49-F238E27FC236}">
                <a16:creationId xmlns:a16="http://schemas.microsoft.com/office/drawing/2014/main" id="{B18F6FFB-7107-44C9-7F36-343645D6372A}"/>
              </a:ext>
            </a:extLst>
          </p:cNvPr>
          <p:cNvSpPr txBox="1"/>
          <p:nvPr/>
        </p:nvSpPr>
        <p:spPr>
          <a:xfrm>
            <a:off x="3612300" y="183565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2C98AAD5-8B02-E6D7-8488-6395BFE37DF5}"/>
              </a:ext>
            </a:extLst>
          </p:cNvPr>
          <p:cNvSpPr txBox="1"/>
          <p:nvPr/>
        </p:nvSpPr>
        <p:spPr>
          <a:xfrm>
            <a:off x="5954215" y="2231251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3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1F9024BE-2BF4-B44F-6B31-59DFFC2884D6}"/>
              </a:ext>
            </a:extLst>
          </p:cNvPr>
          <p:cNvSpPr txBox="1"/>
          <p:nvPr/>
        </p:nvSpPr>
        <p:spPr>
          <a:xfrm>
            <a:off x="7932365" y="2848931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4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CD2A3706-13DB-472E-9F30-FE126BD56DF9}"/>
              </a:ext>
            </a:extLst>
          </p:cNvPr>
          <p:cNvSpPr txBox="1"/>
          <p:nvPr/>
        </p:nvSpPr>
        <p:spPr>
          <a:xfrm>
            <a:off x="5810106" y="3316480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6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A8450408-A08E-3AE2-B772-ABFCAD61AD87}"/>
              </a:ext>
            </a:extLst>
          </p:cNvPr>
          <p:cNvSpPr txBox="1"/>
          <p:nvPr/>
        </p:nvSpPr>
        <p:spPr>
          <a:xfrm>
            <a:off x="3432665" y="370776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7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1B90551-EDDB-DFF1-2349-C99396F8E30D}"/>
              </a:ext>
            </a:extLst>
          </p:cNvPr>
          <p:cNvSpPr txBox="1"/>
          <p:nvPr/>
        </p:nvSpPr>
        <p:spPr>
          <a:xfrm>
            <a:off x="1404059" y="1458407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09206295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268BCB-E6B2-8F9B-F4E3-51452881A352}"/>
              </a:ext>
            </a:extLst>
          </p:cNvPr>
          <p:cNvSpPr/>
          <p:nvPr/>
        </p:nvSpPr>
        <p:spPr>
          <a:xfrm>
            <a:off x="3511550" y="2537194"/>
            <a:ext cx="2070100" cy="68182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VPLS Manager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C32108C-AE0A-E178-8858-041201B281A9}"/>
              </a:ext>
            </a:extLst>
          </p:cNvPr>
          <p:cNvSpPr/>
          <p:nvPr/>
        </p:nvSpPr>
        <p:spPr>
          <a:xfrm>
            <a:off x="4125256" y="1656269"/>
            <a:ext cx="857250" cy="46638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VPLS Config Manager</a:t>
            </a:r>
            <a:endParaRPr lang="en-DE" sz="1100" dirty="0">
              <a:solidFill>
                <a:schemeClr val="tx1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97F57E4A-F304-AE46-3518-80C2946C0E79}"/>
              </a:ext>
            </a:extLst>
          </p:cNvPr>
          <p:cNvSpPr/>
          <p:nvPr/>
        </p:nvSpPr>
        <p:spPr>
          <a:xfrm>
            <a:off x="3761443" y="2435564"/>
            <a:ext cx="1570313" cy="203200"/>
          </a:xfrm>
          <a:prstGeom prst="roundRect">
            <a:avLst/>
          </a:prstGeom>
          <a:solidFill>
            <a:srgbClr val="99CCFF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VPLS</a:t>
            </a:r>
            <a:endParaRPr lang="en-DE" sz="1100" dirty="0">
              <a:solidFill>
                <a:schemeClr val="tx1"/>
              </a:solidFill>
            </a:endParaRPr>
          </a:p>
        </p:txBody>
      </p:sp>
      <p:sp>
        <p:nvSpPr>
          <p:cNvPr id="14" name="Rectangle: Top Corners Snipped 13">
            <a:extLst>
              <a:ext uri="{FF2B5EF4-FFF2-40B4-BE49-F238E27FC236}">
                <a16:creationId xmlns:a16="http://schemas.microsoft.com/office/drawing/2014/main" id="{0EFB13D4-C094-ADF7-0860-2AB40369878D}"/>
              </a:ext>
            </a:extLst>
          </p:cNvPr>
          <p:cNvSpPr/>
          <p:nvPr/>
        </p:nvSpPr>
        <p:spPr>
          <a:xfrm>
            <a:off x="3701475" y="884630"/>
            <a:ext cx="777875" cy="361950"/>
          </a:xfrm>
          <a:prstGeom prst="snip2Same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</a:rPr>
              <a:t>ONOS CLI</a:t>
            </a:r>
            <a:endParaRPr lang="en-DE" sz="1050" dirty="0">
              <a:solidFill>
                <a:schemeClr val="tx1"/>
              </a:solidFill>
            </a:endParaRPr>
          </a:p>
        </p:txBody>
      </p:sp>
      <p:sp>
        <p:nvSpPr>
          <p:cNvPr id="17" name="Rectangle: Top Corners Snipped 16">
            <a:extLst>
              <a:ext uri="{FF2B5EF4-FFF2-40B4-BE49-F238E27FC236}">
                <a16:creationId xmlns:a16="http://schemas.microsoft.com/office/drawing/2014/main" id="{6D7A6298-9C45-C615-5649-427AFC203045}"/>
              </a:ext>
            </a:extLst>
          </p:cNvPr>
          <p:cNvSpPr/>
          <p:nvPr/>
        </p:nvSpPr>
        <p:spPr>
          <a:xfrm>
            <a:off x="4619982" y="884630"/>
            <a:ext cx="777875" cy="361950"/>
          </a:xfrm>
          <a:prstGeom prst="snip2Same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</a:rPr>
              <a:t>REST API</a:t>
            </a:r>
            <a:endParaRPr lang="en-DE" sz="1050" dirty="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F841E99-9EB3-A7EF-6C7C-2DCC2035E3DC}"/>
              </a:ext>
            </a:extLst>
          </p:cNvPr>
          <p:cNvSpPr/>
          <p:nvPr/>
        </p:nvSpPr>
        <p:spPr>
          <a:xfrm>
            <a:off x="7054850" y="3714352"/>
            <a:ext cx="2070100" cy="5969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VPLS Neighbour Handler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707548E-369C-13DC-BF0B-D04545A08C58}"/>
              </a:ext>
            </a:extLst>
          </p:cNvPr>
          <p:cNvSpPr/>
          <p:nvPr/>
        </p:nvSpPr>
        <p:spPr>
          <a:xfrm>
            <a:off x="4258330" y="3728616"/>
            <a:ext cx="2070100" cy="5969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VPLS Operation Manager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5EF3C14-660F-93DC-E4A5-3AD1FDA45300}"/>
              </a:ext>
            </a:extLst>
          </p:cNvPr>
          <p:cNvSpPr/>
          <p:nvPr/>
        </p:nvSpPr>
        <p:spPr>
          <a:xfrm>
            <a:off x="3511550" y="4994359"/>
            <a:ext cx="2070100" cy="5969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istributed VPLS Store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B347749D-4AEE-81E2-B4D1-83A4D6447BF0}"/>
              </a:ext>
            </a:extLst>
          </p:cNvPr>
          <p:cNvSpPr/>
          <p:nvPr/>
        </p:nvSpPr>
        <p:spPr>
          <a:xfrm>
            <a:off x="3761443" y="4892759"/>
            <a:ext cx="1570314" cy="203200"/>
          </a:xfrm>
          <a:prstGeom prst="roundRect">
            <a:avLst/>
          </a:prstGeom>
          <a:solidFill>
            <a:srgbClr val="99CCFF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VPLS Store</a:t>
            </a:r>
            <a:endParaRPr lang="en-DE" sz="1100" dirty="0">
              <a:solidFill>
                <a:schemeClr val="tx1"/>
              </a:solidFill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05A2F58F-78B7-D0A3-E6D6-A5A728A177DD}"/>
              </a:ext>
            </a:extLst>
          </p:cNvPr>
          <p:cNvSpPr/>
          <p:nvPr/>
        </p:nvSpPr>
        <p:spPr>
          <a:xfrm>
            <a:off x="4508223" y="3612752"/>
            <a:ext cx="1570314" cy="203200"/>
          </a:xfrm>
          <a:prstGeom prst="roundRect">
            <a:avLst/>
          </a:prstGeom>
          <a:solidFill>
            <a:srgbClr val="99CCFF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VPLS Operation Service</a:t>
            </a:r>
            <a:endParaRPr lang="en-DE" sz="1100" dirty="0">
              <a:solidFill>
                <a:schemeClr val="tx1"/>
              </a:solidFill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C555046-2503-838E-A064-BC8D4E471FB8}"/>
              </a:ext>
            </a:extLst>
          </p:cNvPr>
          <p:cNvSpPr/>
          <p:nvPr/>
        </p:nvSpPr>
        <p:spPr>
          <a:xfrm>
            <a:off x="4258330" y="2991928"/>
            <a:ext cx="1289793" cy="186956"/>
          </a:xfrm>
          <a:prstGeom prst="roundRect">
            <a:avLst/>
          </a:prstGeom>
          <a:solidFill>
            <a:srgbClr val="99CCFF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</a:rPr>
              <a:t>VPLS Store delegate</a:t>
            </a:r>
            <a:endParaRPr lang="en-DE" sz="1050" dirty="0">
              <a:solidFill>
                <a:schemeClr val="tx1"/>
              </a:solidFill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EE4C2B29-81E5-4E4C-2084-79D2C5874FA4}"/>
              </a:ext>
            </a:extLst>
          </p:cNvPr>
          <p:cNvCxnSpPr>
            <a:cxnSpLocks/>
            <a:stCxn id="22" idx="2"/>
          </p:cNvCxnSpPr>
          <p:nvPr/>
        </p:nvCxnSpPr>
        <p:spPr>
          <a:xfrm flipH="1">
            <a:off x="4903226" y="3178884"/>
            <a:ext cx="1" cy="440616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F5182F55-EAB3-741D-D96B-97322A97E6A4}"/>
              </a:ext>
            </a:extLst>
          </p:cNvPr>
          <p:cNvCxnSpPr>
            <a:cxnSpLocks/>
          </p:cNvCxnSpPr>
          <p:nvPr/>
        </p:nvCxnSpPr>
        <p:spPr>
          <a:xfrm>
            <a:off x="4903226" y="4325516"/>
            <a:ext cx="0" cy="56724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161C6CBA-835F-ED7D-E79F-F6E9CED3884E}"/>
              </a:ext>
            </a:extLst>
          </p:cNvPr>
          <p:cNvCxnSpPr>
            <a:cxnSpLocks/>
          </p:cNvCxnSpPr>
          <p:nvPr/>
        </p:nvCxnSpPr>
        <p:spPr>
          <a:xfrm>
            <a:off x="4007876" y="3219022"/>
            <a:ext cx="0" cy="1673737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nector: Elbow 66">
            <a:extLst>
              <a:ext uri="{FF2B5EF4-FFF2-40B4-BE49-F238E27FC236}">
                <a16:creationId xmlns:a16="http://schemas.microsoft.com/office/drawing/2014/main" id="{E2EB5188-EE40-2245-8424-DBB583388C02}"/>
              </a:ext>
            </a:extLst>
          </p:cNvPr>
          <p:cNvCxnSpPr>
            <a:cxnSpLocks/>
            <a:endCxn id="22" idx="1"/>
          </p:cNvCxnSpPr>
          <p:nvPr/>
        </p:nvCxnSpPr>
        <p:spPr>
          <a:xfrm rot="5400000" flipH="1" flipV="1">
            <a:off x="2510239" y="3561142"/>
            <a:ext cx="2223827" cy="1272356"/>
          </a:xfrm>
          <a:prstGeom prst="bentConnector2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Box 88">
            <a:extLst>
              <a:ext uri="{FF2B5EF4-FFF2-40B4-BE49-F238E27FC236}">
                <a16:creationId xmlns:a16="http://schemas.microsoft.com/office/drawing/2014/main" id="{CB08907D-0126-11F0-52AA-9DC09A2817B5}"/>
              </a:ext>
            </a:extLst>
          </p:cNvPr>
          <p:cNvSpPr txBox="1"/>
          <p:nvPr/>
        </p:nvSpPr>
        <p:spPr>
          <a:xfrm>
            <a:off x="4863188" y="3285401"/>
            <a:ext cx="107273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VPLS Operation</a:t>
            </a:r>
            <a:endParaRPr lang="en-DE" sz="1100" dirty="0"/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1E1BD4CD-E3CD-FEC0-19CF-38EF157F4483}"/>
              </a:ext>
            </a:extLst>
          </p:cNvPr>
          <p:cNvSpPr txBox="1"/>
          <p:nvPr/>
        </p:nvSpPr>
        <p:spPr>
          <a:xfrm>
            <a:off x="4873587" y="4325661"/>
            <a:ext cx="12314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Update VPLS state</a:t>
            </a:r>
            <a:endParaRPr lang="en-DE" sz="1100" dirty="0"/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BB69B8DF-DB56-D86D-5366-9A507D4E647F}"/>
              </a:ext>
            </a:extLst>
          </p:cNvPr>
          <p:cNvSpPr txBox="1"/>
          <p:nvPr/>
        </p:nvSpPr>
        <p:spPr>
          <a:xfrm>
            <a:off x="5976652" y="4684205"/>
            <a:ext cx="155523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Query VPLS information</a:t>
            </a:r>
            <a:endParaRPr lang="en-DE" sz="1100" dirty="0"/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5E2D4AFD-7203-6141-62B5-DC152EE753FD}"/>
              </a:ext>
            </a:extLst>
          </p:cNvPr>
          <p:cNvSpPr txBox="1"/>
          <p:nvPr/>
        </p:nvSpPr>
        <p:spPr>
          <a:xfrm>
            <a:off x="3408085" y="3626878"/>
            <a:ext cx="652743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Add</a:t>
            </a:r>
          </a:p>
          <a:p>
            <a:r>
              <a:rPr lang="en-US" sz="1100" dirty="0"/>
              <a:t>Remove</a:t>
            </a:r>
          </a:p>
          <a:p>
            <a:r>
              <a:rPr lang="en-US" sz="1100" dirty="0"/>
              <a:t>Update</a:t>
            </a:r>
          </a:p>
          <a:p>
            <a:r>
              <a:rPr lang="en-US" sz="1100" dirty="0"/>
              <a:t>VPLS</a:t>
            </a:r>
            <a:endParaRPr lang="en-DE" sz="1100" dirty="0"/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C195AEA9-CE13-9020-3060-0902685F644D}"/>
              </a:ext>
            </a:extLst>
          </p:cNvPr>
          <p:cNvSpPr txBox="1"/>
          <p:nvPr/>
        </p:nvSpPr>
        <p:spPr>
          <a:xfrm>
            <a:off x="2482531" y="3867456"/>
            <a:ext cx="521297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VPLS</a:t>
            </a:r>
          </a:p>
          <a:p>
            <a:r>
              <a:rPr lang="en-US" sz="1100" dirty="0"/>
              <a:t>Store </a:t>
            </a:r>
          </a:p>
          <a:p>
            <a:r>
              <a:rPr lang="en-US" sz="1100" dirty="0"/>
              <a:t>Event</a:t>
            </a:r>
            <a:endParaRPr lang="en-DE" sz="1100" dirty="0"/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F0B68984-961E-1EF1-2012-9B4A70333619}"/>
              </a:ext>
            </a:extLst>
          </p:cNvPr>
          <p:cNvSpPr txBox="1"/>
          <p:nvPr/>
        </p:nvSpPr>
        <p:spPr>
          <a:xfrm>
            <a:off x="4508223" y="2115827"/>
            <a:ext cx="126669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VPLS Config Events</a:t>
            </a:r>
            <a:endParaRPr lang="en-DE" sz="1100" dirty="0"/>
          </a:p>
        </p:txBody>
      </p: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203EC15B-65C3-9755-ABA7-CEF19F580812}"/>
              </a:ext>
            </a:extLst>
          </p:cNvPr>
          <p:cNvCxnSpPr>
            <a:cxnSpLocks/>
          </p:cNvCxnSpPr>
          <p:nvPr/>
        </p:nvCxnSpPr>
        <p:spPr>
          <a:xfrm>
            <a:off x="4553881" y="2127419"/>
            <a:ext cx="0" cy="308145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Connector: Elbow 97">
            <a:extLst>
              <a:ext uri="{FF2B5EF4-FFF2-40B4-BE49-F238E27FC236}">
                <a16:creationId xmlns:a16="http://schemas.microsoft.com/office/drawing/2014/main" id="{FBE7BD58-3753-0225-9A6E-2F386DC1E8EE}"/>
              </a:ext>
            </a:extLst>
          </p:cNvPr>
          <p:cNvCxnSpPr>
            <a:cxnSpLocks/>
            <a:stCxn id="17" idx="1"/>
          </p:cNvCxnSpPr>
          <p:nvPr/>
        </p:nvCxnSpPr>
        <p:spPr>
          <a:xfrm rot="5400000">
            <a:off x="4631361" y="1289125"/>
            <a:ext cx="420104" cy="335014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Connector: Elbow 103">
            <a:extLst>
              <a:ext uri="{FF2B5EF4-FFF2-40B4-BE49-F238E27FC236}">
                <a16:creationId xmlns:a16="http://schemas.microsoft.com/office/drawing/2014/main" id="{1CADDEBB-8878-2C8F-34F2-4A24EF0536F4}"/>
              </a:ext>
            </a:extLst>
          </p:cNvPr>
          <p:cNvCxnSpPr>
            <a:cxnSpLocks/>
            <a:stCxn id="14" idx="1"/>
          </p:cNvCxnSpPr>
          <p:nvPr/>
        </p:nvCxnSpPr>
        <p:spPr>
          <a:xfrm rot="16200000" flipH="1">
            <a:off x="4051446" y="1285546"/>
            <a:ext cx="420103" cy="342169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CF35CCD6-FAA3-765A-224D-900A05941818}"/>
              </a:ext>
            </a:extLst>
          </p:cNvPr>
          <p:cNvCxnSpPr>
            <a:cxnSpLocks/>
          </p:cNvCxnSpPr>
          <p:nvPr/>
        </p:nvCxnSpPr>
        <p:spPr>
          <a:xfrm>
            <a:off x="2985974" y="5309233"/>
            <a:ext cx="52557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Arrow Connector 119">
            <a:extLst>
              <a:ext uri="{FF2B5EF4-FFF2-40B4-BE49-F238E27FC236}">
                <a16:creationId xmlns:a16="http://schemas.microsoft.com/office/drawing/2014/main" id="{001685D7-9862-1742-1A9D-675B4D4B1521}"/>
              </a:ext>
            </a:extLst>
          </p:cNvPr>
          <p:cNvCxnSpPr>
            <a:cxnSpLocks/>
          </p:cNvCxnSpPr>
          <p:nvPr/>
        </p:nvCxnSpPr>
        <p:spPr>
          <a:xfrm>
            <a:off x="5154481" y="4709163"/>
            <a:ext cx="0" cy="183596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12D7D767-11E5-A802-7512-A83D3DB3D291}"/>
              </a:ext>
            </a:extLst>
          </p:cNvPr>
          <p:cNvCxnSpPr>
            <a:cxnSpLocks/>
          </p:cNvCxnSpPr>
          <p:nvPr/>
        </p:nvCxnSpPr>
        <p:spPr>
          <a:xfrm flipV="1">
            <a:off x="5154481" y="4707606"/>
            <a:ext cx="2936528" cy="250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5FA52513-5D91-5ADF-75AB-23264EDCB03D}"/>
              </a:ext>
            </a:extLst>
          </p:cNvPr>
          <p:cNvCxnSpPr>
            <a:cxnSpLocks/>
          </p:cNvCxnSpPr>
          <p:nvPr/>
        </p:nvCxnSpPr>
        <p:spPr>
          <a:xfrm>
            <a:off x="8091009" y="4311252"/>
            <a:ext cx="0" cy="39791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1654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DEB038E-F903-90E5-ED1B-12C3A680E0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23520" y="561575"/>
            <a:ext cx="7944959" cy="5734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60164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44DC955-AA62-C845-716D-637C5FE0F1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60911" y="475838"/>
            <a:ext cx="7906853" cy="590632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0C9B9EC-F653-0CE0-5F0E-DC89D5F1DB2D}"/>
              </a:ext>
            </a:extLst>
          </p:cNvPr>
          <p:cNvSpPr txBox="1"/>
          <p:nvPr/>
        </p:nvSpPr>
        <p:spPr>
          <a:xfrm>
            <a:off x="1847328" y="558542"/>
            <a:ext cx="2031197" cy="461665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rgbClr val="1A294B"/>
                </a:solidFill>
              </a:rPr>
              <a:t>add-test-flows</a:t>
            </a:r>
            <a:endParaRPr lang="en-DE" sz="2400" b="1" dirty="0">
              <a:solidFill>
                <a:srgbClr val="1A294B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64F1984-C45F-A300-0445-02B61F0B0218}"/>
              </a:ext>
            </a:extLst>
          </p:cNvPr>
          <p:cNvSpPr txBox="1"/>
          <p:nvPr/>
        </p:nvSpPr>
        <p:spPr>
          <a:xfrm>
            <a:off x="2637841" y="1419103"/>
            <a:ext cx="2258054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rgbClr val="1A294B"/>
                </a:solidFill>
              </a:rPr>
              <a:t>onos:add-test-flows</a:t>
            </a:r>
            <a:endParaRPr lang="en-DE" sz="2000" dirty="0">
              <a:solidFill>
                <a:srgbClr val="1A294B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96064BE-98CA-88F2-9797-F6DA1858E230}"/>
              </a:ext>
            </a:extLst>
          </p:cNvPr>
          <p:cNvSpPr txBox="1"/>
          <p:nvPr/>
        </p:nvSpPr>
        <p:spPr>
          <a:xfrm>
            <a:off x="2637841" y="2425041"/>
            <a:ext cx="6101478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rgbClr val="1A294B"/>
                </a:solidFill>
              </a:rPr>
              <a:t>onos:add-test-flows [options] flowPerDevice numOfRuns</a:t>
            </a:r>
            <a:endParaRPr lang="en-DE" sz="2000" dirty="0">
              <a:solidFill>
                <a:srgbClr val="1A29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65722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A0E024E-4BE4-06D4-DA58-2442B1F151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3348" y="276625"/>
            <a:ext cx="4317557" cy="630475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A13F8C4-4310-FE35-AFDC-74D0922059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50834" y="3778182"/>
            <a:ext cx="3480525" cy="277329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FDCEC5D-80A1-0FA5-C7B9-F9DC68DDA15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44835"/>
          <a:stretch/>
        </p:blipFill>
        <p:spPr>
          <a:xfrm>
            <a:off x="8350129" y="3778182"/>
            <a:ext cx="2814737" cy="166920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12B7149-A162-493B-A71A-FF68C8CF7A7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75982" y="5164830"/>
            <a:ext cx="1538060" cy="31422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E4F44F6-95BB-5338-C21E-30EEB2342C3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74210" y="5447383"/>
            <a:ext cx="2203543" cy="1037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56734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BDDF9E4-A957-0F57-0ED2-E3E3BAFEA6DE}"/>
              </a:ext>
            </a:extLst>
          </p:cNvPr>
          <p:cNvSpPr/>
          <p:nvPr/>
        </p:nvSpPr>
        <p:spPr>
          <a:xfrm>
            <a:off x="2635623" y="3765178"/>
            <a:ext cx="1214077" cy="645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ONOS-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1B69E-F06A-288C-E56E-0BC5E529DC08}"/>
              </a:ext>
            </a:extLst>
          </p:cNvPr>
          <p:cNvSpPr/>
          <p:nvPr/>
        </p:nvSpPr>
        <p:spPr>
          <a:xfrm>
            <a:off x="7161522" y="3765178"/>
            <a:ext cx="1214077" cy="645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ONOS-3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2FD9820-862B-DD44-E376-379EF461C310}"/>
              </a:ext>
            </a:extLst>
          </p:cNvPr>
          <p:cNvSpPr/>
          <p:nvPr/>
        </p:nvSpPr>
        <p:spPr>
          <a:xfrm>
            <a:off x="4898573" y="3765178"/>
            <a:ext cx="1214077" cy="645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ONOS-2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5" name="Rectangle: Top Corners Snipped 4">
            <a:extLst>
              <a:ext uri="{FF2B5EF4-FFF2-40B4-BE49-F238E27FC236}">
                <a16:creationId xmlns:a16="http://schemas.microsoft.com/office/drawing/2014/main" id="{1A77C9B3-D262-D9A4-7156-18320F80199E}"/>
              </a:ext>
            </a:extLst>
          </p:cNvPr>
          <p:cNvSpPr/>
          <p:nvPr/>
        </p:nvSpPr>
        <p:spPr>
          <a:xfrm>
            <a:off x="2635622" y="1423467"/>
            <a:ext cx="1214077" cy="645457"/>
          </a:xfrm>
          <a:prstGeom prst="snip2Same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Atomix-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6" name="Rectangle: Top Corners Snipped 5">
            <a:extLst>
              <a:ext uri="{FF2B5EF4-FFF2-40B4-BE49-F238E27FC236}">
                <a16:creationId xmlns:a16="http://schemas.microsoft.com/office/drawing/2014/main" id="{34778122-1D3F-F78E-B68B-3DC4CD41397D}"/>
              </a:ext>
            </a:extLst>
          </p:cNvPr>
          <p:cNvSpPr/>
          <p:nvPr/>
        </p:nvSpPr>
        <p:spPr>
          <a:xfrm>
            <a:off x="7161522" y="1423467"/>
            <a:ext cx="1214077" cy="645457"/>
          </a:xfrm>
          <a:prstGeom prst="snip2Same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Atomix-3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7" name="Rectangle: Top Corners Snipped 6">
            <a:extLst>
              <a:ext uri="{FF2B5EF4-FFF2-40B4-BE49-F238E27FC236}">
                <a16:creationId xmlns:a16="http://schemas.microsoft.com/office/drawing/2014/main" id="{B32C7B2C-CD10-C247-522A-4E15381FEEA3}"/>
              </a:ext>
            </a:extLst>
          </p:cNvPr>
          <p:cNvSpPr/>
          <p:nvPr/>
        </p:nvSpPr>
        <p:spPr>
          <a:xfrm>
            <a:off x="4898572" y="1423467"/>
            <a:ext cx="1214077" cy="645457"/>
          </a:xfrm>
          <a:prstGeom prst="snip2Same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Atomix-2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DCCE81A-9DDC-49AF-A94D-2E1125F999F6}"/>
              </a:ext>
            </a:extLst>
          </p:cNvPr>
          <p:cNvCxnSpPr>
            <a:cxnSpLocks/>
            <a:stCxn id="2" idx="0"/>
            <a:endCxn id="7" idx="1"/>
          </p:cNvCxnSpPr>
          <p:nvPr/>
        </p:nvCxnSpPr>
        <p:spPr>
          <a:xfrm flipV="1">
            <a:off x="3242662" y="2068924"/>
            <a:ext cx="2262949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A364A38-FFFA-7468-DE56-367B8240E0E1}"/>
              </a:ext>
            </a:extLst>
          </p:cNvPr>
          <p:cNvCxnSpPr>
            <a:cxnSpLocks/>
            <a:stCxn id="2" idx="0"/>
            <a:endCxn id="5" idx="1"/>
          </p:cNvCxnSpPr>
          <p:nvPr/>
        </p:nvCxnSpPr>
        <p:spPr>
          <a:xfrm flipH="1" flipV="1">
            <a:off x="3242661" y="2068924"/>
            <a:ext cx="1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9D0C894-45B2-4619-ADB3-CA9E82C1481C}"/>
              </a:ext>
            </a:extLst>
          </p:cNvPr>
          <p:cNvCxnSpPr>
            <a:cxnSpLocks/>
            <a:stCxn id="2" idx="0"/>
            <a:endCxn id="6" idx="1"/>
          </p:cNvCxnSpPr>
          <p:nvPr/>
        </p:nvCxnSpPr>
        <p:spPr>
          <a:xfrm flipV="1">
            <a:off x="3242662" y="2068924"/>
            <a:ext cx="4525899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644F5AD-1A61-35AB-F7FF-220C061CCC6A}"/>
              </a:ext>
            </a:extLst>
          </p:cNvPr>
          <p:cNvCxnSpPr>
            <a:cxnSpLocks/>
          </p:cNvCxnSpPr>
          <p:nvPr/>
        </p:nvCxnSpPr>
        <p:spPr>
          <a:xfrm flipH="1" flipV="1">
            <a:off x="7751905" y="2068924"/>
            <a:ext cx="1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2C451AF-F572-303E-F068-7CD2C32141DB}"/>
              </a:ext>
            </a:extLst>
          </p:cNvPr>
          <p:cNvCxnSpPr>
            <a:cxnSpLocks/>
          </p:cNvCxnSpPr>
          <p:nvPr/>
        </p:nvCxnSpPr>
        <p:spPr>
          <a:xfrm flipH="1" flipV="1">
            <a:off x="5505609" y="2068924"/>
            <a:ext cx="1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2F05076F-6614-9892-11A7-9E8BB60F9742}"/>
              </a:ext>
            </a:extLst>
          </p:cNvPr>
          <p:cNvCxnSpPr>
            <a:cxnSpLocks/>
            <a:stCxn id="4" idx="0"/>
            <a:endCxn id="5" idx="1"/>
          </p:cNvCxnSpPr>
          <p:nvPr/>
        </p:nvCxnSpPr>
        <p:spPr>
          <a:xfrm flipH="1" flipV="1">
            <a:off x="3242661" y="2068924"/>
            <a:ext cx="2262951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5458872F-ECBB-704E-E8E7-AB5F57F5203F}"/>
              </a:ext>
            </a:extLst>
          </p:cNvPr>
          <p:cNvCxnSpPr>
            <a:cxnSpLocks/>
            <a:stCxn id="3" idx="0"/>
            <a:endCxn id="5" idx="1"/>
          </p:cNvCxnSpPr>
          <p:nvPr/>
        </p:nvCxnSpPr>
        <p:spPr>
          <a:xfrm flipH="1" flipV="1">
            <a:off x="3242661" y="2068924"/>
            <a:ext cx="4525900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5A66A5D-F041-FF9B-BF5E-72F433B2C915}"/>
              </a:ext>
            </a:extLst>
          </p:cNvPr>
          <p:cNvCxnSpPr>
            <a:cxnSpLocks/>
            <a:stCxn id="3" idx="0"/>
            <a:endCxn id="7" idx="1"/>
          </p:cNvCxnSpPr>
          <p:nvPr/>
        </p:nvCxnSpPr>
        <p:spPr>
          <a:xfrm flipH="1" flipV="1">
            <a:off x="5505611" y="2068924"/>
            <a:ext cx="2262950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32DCDD4-EDF9-D23B-5AE3-AF9F2DD333F2}"/>
              </a:ext>
            </a:extLst>
          </p:cNvPr>
          <p:cNvCxnSpPr>
            <a:cxnSpLocks/>
            <a:stCxn id="4" idx="0"/>
            <a:endCxn id="6" idx="1"/>
          </p:cNvCxnSpPr>
          <p:nvPr/>
        </p:nvCxnSpPr>
        <p:spPr>
          <a:xfrm flipV="1">
            <a:off x="5505612" y="2068924"/>
            <a:ext cx="2262949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CD5C8028-DB2A-43FD-51E7-4B32705CFD9F}"/>
              </a:ext>
            </a:extLst>
          </p:cNvPr>
          <p:cNvCxnSpPr>
            <a:cxnSpLocks/>
            <a:stCxn id="7" idx="2"/>
            <a:endCxn id="5" idx="0"/>
          </p:cNvCxnSpPr>
          <p:nvPr/>
        </p:nvCxnSpPr>
        <p:spPr>
          <a:xfrm flipH="1">
            <a:off x="3849699" y="1746196"/>
            <a:ext cx="1048873" cy="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1AEC80C-622F-3935-204B-CE4CC6B70D5F}"/>
              </a:ext>
            </a:extLst>
          </p:cNvPr>
          <p:cNvCxnSpPr>
            <a:cxnSpLocks/>
          </p:cNvCxnSpPr>
          <p:nvPr/>
        </p:nvCxnSpPr>
        <p:spPr>
          <a:xfrm flipH="1">
            <a:off x="6112649" y="1754519"/>
            <a:ext cx="1048873" cy="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id="{FE1D5D26-67C4-0F8D-7585-871AA5CD329A}"/>
              </a:ext>
            </a:extLst>
          </p:cNvPr>
          <p:cNvSpPr txBox="1"/>
          <p:nvPr/>
        </p:nvSpPr>
        <p:spPr>
          <a:xfrm>
            <a:off x="2817703" y="1123604"/>
            <a:ext cx="8595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172.17.0.2</a:t>
            </a:r>
            <a:endParaRPr lang="en-DE" sz="1200" b="1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DA41AC85-DBB6-B65D-3DFA-B9FCED9C7F1D}"/>
              </a:ext>
            </a:extLst>
          </p:cNvPr>
          <p:cNvSpPr txBox="1"/>
          <p:nvPr/>
        </p:nvSpPr>
        <p:spPr>
          <a:xfrm>
            <a:off x="5080652" y="1123603"/>
            <a:ext cx="8595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172.17.0.3</a:t>
            </a:r>
            <a:endParaRPr lang="en-DE" sz="1200" b="1" dirty="0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B0457BDB-9AAC-F316-D92E-E5C2F565BB55}"/>
              </a:ext>
            </a:extLst>
          </p:cNvPr>
          <p:cNvSpPr txBox="1"/>
          <p:nvPr/>
        </p:nvSpPr>
        <p:spPr>
          <a:xfrm>
            <a:off x="7326948" y="1123602"/>
            <a:ext cx="8595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172.17.0.4</a:t>
            </a:r>
            <a:endParaRPr lang="en-DE" sz="1200" b="1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306A4A7-36DB-B5FC-F923-A4486871BF25}"/>
              </a:ext>
            </a:extLst>
          </p:cNvPr>
          <p:cNvSpPr txBox="1"/>
          <p:nvPr/>
        </p:nvSpPr>
        <p:spPr>
          <a:xfrm>
            <a:off x="2817702" y="4411749"/>
            <a:ext cx="8595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172.17.0.5</a:t>
            </a:r>
            <a:endParaRPr lang="en-DE" sz="1200" b="1" dirty="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B4DCF041-589A-9DA3-CAC7-A71FF4185706}"/>
              </a:ext>
            </a:extLst>
          </p:cNvPr>
          <p:cNvSpPr txBox="1"/>
          <p:nvPr/>
        </p:nvSpPr>
        <p:spPr>
          <a:xfrm>
            <a:off x="5080651" y="4411749"/>
            <a:ext cx="8595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172.17.0.6</a:t>
            </a:r>
            <a:endParaRPr lang="en-DE" sz="1200" b="1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E0C5DFEC-6438-9796-80E7-DE1F6802A4DA}"/>
              </a:ext>
            </a:extLst>
          </p:cNvPr>
          <p:cNvSpPr txBox="1"/>
          <p:nvPr/>
        </p:nvSpPr>
        <p:spPr>
          <a:xfrm>
            <a:off x="7343603" y="4410635"/>
            <a:ext cx="8595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172.17.0.7</a:t>
            </a:r>
            <a:endParaRPr lang="en-DE" sz="1200" b="1" dirty="0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E01A14A4-48E8-8519-9286-F9C204F5EF65}"/>
              </a:ext>
            </a:extLst>
          </p:cNvPr>
          <p:cNvSpPr txBox="1"/>
          <p:nvPr/>
        </p:nvSpPr>
        <p:spPr>
          <a:xfrm>
            <a:off x="2204701" y="2711945"/>
            <a:ext cx="10213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Raft protocol</a:t>
            </a:r>
            <a:endParaRPr lang="en-DE" sz="1200" b="1" dirty="0"/>
          </a:p>
        </p:txBody>
      </p:sp>
    </p:spTree>
    <p:extLst>
      <p:ext uri="{BB962C8B-B14F-4D97-AF65-F5344CB8AC3E}">
        <p14:creationId xmlns:p14="http://schemas.microsoft.com/office/powerpoint/2010/main" val="339951174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EF47E0B4-DE6B-4494-3A72-7C3BF2D10D0F}"/>
              </a:ext>
            </a:extLst>
          </p:cNvPr>
          <p:cNvSpPr/>
          <p:nvPr/>
        </p:nvSpPr>
        <p:spPr>
          <a:xfrm>
            <a:off x="1526650" y="1463236"/>
            <a:ext cx="9477955" cy="263963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3746AAF-3CB1-A691-A030-2702A5A416D3}"/>
              </a:ext>
            </a:extLst>
          </p:cNvPr>
          <p:cNvSpPr/>
          <p:nvPr/>
        </p:nvSpPr>
        <p:spPr>
          <a:xfrm>
            <a:off x="2296953" y="1971921"/>
            <a:ext cx="1089331" cy="184470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low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0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5140983C-E2C9-B9C7-740F-0F10FD074455}"/>
              </a:ext>
            </a:extLst>
          </p:cNvPr>
          <p:cNvCxnSpPr>
            <a:cxnSpLocks/>
          </p:cNvCxnSpPr>
          <p:nvPr/>
        </p:nvCxnSpPr>
        <p:spPr>
          <a:xfrm>
            <a:off x="787179" y="3562281"/>
            <a:ext cx="150977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D55E054C-8927-544B-282C-35635B5711DB}"/>
              </a:ext>
            </a:extLst>
          </p:cNvPr>
          <p:cNvCxnSpPr>
            <a:cxnSpLocks/>
          </p:cNvCxnSpPr>
          <p:nvPr/>
        </p:nvCxnSpPr>
        <p:spPr>
          <a:xfrm>
            <a:off x="3386284" y="3562281"/>
            <a:ext cx="150977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7AB97C71-D52C-A3A8-BFF1-25AB9A5F2C09}"/>
              </a:ext>
            </a:extLst>
          </p:cNvPr>
          <p:cNvSpPr txBox="1"/>
          <p:nvPr/>
        </p:nvSpPr>
        <p:spPr>
          <a:xfrm>
            <a:off x="888250" y="3598207"/>
            <a:ext cx="12904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gress Por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A0742E4-C0A1-DF7C-F534-414580889B23}"/>
              </a:ext>
            </a:extLst>
          </p:cNvPr>
          <p:cNvSpPr txBox="1"/>
          <p:nvPr/>
        </p:nvSpPr>
        <p:spPr>
          <a:xfrm>
            <a:off x="10531149" y="3570329"/>
            <a:ext cx="12237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gress Por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B220551-762C-DFA4-DA97-0CC266E4CA7F}"/>
              </a:ext>
            </a:extLst>
          </p:cNvPr>
          <p:cNvSpPr/>
          <p:nvPr/>
        </p:nvSpPr>
        <p:spPr>
          <a:xfrm>
            <a:off x="4896058" y="1971921"/>
            <a:ext cx="1089331" cy="184470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low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1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E20A015-6B53-776E-32B6-FFF9FD1E6890}"/>
              </a:ext>
            </a:extLst>
          </p:cNvPr>
          <p:cNvCxnSpPr>
            <a:cxnSpLocks/>
          </p:cNvCxnSpPr>
          <p:nvPr/>
        </p:nvCxnSpPr>
        <p:spPr>
          <a:xfrm>
            <a:off x="5985389" y="3570329"/>
            <a:ext cx="43131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82635BE0-E1A2-9170-543A-D96535D68FC2}"/>
              </a:ext>
            </a:extLst>
          </p:cNvPr>
          <p:cNvSpPr/>
          <p:nvPr/>
        </p:nvSpPr>
        <p:spPr>
          <a:xfrm>
            <a:off x="7394092" y="1971920"/>
            <a:ext cx="1089331" cy="184470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low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n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D2FF6C0D-44CD-F53A-4EA1-0C80F8C0FBFB}"/>
              </a:ext>
            </a:extLst>
          </p:cNvPr>
          <p:cNvCxnSpPr>
            <a:cxnSpLocks/>
          </p:cNvCxnSpPr>
          <p:nvPr/>
        </p:nvCxnSpPr>
        <p:spPr>
          <a:xfrm>
            <a:off x="6962778" y="3562281"/>
            <a:ext cx="43131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B06FDE2D-FEF2-1C74-F43F-EAEB5BC7CCD3}"/>
              </a:ext>
            </a:extLst>
          </p:cNvPr>
          <p:cNvCxnSpPr>
            <a:cxnSpLocks/>
          </p:cNvCxnSpPr>
          <p:nvPr/>
        </p:nvCxnSpPr>
        <p:spPr>
          <a:xfrm>
            <a:off x="10357901" y="3555752"/>
            <a:ext cx="150977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59F21169-46A5-2CDB-AA21-99F3C0ED2BBF}"/>
              </a:ext>
            </a:extLst>
          </p:cNvPr>
          <p:cNvSpPr/>
          <p:nvPr/>
        </p:nvSpPr>
        <p:spPr>
          <a:xfrm>
            <a:off x="9268570" y="2665471"/>
            <a:ext cx="1089331" cy="114920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Execute Action Set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DB158599-ABCD-FB4A-D9E1-CA46A4D59B7A}"/>
              </a:ext>
            </a:extLst>
          </p:cNvPr>
          <p:cNvCxnSpPr>
            <a:cxnSpLocks/>
          </p:cNvCxnSpPr>
          <p:nvPr/>
        </p:nvCxnSpPr>
        <p:spPr>
          <a:xfrm>
            <a:off x="8483423" y="3555752"/>
            <a:ext cx="78514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4FEEADE4-895C-F671-5FB6-D02CBD5924A8}"/>
              </a:ext>
            </a:extLst>
          </p:cNvPr>
          <p:cNvSpPr txBox="1"/>
          <p:nvPr/>
        </p:nvSpPr>
        <p:spPr>
          <a:xfrm>
            <a:off x="766904" y="2837584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acket</a:t>
            </a:r>
          </a:p>
          <a:p>
            <a:pPr algn="ctr"/>
            <a:r>
              <a:rPr lang="en-US" dirty="0"/>
              <a:t>In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62F3545-4C0F-731F-0917-1B31FE514FB3}"/>
              </a:ext>
            </a:extLst>
          </p:cNvPr>
          <p:cNvSpPr txBox="1"/>
          <p:nvPr/>
        </p:nvSpPr>
        <p:spPr>
          <a:xfrm>
            <a:off x="10949253" y="2783149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acket</a:t>
            </a:r>
          </a:p>
          <a:p>
            <a:pPr algn="ctr"/>
            <a:r>
              <a:rPr lang="en-US" dirty="0"/>
              <a:t>Out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7DEE9C3-6230-1C6A-3E44-61A07E63B756}"/>
              </a:ext>
            </a:extLst>
          </p:cNvPr>
          <p:cNvSpPr txBox="1"/>
          <p:nvPr/>
        </p:nvSpPr>
        <p:spPr>
          <a:xfrm>
            <a:off x="9198066" y="1550390"/>
            <a:ext cx="16634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Open vSwitch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9C41834-1838-28EF-4EAB-195D0FC7CA2F}"/>
              </a:ext>
            </a:extLst>
          </p:cNvPr>
          <p:cNvSpPr txBox="1"/>
          <p:nvPr/>
        </p:nvSpPr>
        <p:spPr>
          <a:xfrm>
            <a:off x="6272718" y="3222305"/>
            <a:ext cx="8256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/>
              <a:t>. . .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FC0F109-1300-44EF-31BA-383F6B49AD15}"/>
              </a:ext>
            </a:extLst>
          </p:cNvPr>
          <p:cNvSpPr txBox="1"/>
          <p:nvPr/>
        </p:nvSpPr>
        <p:spPr>
          <a:xfrm>
            <a:off x="3977636" y="2885090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EFA3716-7D0B-8B8E-67D7-F60120C5D760}"/>
              </a:ext>
            </a:extLst>
          </p:cNvPr>
          <p:cNvSpPr txBox="1"/>
          <p:nvPr/>
        </p:nvSpPr>
        <p:spPr>
          <a:xfrm>
            <a:off x="6530757" y="2894271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FFA44E6-E247-642B-874B-2B103E0E6FFD}"/>
              </a:ext>
            </a:extLst>
          </p:cNvPr>
          <p:cNvSpPr txBox="1"/>
          <p:nvPr/>
        </p:nvSpPr>
        <p:spPr>
          <a:xfrm>
            <a:off x="8442872" y="2885090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5F9ABFD-07A2-D8FF-4C21-815A0A5846A9}"/>
              </a:ext>
            </a:extLst>
          </p:cNvPr>
          <p:cNvSpPr txBox="1"/>
          <p:nvPr/>
        </p:nvSpPr>
        <p:spPr>
          <a:xfrm>
            <a:off x="1437792" y="2885090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03ED567-3C9E-C235-5A67-30AFEAD7B475}"/>
              </a:ext>
            </a:extLst>
          </p:cNvPr>
          <p:cNvSpPr txBox="1"/>
          <p:nvPr/>
        </p:nvSpPr>
        <p:spPr>
          <a:xfrm>
            <a:off x="3208875" y="1692112"/>
            <a:ext cx="173444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b="1" dirty="0"/>
              <a:t>Match Fields:</a:t>
            </a:r>
          </a:p>
          <a:p>
            <a:pPr algn="r"/>
            <a:r>
              <a:rPr lang="en-US" sz="1600" dirty="0"/>
              <a:t>Ingress port +</a:t>
            </a:r>
          </a:p>
          <a:p>
            <a:pPr algn="r"/>
            <a:r>
              <a:rPr lang="en-US" sz="1600" dirty="0"/>
              <a:t>Packet header +</a:t>
            </a:r>
          </a:p>
          <a:p>
            <a:pPr algn="r"/>
            <a:r>
              <a:rPr lang="en-US" sz="1600" dirty="0"/>
              <a:t>metadata</a:t>
            </a:r>
          </a:p>
        </p:txBody>
      </p:sp>
    </p:spTree>
    <p:extLst>
      <p:ext uri="{BB962C8B-B14F-4D97-AF65-F5344CB8AC3E}">
        <p14:creationId xmlns:p14="http://schemas.microsoft.com/office/powerpoint/2010/main" val="332291520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5F906E03-438E-DE7C-59A4-F3E307AB45C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55" t="10843" r="531"/>
          <a:stretch/>
        </p:blipFill>
        <p:spPr>
          <a:xfrm>
            <a:off x="1902467" y="395577"/>
            <a:ext cx="8457014" cy="6066845"/>
          </a:xfrm>
          <a:prstGeom prst="rect">
            <a:avLst/>
          </a:prstGeom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A4E70A34-6008-5F14-6413-20EDA39DF933}"/>
              </a:ext>
            </a:extLst>
          </p:cNvPr>
          <p:cNvCxnSpPr/>
          <p:nvPr/>
        </p:nvCxnSpPr>
        <p:spPr>
          <a:xfrm flipH="1" flipV="1">
            <a:off x="3220278" y="1630017"/>
            <a:ext cx="604299" cy="644056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933EB422-D3E8-0F71-7717-416CBD626E53}"/>
              </a:ext>
            </a:extLst>
          </p:cNvPr>
          <p:cNvCxnSpPr>
            <a:cxnSpLocks/>
          </p:cNvCxnSpPr>
          <p:nvPr/>
        </p:nvCxnSpPr>
        <p:spPr>
          <a:xfrm flipV="1">
            <a:off x="5793850" y="629478"/>
            <a:ext cx="0" cy="817659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EA0D4BCD-881D-3051-7A5C-1CCFE88FDD92}"/>
              </a:ext>
            </a:extLst>
          </p:cNvPr>
          <p:cNvCxnSpPr>
            <a:cxnSpLocks/>
          </p:cNvCxnSpPr>
          <p:nvPr/>
        </p:nvCxnSpPr>
        <p:spPr>
          <a:xfrm flipV="1">
            <a:off x="7404782" y="2369489"/>
            <a:ext cx="824818" cy="640078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A81539F-4BBF-1663-6FAE-FAC0EA926A78}"/>
              </a:ext>
            </a:extLst>
          </p:cNvPr>
          <p:cNvCxnSpPr>
            <a:cxnSpLocks/>
          </p:cNvCxnSpPr>
          <p:nvPr/>
        </p:nvCxnSpPr>
        <p:spPr>
          <a:xfrm flipH="1">
            <a:off x="3929270" y="5255812"/>
            <a:ext cx="690438" cy="430696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D934C1F0-0599-9588-BF1F-75FBF59D6462}"/>
              </a:ext>
            </a:extLst>
          </p:cNvPr>
          <p:cNvCxnSpPr>
            <a:cxnSpLocks/>
          </p:cNvCxnSpPr>
          <p:nvPr/>
        </p:nvCxnSpPr>
        <p:spPr>
          <a:xfrm flipH="1" flipV="1">
            <a:off x="2044810" y="716279"/>
            <a:ext cx="690972" cy="2192573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EB0F5594-6AEA-6052-A82D-9DD0A6DC2EBA}"/>
              </a:ext>
            </a:extLst>
          </p:cNvPr>
          <p:cNvCxnSpPr>
            <a:cxnSpLocks/>
          </p:cNvCxnSpPr>
          <p:nvPr/>
        </p:nvCxnSpPr>
        <p:spPr>
          <a:xfrm flipV="1">
            <a:off x="9485906" y="629478"/>
            <a:ext cx="571970" cy="3338223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07519777-3303-DA67-0FBA-0ED5ABFD15DE}"/>
              </a:ext>
            </a:extLst>
          </p:cNvPr>
          <p:cNvSpPr txBox="1"/>
          <p:nvPr/>
        </p:nvSpPr>
        <p:spPr>
          <a:xfrm>
            <a:off x="5221097" y="1447137"/>
            <a:ext cx="11455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Masthead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9E2F8A7-B2B4-9F96-20B2-024896EE3069}"/>
              </a:ext>
            </a:extLst>
          </p:cNvPr>
          <p:cNvSpPr txBox="1"/>
          <p:nvPr/>
        </p:nvSpPr>
        <p:spPr>
          <a:xfrm>
            <a:off x="3524426" y="2264796"/>
            <a:ext cx="26225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ONOS Cluster Node Panel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C278016-A8C3-7585-2CC9-6B059AEF3BF4}"/>
              </a:ext>
            </a:extLst>
          </p:cNvPr>
          <p:cNvSpPr txBox="1"/>
          <p:nvPr/>
        </p:nvSpPr>
        <p:spPr>
          <a:xfrm>
            <a:off x="3920144" y="4886480"/>
            <a:ext cx="18151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Topology Toolbar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C56668E-5FF0-07B0-CEE6-2E3E1AC47790}"/>
              </a:ext>
            </a:extLst>
          </p:cNvPr>
          <p:cNvSpPr txBox="1"/>
          <p:nvPr/>
        </p:nvSpPr>
        <p:spPr>
          <a:xfrm>
            <a:off x="6247847" y="3009567"/>
            <a:ext cx="16784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Summary Panel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FED3F50-12AD-084B-E03D-B7433198DDAE}"/>
              </a:ext>
            </a:extLst>
          </p:cNvPr>
          <p:cNvSpPr txBox="1"/>
          <p:nvPr/>
        </p:nvSpPr>
        <p:spPr>
          <a:xfrm>
            <a:off x="2006457" y="2908852"/>
            <a:ext cx="25380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Navigation Menu Button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C8239DD-036D-1FD0-9D99-04D47331E3B1}"/>
              </a:ext>
            </a:extLst>
          </p:cNvPr>
          <p:cNvSpPr txBox="1"/>
          <p:nvPr/>
        </p:nvSpPr>
        <p:spPr>
          <a:xfrm>
            <a:off x="8615053" y="3967701"/>
            <a:ext cx="12634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Username/</a:t>
            </a:r>
          </a:p>
          <a:p>
            <a:r>
              <a:rPr lang="en-US" b="1" dirty="0">
                <a:solidFill>
                  <a:srgbClr val="FF0000"/>
                </a:solidFill>
              </a:rPr>
              <a:t>Logout link</a:t>
            </a:r>
            <a:endParaRPr lang="en-DE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268843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0271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6C985005-9D1D-4229-2495-1D89BE15AA22}"/>
              </a:ext>
            </a:extLst>
          </p:cNvPr>
          <p:cNvSpPr/>
          <p:nvPr/>
        </p:nvSpPr>
        <p:spPr>
          <a:xfrm>
            <a:off x="2382715" y="888023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&amp; Servic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Plan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C531273-1BE2-98B3-B565-DB06743B5A5B}"/>
              </a:ext>
            </a:extLst>
          </p:cNvPr>
          <p:cNvSpPr/>
          <p:nvPr/>
        </p:nvSpPr>
        <p:spPr>
          <a:xfrm>
            <a:off x="2382715" y="2917581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 Plan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09A65EB-0940-0E9F-FB4C-F882271A02F4}"/>
              </a:ext>
            </a:extLst>
          </p:cNvPr>
          <p:cNvSpPr/>
          <p:nvPr/>
        </p:nvSpPr>
        <p:spPr>
          <a:xfrm>
            <a:off x="2382715" y="4947139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Infrastructur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Data Plane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19A9261-B891-C9B5-DD45-B4A649760F6A}"/>
              </a:ext>
            </a:extLst>
          </p:cNvPr>
          <p:cNvCxnSpPr>
            <a:stCxn id="6" idx="2"/>
            <a:endCxn id="7" idx="0"/>
          </p:cNvCxnSpPr>
          <p:nvPr/>
        </p:nvCxnSpPr>
        <p:spPr>
          <a:xfrm>
            <a:off x="6189784" y="3867151"/>
            <a:ext cx="0" cy="1079988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0DE886F7-7F89-FE59-A3D7-97F8EBC5007A}"/>
              </a:ext>
            </a:extLst>
          </p:cNvPr>
          <p:cNvCxnSpPr/>
          <p:nvPr/>
        </p:nvCxnSpPr>
        <p:spPr>
          <a:xfrm>
            <a:off x="6116515" y="1837593"/>
            <a:ext cx="0" cy="1079988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afik 23">
            <a:extLst>
              <a:ext uri="{FF2B5EF4-FFF2-40B4-BE49-F238E27FC236}">
                <a16:creationId xmlns:a16="http://schemas.microsoft.com/office/drawing/2014/main" id="{08AAE9C9-007F-FB00-9B92-A4B37449F69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623770" y="3188013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4" name="Grafik 23">
              <a:extLst>
                <a:ext uri="{FF2B5EF4-FFF2-40B4-BE49-F238E27FC236}">
                  <a16:creationId xmlns:a16="http://schemas.microsoft.com/office/drawing/2014/main" id="{DF80250A-732F-E99E-B716-C039125961C2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5" name="Grafik 23">
              <a:extLst>
                <a:ext uri="{FF2B5EF4-FFF2-40B4-BE49-F238E27FC236}">
                  <a16:creationId xmlns:a16="http://schemas.microsoft.com/office/drawing/2014/main" id="{6974DDC5-EDB2-5A96-0F06-F89543E65AC4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6" name="Grafik 23">
              <a:extLst>
                <a:ext uri="{FF2B5EF4-FFF2-40B4-BE49-F238E27FC236}">
                  <a16:creationId xmlns:a16="http://schemas.microsoft.com/office/drawing/2014/main" id="{7989B6A3-AD97-15E2-F4AD-AF5F60D73D17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7" name="Grafik 23">
              <a:extLst>
                <a:ext uri="{FF2B5EF4-FFF2-40B4-BE49-F238E27FC236}">
                  <a16:creationId xmlns:a16="http://schemas.microsoft.com/office/drawing/2014/main" id="{6A917DA7-4162-C6FD-DC3E-CC9EA0B4C90D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8" name="Grafik 23">
              <a:extLst>
                <a:ext uri="{FF2B5EF4-FFF2-40B4-BE49-F238E27FC236}">
                  <a16:creationId xmlns:a16="http://schemas.microsoft.com/office/drawing/2014/main" id="{DD8A2928-2A28-101F-0ADA-49A39EC7E306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9" name="Grafik 23">
              <a:extLst>
                <a:ext uri="{FF2B5EF4-FFF2-40B4-BE49-F238E27FC236}">
                  <a16:creationId xmlns:a16="http://schemas.microsoft.com/office/drawing/2014/main" id="{0F293A8A-BCA8-898A-1A7B-C92E4CF2A3C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20" name="Grafik 23">
                <a:extLst>
                  <a:ext uri="{FF2B5EF4-FFF2-40B4-BE49-F238E27FC236}">
                    <a16:creationId xmlns:a16="http://schemas.microsoft.com/office/drawing/2014/main" id="{2997FC76-4B4F-6E5B-8B95-7C13A556F053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1" name="Grafik 23">
                <a:extLst>
                  <a:ext uri="{FF2B5EF4-FFF2-40B4-BE49-F238E27FC236}">
                    <a16:creationId xmlns:a16="http://schemas.microsoft.com/office/drawing/2014/main" id="{052BDCB7-4F21-C6E0-9CC8-9E536020F511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2" name="Grafik 23">
                <a:extLst>
                  <a:ext uri="{FF2B5EF4-FFF2-40B4-BE49-F238E27FC236}">
                    <a16:creationId xmlns:a16="http://schemas.microsoft.com/office/drawing/2014/main" id="{20841E43-7F27-FDBE-27DE-203DA72F4090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3" name="Grafik 23">
                <a:extLst>
                  <a:ext uri="{FF2B5EF4-FFF2-40B4-BE49-F238E27FC236}">
                    <a16:creationId xmlns:a16="http://schemas.microsoft.com/office/drawing/2014/main" id="{DCDC4410-12AE-F1E0-18F1-4C37204C9714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24" name="Grafik 17">
            <a:extLst>
              <a:ext uri="{FF2B5EF4-FFF2-40B4-BE49-F238E27FC236}">
                <a16:creationId xmlns:a16="http://schemas.microsoft.com/office/drawing/2014/main" id="{91F497C2-295D-3577-DF9E-E65919D1E25D}"/>
              </a:ext>
            </a:extLst>
          </p:cNvPr>
          <p:cNvGrpSpPr/>
          <p:nvPr/>
        </p:nvGrpSpPr>
        <p:grpSpPr bwMode="gray">
          <a:xfrm>
            <a:off x="6416901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25" name="Grafik 17">
              <a:extLst>
                <a:ext uri="{FF2B5EF4-FFF2-40B4-BE49-F238E27FC236}">
                  <a16:creationId xmlns:a16="http://schemas.microsoft.com/office/drawing/2014/main" id="{E926856D-C7FF-B9A0-CE12-1E2E2E9AC755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Grafik 17">
              <a:extLst>
                <a:ext uri="{FF2B5EF4-FFF2-40B4-BE49-F238E27FC236}">
                  <a16:creationId xmlns:a16="http://schemas.microsoft.com/office/drawing/2014/main" id="{3A1CB773-F39C-A91D-9094-6DD94795A80F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27" name="Grafik 17">
              <a:extLst>
                <a:ext uri="{FF2B5EF4-FFF2-40B4-BE49-F238E27FC236}">
                  <a16:creationId xmlns:a16="http://schemas.microsoft.com/office/drawing/2014/main" id="{A19705EB-725C-259A-C26D-69C70CC8177A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28" name="Grafik 17">
                <a:extLst>
                  <a:ext uri="{FF2B5EF4-FFF2-40B4-BE49-F238E27FC236}">
                    <a16:creationId xmlns:a16="http://schemas.microsoft.com/office/drawing/2014/main" id="{F61C6D14-826E-4FD0-24FD-0F54D20B55E5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41" name="Grafik 17">
                  <a:extLst>
                    <a:ext uri="{FF2B5EF4-FFF2-40B4-BE49-F238E27FC236}">
                      <a16:creationId xmlns:a16="http://schemas.microsoft.com/office/drawing/2014/main" id="{1D991740-7C7F-48FA-8D2D-95F33E854DC4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" name="Grafik 17">
                  <a:extLst>
                    <a:ext uri="{FF2B5EF4-FFF2-40B4-BE49-F238E27FC236}">
                      <a16:creationId xmlns:a16="http://schemas.microsoft.com/office/drawing/2014/main" id="{8935046B-3945-8A04-C58A-FE37ED8D1EB2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" name="Grafik 17">
                  <a:extLst>
                    <a:ext uri="{FF2B5EF4-FFF2-40B4-BE49-F238E27FC236}">
                      <a16:creationId xmlns:a16="http://schemas.microsoft.com/office/drawing/2014/main" id="{56555DB8-6DEC-D136-485C-3C0E94B467F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9" name="Grafik 17">
                <a:extLst>
                  <a:ext uri="{FF2B5EF4-FFF2-40B4-BE49-F238E27FC236}">
                    <a16:creationId xmlns:a16="http://schemas.microsoft.com/office/drawing/2014/main" id="{12630CE5-4825-2D09-B76B-5A799B906430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38" name="Grafik 17">
                  <a:extLst>
                    <a:ext uri="{FF2B5EF4-FFF2-40B4-BE49-F238E27FC236}">
                      <a16:creationId xmlns:a16="http://schemas.microsoft.com/office/drawing/2014/main" id="{8C6F64A3-88C1-A6FA-A175-28CE8C77A47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" name="Grafik 17">
                  <a:extLst>
                    <a:ext uri="{FF2B5EF4-FFF2-40B4-BE49-F238E27FC236}">
                      <a16:creationId xmlns:a16="http://schemas.microsoft.com/office/drawing/2014/main" id="{B1F681C9-4348-2933-6CAD-ED1CDC3A8A67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" name="Grafik 17">
                  <a:extLst>
                    <a:ext uri="{FF2B5EF4-FFF2-40B4-BE49-F238E27FC236}">
                      <a16:creationId xmlns:a16="http://schemas.microsoft.com/office/drawing/2014/main" id="{2C86DC6B-54A3-C5CE-CCE2-031C0B8A7E6D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0" name="Grafik 17">
                <a:extLst>
                  <a:ext uri="{FF2B5EF4-FFF2-40B4-BE49-F238E27FC236}">
                    <a16:creationId xmlns:a16="http://schemas.microsoft.com/office/drawing/2014/main" id="{EA642BEA-D54F-665C-7773-2FA8B07FC44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35" name="Grafik 17">
                  <a:extLst>
                    <a:ext uri="{FF2B5EF4-FFF2-40B4-BE49-F238E27FC236}">
                      <a16:creationId xmlns:a16="http://schemas.microsoft.com/office/drawing/2014/main" id="{D9478077-56BD-B38A-5B83-06AF88FA0E08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" name="Grafik 17">
                  <a:extLst>
                    <a:ext uri="{FF2B5EF4-FFF2-40B4-BE49-F238E27FC236}">
                      <a16:creationId xmlns:a16="http://schemas.microsoft.com/office/drawing/2014/main" id="{4BB4E390-B919-6455-BBC8-92D8A4716073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7" name="Grafik 17">
                  <a:extLst>
                    <a:ext uri="{FF2B5EF4-FFF2-40B4-BE49-F238E27FC236}">
                      <a16:creationId xmlns:a16="http://schemas.microsoft.com/office/drawing/2014/main" id="{E0E17E8D-8C97-C72D-A223-E61176ED5821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1" name="Grafik 17">
                <a:extLst>
                  <a:ext uri="{FF2B5EF4-FFF2-40B4-BE49-F238E27FC236}">
                    <a16:creationId xmlns:a16="http://schemas.microsoft.com/office/drawing/2014/main" id="{8536039E-222F-9AB6-449E-A58B6A2849C5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32" name="Grafik 17">
                  <a:extLst>
                    <a:ext uri="{FF2B5EF4-FFF2-40B4-BE49-F238E27FC236}">
                      <a16:creationId xmlns:a16="http://schemas.microsoft.com/office/drawing/2014/main" id="{402B9A9E-06CB-E0E4-DEE6-671F32F2CE7A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" name="Grafik 17">
                  <a:extLst>
                    <a:ext uri="{FF2B5EF4-FFF2-40B4-BE49-F238E27FC236}">
                      <a16:creationId xmlns:a16="http://schemas.microsoft.com/office/drawing/2014/main" id="{7031E986-B867-ACAE-6484-10439C25AACC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" name="Grafik 17">
                  <a:extLst>
                    <a:ext uri="{FF2B5EF4-FFF2-40B4-BE49-F238E27FC236}">
                      <a16:creationId xmlns:a16="http://schemas.microsoft.com/office/drawing/2014/main" id="{A7540C61-0C98-9C5C-080E-1F3FAD59B79E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44" name="Grafik 27">
            <a:extLst>
              <a:ext uri="{FF2B5EF4-FFF2-40B4-BE49-F238E27FC236}">
                <a16:creationId xmlns:a16="http://schemas.microsoft.com/office/drawing/2014/main" id="{0B136381-15EE-FA4F-F53F-6A1778AD4915}"/>
              </a:ext>
            </a:extLst>
          </p:cNvPr>
          <p:cNvGrpSpPr/>
          <p:nvPr/>
        </p:nvGrpSpPr>
        <p:grpSpPr bwMode="gray">
          <a:xfrm>
            <a:off x="7097103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45" name="Grafik 27">
              <a:extLst>
                <a:ext uri="{FF2B5EF4-FFF2-40B4-BE49-F238E27FC236}">
                  <a16:creationId xmlns:a16="http://schemas.microsoft.com/office/drawing/2014/main" id="{5DDFE77A-984E-441C-3D71-76CA0E2C21D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80" name="Grafik 27">
                <a:extLst>
                  <a:ext uri="{FF2B5EF4-FFF2-40B4-BE49-F238E27FC236}">
                    <a16:creationId xmlns:a16="http://schemas.microsoft.com/office/drawing/2014/main" id="{BE4058C6-2FA6-0182-0C7D-AEB588D3334C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1" name="Grafik 27">
                <a:extLst>
                  <a:ext uri="{FF2B5EF4-FFF2-40B4-BE49-F238E27FC236}">
                    <a16:creationId xmlns:a16="http://schemas.microsoft.com/office/drawing/2014/main" id="{F4517E31-46DF-E7FF-25CF-FB4EE10B93AA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2" name="Grafik 27">
                <a:extLst>
                  <a:ext uri="{FF2B5EF4-FFF2-40B4-BE49-F238E27FC236}">
                    <a16:creationId xmlns:a16="http://schemas.microsoft.com/office/drawing/2014/main" id="{93ECCBC4-F481-111A-4C9C-8FE49FFE65F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3" name="Grafik 27">
                <a:extLst>
                  <a:ext uri="{FF2B5EF4-FFF2-40B4-BE49-F238E27FC236}">
                    <a16:creationId xmlns:a16="http://schemas.microsoft.com/office/drawing/2014/main" id="{20B35378-22D8-E9B2-7D3E-BB854A545A0A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4" name="Grafik 27">
                <a:extLst>
                  <a:ext uri="{FF2B5EF4-FFF2-40B4-BE49-F238E27FC236}">
                    <a16:creationId xmlns:a16="http://schemas.microsoft.com/office/drawing/2014/main" id="{BB331447-8134-6AFD-7F03-F59803E09658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6" name="Grafik 27">
              <a:extLst>
                <a:ext uri="{FF2B5EF4-FFF2-40B4-BE49-F238E27FC236}">
                  <a16:creationId xmlns:a16="http://schemas.microsoft.com/office/drawing/2014/main" id="{1A5803A2-A9AF-35B0-2CA9-05B591576B1F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47" name="Grafik 27">
                <a:extLst>
                  <a:ext uri="{FF2B5EF4-FFF2-40B4-BE49-F238E27FC236}">
                    <a16:creationId xmlns:a16="http://schemas.microsoft.com/office/drawing/2014/main" id="{2C7442F9-0DCC-843A-54D3-902C7950CF88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77" name="Grafik 27">
                  <a:extLst>
                    <a:ext uri="{FF2B5EF4-FFF2-40B4-BE49-F238E27FC236}">
                      <a16:creationId xmlns:a16="http://schemas.microsoft.com/office/drawing/2014/main" id="{741A6A3C-FCFF-BB6E-CF6E-0F9AB82D45A8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8" name="Grafik 27">
                  <a:extLst>
                    <a:ext uri="{FF2B5EF4-FFF2-40B4-BE49-F238E27FC236}">
                      <a16:creationId xmlns:a16="http://schemas.microsoft.com/office/drawing/2014/main" id="{816E81B9-3D0D-1910-5E43-49B77B41DE69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9" name="Grafik 27">
                  <a:extLst>
                    <a:ext uri="{FF2B5EF4-FFF2-40B4-BE49-F238E27FC236}">
                      <a16:creationId xmlns:a16="http://schemas.microsoft.com/office/drawing/2014/main" id="{F69A7E17-3B6D-5B6E-FD93-B96E07C63545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8" name="Grafik 27">
                <a:extLst>
                  <a:ext uri="{FF2B5EF4-FFF2-40B4-BE49-F238E27FC236}">
                    <a16:creationId xmlns:a16="http://schemas.microsoft.com/office/drawing/2014/main" id="{94506FE5-0528-4A3C-7EFC-E7F53519967B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74" name="Grafik 27">
                  <a:extLst>
                    <a:ext uri="{FF2B5EF4-FFF2-40B4-BE49-F238E27FC236}">
                      <a16:creationId xmlns:a16="http://schemas.microsoft.com/office/drawing/2014/main" id="{6A0BE18F-EC47-F6AC-594F-58D61D651B97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5" name="Grafik 27">
                  <a:extLst>
                    <a:ext uri="{FF2B5EF4-FFF2-40B4-BE49-F238E27FC236}">
                      <a16:creationId xmlns:a16="http://schemas.microsoft.com/office/drawing/2014/main" id="{44799351-F611-BA24-4A4C-A94C846FE0AC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6" name="Grafik 27">
                  <a:extLst>
                    <a:ext uri="{FF2B5EF4-FFF2-40B4-BE49-F238E27FC236}">
                      <a16:creationId xmlns:a16="http://schemas.microsoft.com/office/drawing/2014/main" id="{04CB6BDC-82D3-799F-12F5-F344ABBD5EA9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9" name="Grafik 27">
                <a:extLst>
                  <a:ext uri="{FF2B5EF4-FFF2-40B4-BE49-F238E27FC236}">
                    <a16:creationId xmlns:a16="http://schemas.microsoft.com/office/drawing/2014/main" id="{82CBDA4E-BB9D-E928-B5D7-F6541D4AFAE7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71" name="Grafik 27">
                  <a:extLst>
                    <a:ext uri="{FF2B5EF4-FFF2-40B4-BE49-F238E27FC236}">
                      <a16:creationId xmlns:a16="http://schemas.microsoft.com/office/drawing/2014/main" id="{41795BD3-B8BB-D83F-766B-8E56711CAAE0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2" name="Grafik 27">
                  <a:extLst>
                    <a:ext uri="{FF2B5EF4-FFF2-40B4-BE49-F238E27FC236}">
                      <a16:creationId xmlns:a16="http://schemas.microsoft.com/office/drawing/2014/main" id="{DC9F2545-7A43-8BAD-7C36-3AFAA1FE2757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3" name="Grafik 27">
                  <a:extLst>
                    <a:ext uri="{FF2B5EF4-FFF2-40B4-BE49-F238E27FC236}">
                      <a16:creationId xmlns:a16="http://schemas.microsoft.com/office/drawing/2014/main" id="{9CBD5336-62AC-53A3-5205-89916AF430CE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0" name="Grafik 27">
                <a:extLst>
                  <a:ext uri="{FF2B5EF4-FFF2-40B4-BE49-F238E27FC236}">
                    <a16:creationId xmlns:a16="http://schemas.microsoft.com/office/drawing/2014/main" id="{8AC4BCAF-7826-0CA4-6FF9-50F020B87883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68" name="Grafik 27">
                  <a:extLst>
                    <a:ext uri="{FF2B5EF4-FFF2-40B4-BE49-F238E27FC236}">
                      <a16:creationId xmlns:a16="http://schemas.microsoft.com/office/drawing/2014/main" id="{3866B816-6D9B-4FC5-31D4-8B02BC434595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9" name="Grafik 27">
                  <a:extLst>
                    <a:ext uri="{FF2B5EF4-FFF2-40B4-BE49-F238E27FC236}">
                      <a16:creationId xmlns:a16="http://schemas.microsoft.com/office/drawing/2014/main" id="{0F270F81-42C1-D749-6BFD-A3E5339E5FDA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" name="Grafik 27">
                  <a:extLst>
                    <a:ext uri="{FF2B5EF4-FFF2-40B4-BE49-F238E27FC236}">
                      <a16:creationId xmlns:a16="http://schemas.microsoft.com/office/drawing/2014/main" id="{2F0550ED-DBE2-8330-1175-F44B24B34039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1" name="Grafik 27">
                <a:extLst>
                  <a:ext uri="{FF2B5EF4-FFF2-40B4-BE49-F238E27FC236}">
                    <a16:creationId xmlns:a16="http://schemas.microsoft.com/office/drawing/2014/main" id="{5F7343D2-896B-3A09-22D2-569B6392414C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65" name="Grafik 27">
                  <a:extLst>
                    <a:ext uri="{FF2B5EF4-FFF2-40B4-BE49-F238E27FC236}">
                      <a16:creationId xmlns:a16="http://schemas.microsoft.com/office/drawing/2014/main" id="{AB4B3DF0-1935-F1F9-AEAE-38B11BE84A6C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" name="Grafik 27">
                  <a:extLst>
                    <a:ext uri="{FF2B5EF4-FFF2-40B4-BE49-F238E27FC236}">
                      <a16:creationId xmlns:a16="http://schemas.microsoft.com/office/drawing/2014/main" id="{1359C3CE-2594-5438-5D16-D595B0AC44BF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7" name="Grafik 27">
                  <a:extLst>
                    <a:ext uri="{FF2B5EF4-FFF2-40B4-BE49-F238E27FC236}">
                      <a16:creationId xmlns:a16="http://schemas.microsoft.com/office/drawing/2014/main" id="{FC2EA51B-D9E1-C90C-529F-C900808F6930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" name="Grafik 27">
                <a:extLst>
                  <a:ext uri="{FF2B5EF4-FFF2-40B4-BE49-F238E27FC236}">
                    <a16:creationId xmlns:a16="http://schemas.microsoft.com/office/drawing/2014/main" id="{7EDC4270-A250-966F-5713-642BB5B9912D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62" name="Grafik 27">
                  <a:extLst>
                    <a:ext uri="{FF2B5EF4-FFF2-40B4-BE49-F238E27FC236}">
                      <a16:creationId xmlns:a16="http://schemas.microsoft.com/office/drawing/2014/main" id="{CD0337CF-206C-BFC7-2050-487DE44F75A8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3" name="Grafik 27">
                  <a:extLst>
                    <a:ext uri="{FF2B5EF4-FFF2-40B4-BE49-F238E27FC236}">
                      <a16:creationId xmlns:a16="http://schemas.microsoft.com/office/drawing/2014/main" id="{64972F7D-F6D4-4C0A-E78B-BC651874B8E1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4" name="Grafik 27">
                  <a:extLst>
                    <a:ext uri="{FF2B5EF4-FFF2-40B4-BE49-F238E27FC236}">
                      <a16:creationId xmlns:a16="http://schemas.microsoft.com/office/drawing/2014/main" id="{ADBA1691-E827-0461-66F2-AC56D221A8F5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3" name="Grafik 27">
                <a:extLst>
                  <a:ext uri="{FF2B5EF4-FFF2-40B4-BE49-F238E27FC236}">
                    <a16:creationId xmlns:a16="http://schemas.microsoft.com/office/drawing/2014/main" id="{4E2254E7-AFA7-05EF-8331-B4A68CC3F896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59" name="Grafik 27">
                  <a:extLst>
                    <a:ext uri="{FF2B5EF4-FFF2-40B4-BE49-F238E27FC236}">
                      <a16:creationId xmlns:a16="http://schemas.microsoft.com/office/drawing/2014/main" id="{4E989F93-CE9E-D648-1773-AE1A3C77AC18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0" name="Grafik 27">
                  <a:extLst>
                    <a:ext uri="{FF2B5EF4-FFF2-40B4-BE49-F238E27FC236}">
                      <a16:creationId xmlns:a16="http://schemas.microsoft.com/office/drawing/2014/main" id="{DB12202A-3E84-F0FB-90AF-5AF69E2FE206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1" name="Grafik 27">
                  <a:extLst>
                    <a:ext uri="{FF2B5EF4-FFF2-40B4-BE49-F238E27FC236}">
                      <a16:creationId xmlns:a16="http://schemas.microsoft.com/office/drawing/2014/main" id="{3F83DCE1-04A4-C6B6-04F4-A375314A19AD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4" name="Grafik 27">
                <a:extLst>
                  <a:ext uri="{FF2B5EF4-FFF2-40B4-BE49-F238E27FC236}">
                    <a16:creationId xmlns:a16="http://schemas.microsoft.com/office/drawing/2014/main" id="{53FE468E-F028-BAEB-6E5B-08E2E0D5B949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56" name="Grafik 27">
                  <a:extLst>
                    <a:ext uri="{FF2B5EF4-FFF2-40B4-BE49-F238E27FC236}">
                      <a16:creationId xmlns:a16="http://schemas.microsoft.com/office/drawing/2014/main" id="{FA7F7C13-726C-87DE-F8D9-B0611AA9AF83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7" name="Grafik 27">
                  <a:extLst>
                    <a:ext uri="{FF2B5EF4-FFF2-40B4-BE49-F238E27FC236}">
                      <a16:creationId xmlns:a16="http://schemas.microsoft.com/office/drawing/2014/main" id="{BD4E4C05-826E-04EF-BE70-3BC3F31E31F4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" name="Grafik 27">
                  <a:extLst>
                    <a:ext uri="{FF2B5EF4-FFF2-40B4-BE49-F238E27FC236}">
                      <a16:creationId xmlns:a16="http://schemas.microsoft.com/office/drawing/2014/main" id="{25BFED27-AE92-CF63-8647-9A73459EC300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55" name="Grafik 27">
                <a:extLst>
                  <a:ext uri="{FF2B5EF4-FFF2-40B4-BE49-F238E27FC236}">
                    <a16:creationId xmlns:a16="http://schemas.microsoft.com/office/drawing/2014/main" id="{DEF33DE6-A0D3-67F8-CEA0-3D03A30990A4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85" name="Grafik 17">
            <a:extLst>
              <a:ext uri="{FF2B5EF4-FFF2-40B4-BE49-F238E27FC236}">
                <a16:creationId xmlns:a16="http://schemas.microsoft.com/office/drawing/2014/main" id="{A91491D8-6639-07D5-227E-69C83D72F457}"/>
              </a:ext>
            </a:extLst>
          </p:cNvPr>
          <p:cNvGrpSpPr/>
          <p:nvPr/>
        </p:nvGrpSpPr>
        <p:grpSpPr bwMode="gray">
          <a:xfrm>
            <a:off x="7777305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86" name="Grafik 17">
              <a:extLst>
                <a:ext uri="{FF2B5EF4-FFF2-40B4-BE49-F238E27FC236}">
                  <a16:creationId xmlns:a16="http://schemas.microsoft.com/office/drawing/2014/main" id="{780EFF5A-5B6A-818E-CB9F-33626E57A4FC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7" name="Grafik 17">
              <a:extLst>
                <a:ext uri="{FF2B5EF4-FFF2-40B4-BE49-F238E27FC236}">
                  <a16:creationId xmlns:a16="http://schemas.microsoft.com/office/drawing/2014/main" id="{B182D053-9896-E7F6-D935-CE1C5B1ED060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88" name="Grafik 17">
              <a:extLst>
                <a:ext uri="{FF2B5EF4-FFF2-40B4-BE49-F238E27FC236}">
                  <a16:creationId xmlns:a16="http://schemas.microsoft.com/office/drawing/2014/main" id="{5D1D717D-D745-03EC-2FF8-5F4F589334A3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89" name="Grafik 17">
                <a:extLst>
                  <a:ext uri="{FF2B5EF4-FFF2-40B4-BE49-F238E27FC236}">
                    <a16:creationId xmlns:a16="http://schemas.microsoft.com/office/drawing/2014/main" id="{7B98D2EA-1DC0-490F-6E7B-50782CEEEEF2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102" name="Grafik 17">
                  <a:extLst>
                    <a:ext uri="{FF2B5EF4-FFF2-40B4-BE49-F238E27FC236}">
                      <a16:creationId xmlns:a16="http://schemas.microsoft.com/office/drawing/2014/main" id="{13265262-FFDC-F804-127E-DAE8C450209C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3" name="Grafik 17">
                  <a:extLst>
                    <a:ext uri="{FF2B5EF4-FFF2-40B4-BE49-F238E27FC236}">
                      <a16:creationId xmlns:a16="http://schemas.microsoft.com/office/drawing/2014/main" id="{C121820F-B3CA-9B79-E783-FA667FA01C8A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4" name="Grafik 17">
                  <a:extLst>
                    <a:ext uri="{FF2B5EF4-FFF2-40B4-BE49-F238E27FC236}">
                      <a16:creationId xmlns:a16="http://schemas.microsoft.com/office/drawing/2014/main" id="{7F9AEDC7-DF34-B050-2441-E184E85D92A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0" name="Grafik 17">
                <a:extLst>
                  <a:ext uri="{FF2B5EF4-FFF2-40B4-BE49-F238E27FC236}">
                    <a16:creationId xmlns:a16="http://schemas.microsoft.com/office/drawing/2014/main" id="{1184461F-9044-1DA5-A70A-A0D2C4192C33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99" name="Grafik 17">
                  <a:extLst>
                    <a:ext uri="{FF2B5EF4-FFF2-40B4-BE49-F238E27FC236}">
                      <a16:creationId xmlns:a16="http://schemas.microsoft.com/office/drawing/2014/main" id="{7C00CA56-734E-7E76-CA1A-080908F3BEA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0" name="Grafik 17">
                  <a:extLst>
                    <a:ext uri="{FF2B5EF4-FFF2-40B4-BE49-F238E27FC236}">
                      <a16:creationId xmlns:a16="http://schemas.microsoft.com/office/drawing/2014/main" id="{51C13176-3A25-0BC3-7D12-47F24DA6EF89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1" name="Grafik 17">
                  <a:extLst>
                    <a:ext uri="{FF2B5EF4-FFF2-40B4-BE49-F238E27FC236}">
                      <a16:creationId xmlns:a16="http://schemas.microsoft.com/office/drawing/2014/main" id="{CA4E6830-ECA2-0437-3D3E-72E5B7E3F28A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1" name="Grafik 17">
                <a:extLst>
                  <a:ext uri="{FF2B5EF4-FFF2-40B4-BE49-F238E27FC236}">
                    <a16:creationId xmlns:a16="http://schemas.microsoft.com/office/drawing/2014/main" id="{DF8B37A6-9E15-AF44-1A71-BB30ED66FEA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96" name="Grafik 17">
                  <a:extLst>
                    <a:ext uri="{FF2B5EF4-FFF2-40B4-BE49-F238E27FC236}">
                      <a16:creationId xmlns:a16="http://schemas.microsoft.com/office/drawing/2014/main" id="{9C902AA8-FC79-B0DC-8A64-FD445E717E9D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7" name="Grafik 17">
                  <a:extLst>
                    <a:ext uri="{FF2B5EF4-FFF2-40B4-BE49-F238E27FC236}">
                      <a16:creationId xmlns:a16="http://schemas.microsoft.com/office/drawing/2014/main" id="{F411A9CB-4606-283B-7688-286E209DD3FD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8" name="Grafik 17">
                  <a:extLst>
                    <a:ext uri="{FF2B5EF4-FFF2-40B4-BE49-F238E27FC236}">
                      <a16:creationId xmlns:a16="http://schemas.microsoft.com/office/drawing/2014/main" id="{A10610E1-2D47-4399-90F9-B436524C5528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2" name="Grafik 17">
                <a:extLst>
                  <a:ext uri="{FF2B5EF4-FFF2-40B4-BE49-F238E27FC236}">
                    <a16:creationId xmlns:a16="http://schemas.microsoft.com/office/drawing/2014/main" id="{587A50F3-4841-C1A8-618E-F65BB570F1E1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93" name="Grafik 17">
                  <a:extLst>
                    <a:ext uri="{FF2B5EF4-FFF2-40B4-BE49-F238E27FC236}">
                      <a16:creationId xmlns:a16="http://schemas.microsoft.com/office/drawing/2014/main" id="{FA20C493-A5F5-0C44-45B0-EC50424A99B9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4" name="Grafik 17">
                  <a:extLst>
                    <a:ext uri="{FF2B5EF4-FFF2-40B4-BE49-F238E27FC236}">
                      <a16:creationId xmlns:a16="http://schemas.microsoft.com/office/drawing/2014/main" id="{E04A7F27-F745-D473-316B-0692B6DD86F1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5" name="Grafik 17">
                  <a:extLst>
                    <a:ext uri="{FF2B5EF4-FFF2-40B4-BE49-F238E27FC236}">
                      <a16:creationId xmlns:a16="http://schemas.microsoft.com/office/drawing/2014/main" id="{DCCBE77A-1F63-9D66-9707-B738844C741C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105" name="Grafik 27">
            <a:extLst>
              <a:ext uri="{FF2B5EF4-FFF2-40B4-BE49-F238E27FC236}">
                <a16:creationId xmlns:a16="http://schemas.microsoft.com/office/drawing/2014/main" id="{E15E9F64-27D1-2E12-D31E-691BB98A57C4}"/>
              </a:ext>
            </a:extLst>
          </p:cNvPr>
          <p:cNvGrpSpPr/>
          <p:nvPr/>
        </p:nvGrpSpPr>
        <p:grpSpPr bwMode="gray">
          <a:xfrm>
            <a:off x="8457507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106" name="Grafik 27">
              <a:extLst>
                <a:ext uri="{FF2B5EF4-FFF2-40B4-BE49-F238E27FC236}">
                  <a16:creationId xmlns:a16="http://schemas.microsoft.com/office/drawing/2014/main" id="{37F266FA-35A6-072E-3ED2-1F764834B11F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41" name="Grafik 27">
                <a:extLst>
                  <a:ext uri="{FF2B5EF4-FFF2-40B4-BE49-F238E27FC236}">
                    <a16:creationId xmlns:a16="http://schemas.microsoft.com/office/drawing/2014/main" id="{23B17ED1-4FEE-47AD-20E5-763EE58586A0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2" name="Grafik 27">
                <a:extLst>
                  <a:ext uri="{FF2B5EF4-FFF2-40B4-BE49-F238E27FC236}">
                    <a16:creationId xmlns:a16="http://schemas.microsoft.com/office/drawing/2014/main" id="{1E87F396-8105-0F96-E779-171EFA95925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3" name="Grafik 27">
                <a:extLst>
                  <a:ext uri="{FF2B5EF4-FFF2-40B4-BE49-F238E27FC236}">
                    <a16:creationId xmlns:a16="http://schemas.microsoft.com/office/drawing/2014/main" id="{D43663D8-3660-C3A6-7EF4-FC032B2094D5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4" name="Grafik 27">
                <a:extLst>
                  <a:ext uri="{FF2B5EF4-FFF2-40B4-BE49-F238E27FC236}">
                    <a16:creationId xmlns:a16="http://schemas.microsoft.com/office/drawing/2014/main" id="{F1E06C8A-86EB-24FA-7265-AD6B9CD180D3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5" name="Grafik 27">
                <a:extLst>
                  <a:ext uri="{FF2B5EF4-FFF2-40B4-BE49-F238E27FC236}">
                    <a16:creationId xmlns:a16="http://schemas.microsoft.com/office/drawing/2014/main" id="{740D66F0-7704-7D62-9E8D-0F5C8A40B09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7" name="Grafik 27">
              <a:extLst>
                <a:ext uri="{FF2B5EF4-FFF2-40B4-BE49-F238E27FC236}">
                  <a16:creationId xmlns:a16="http://schemas.microsoft.com/office/drawing/2014/main" id="{6FB821A9-7B2D-C558-36DD-E21A1B3C1D2F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108" name="Grafik 27">
                <a:extLst>
                  <a:ext uri="{FF2B5EF4-FFF2-40B4-BE49-F238E27FC236}">
                    <a16:creationId xmlns:a16="http://schemas.microsoft.com/office/drawing/2014/main" id="{C73ED232-0818-E3FF-5106-4051D80E4636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138" name="Grafik 27">
                  <a:extLst>
                    <a:ext uri="{FF2B5EF4-FFF2-40B4-BE49-F238E27FC236}">
                      <a16:creationId xmlns:a16="http://schemas.microsoft.com/office/drawing/2014/main" id="{79FF8A86-8112-CFB0-FDDF-E9D3293C1E79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9" name="Grafik 27">
                  <a:extLst>
                    <a:ext uri="{FF2B5EF4-FFF2-40B4-BE49-F238E27FC236}">
                      <a16:creationId xmlns:a16="http://schemas.microsoft.com/office/drawing/2014/main" id="{C800D16C-64E3-0C38-0022-E7EEACC37C07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40" name="Grafik 27">
                  <a:extLst>
                    <a:ext uri="{FF2B5EF4-FFF2-40B4-BE49-F238E27FC236}">
                      <a16:creationId xmlns:a16="http://schemas.microsoft.com/office/drawing/2014/main" id="{CFBE8C92-9DCB-13C9-EF1D-E69D5BA7904B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09" name="Grafik 27">
                <a:extLst>
                  <a:ext uri="{FF2B5EF4-FFF2-40B4-BE49-F238E27FC236}">
                    <a16:creationId xmlns:a16="http://schemas.microsoft.com/office/drawing/2014/main" id="{301577A8-3687-97E7-7EE9-EAC425A4BC7C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135" name="Grafik 27">
                  <a:extLst>
                    <a:ext uri="{FF2B5EF4-FFF2-40B4-BE49-F238E27FC236}">
                      <a16:creationId xmlns:a16="http://schemas.microsoft.com/office/drawing/2014/main" id="{CC7E54FC-3C79-B680-8545-0464509CBF30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6" name="Grafik 27">
                  <a:extLst>
                    <a:ext uri="{FF2B5EF4-FFF2-40B4-BE49-F238E27FC236}">
                      <a16:creationId xmlns:a16="http://schemas.microsoft.com/office/drawing/2014/main" id="{E8DBFF1C-EFED-DC31-E924-4922AEBBEAC4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7" name="Grafik 27">
                  <a:extLst>
                    <a:ext uri="{FF2B5EF4-FFF2-40B4-BE49-F238E27FC236}">
                      <a16:creationId xmlns:a16="http://schemas.microsoft.com/office/drawing/2014/main" id="{4AB9A176-AAC7-F4DA-E6C2-B0D4BB1EF2BD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0" name="Grafik 27">
                <a:extLst>
                  <a:ext uri="{FF2B5EF4-FFF2-40B4-BE49-F238E27FC236}">
                    <a16:creationId xmlns:a16="http://schemas.microsoft.com/office/drawing/2014/main" id="{B587CC79-1B03-7FED-ABE6-48A78B1A2828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132" name="Grafik 27">
                  <a:extLst>
                    <a:ext uri="{FF2B5EF4-FFF2-40B4-BE49-F238E27FC236}">
                      <a16:creationId xmlns:a16="http://schemas.microsoft.com/office/drawing/2014/main" id="{6E056C9A-3EEC-5341-CADA-40AF83E78D1B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3" name="Grafik 27">
                  <a:extLst>
                    <a:ext uri="{FF2B5EF4-FFF2-40B4-BE49-F238E27FC236}">
                      <a16:creationId xmlns:a16="http://schemas.microsoft.com/office/drawing/2014/main" id="{60035517-F79C-93D2-08A1-7000FBD786C3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4" name="Grafik 27">
                  <a:extLst>
                    <a:ext uri="{FF2B5EF4-FFF2-40B4-BE49-F238E27FC236}">
                      <a16:creationId xmlns:a16="http://schemas.microsoft.com/office/drawing/2014/main" id="{9F411201-A49F-B14A-FC76-4749D9CE2460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1" name="Grafik 27">
                <a:extLst>
                  <a:ext uri="{FF2B5EF4-FFF2-40B4-BE49-F238E27FC236}">
                    <a16:creationId xmlns:a16="http://schemas.microsoft.com/office/drawing/2014/main" id="{DE52058F-8A09-97EC-FCAB-6CD0C6E3779F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129" name="Grafik 27">
                  <a:extLst>
                    <a:ext uri="{FF2B5EF4-FFF2-40B4-BE49-F238E27FC236}">
                      <a16:creationId xmlns:a16="http://schemas.microsoft.com/office/drawing/2014/main" id="{1B4B30EA-70FC-F1B3-1007-D0A90C5A4D2A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0" name="Grafik 27">
                  <a:extLst>
                    <a:ext uri="{FF2B5EF4-FFF2-40B4-BE49-F238E27FC236}">
                      <a16:creationId xmlns:a16="http://schemas.microsoft.com/office/drawing/2014/main" id="{26FB956C-87A5-616A-CEFC-5AF5FBBD78B7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1" name="Grafik 27">
                  <a:extLst>
                    <a:ext uri="{FF2B5EF4-FFF2-40B4-BE49-F238E27FC236}">
                      <a16:creationId xmlns:a16="http://schemas.microsoft.com/office/drawing/2014/main" id="{12B6313E-962F-819F-9848-F4A7BDF65073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2" name="Grafik 27">
                <a:extLst>
                  <a:ext uri="{FF2B5EF4-FFF2-40B4-BE49-F238E27FC236}">
                    <a16:creationId xmlns:a16="http://schemas.microsoft.com/office/drawing/2014/main" id="{B38F4DCE-CF8F-0B47-80B6-823A25999C55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126" name="Grafik 27">
                  <a:extLst>
                    <a:ext uri="{FF2B5EF4-FFF2-40B4-BE49-F238E27FC236}">
                      <a16:creationId xmlns:a16="http://schemas.microsoft.com/office/drawing/2014/main" id="{8A14027B-24A8-61F7-4DFE-FAE2D2979105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7" name="Grafik 27">
                  <a:extLst>
                    <a:ext uri="{FF2B5EF4-FFF2-40B4-BE49-F238E27FC236}">
                      <a16:creationId xmlns:a16="http://schemas.microsoft.com/office/drawing/2014/main" id="{CA065266-1B8E-CB63-BBDB-323B0A9D52A4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8" name="Grafik 27">
                  <a:extLst>
                    <a:ext uri="{FF2B5EF4-FFF2-40B4-BE49-F238E27FC236}">
                      <a16:creationId xmlns:a16="http://schemas.microsoft.com/office/drawing/2014/main" id="{50BC0636-5219-B6A3-9159-24514ED6206C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3" name="Grafik 27">
                <a:extLst>
                  <a:ext uri="{FF2B5EF4-FFF2-40B4-BE49-F238E27FC236}">
                    <a16:creationId xmlns:a16="http://schemas.microsoft.com/office/drawing/2014/main" id="{BAAF1C4E-7AAB-BC17-E0F8-50529A83F610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123" name="Grafik 27">
                  <a:extLst>
                    <a:ext uri="{FF2B5EF4-FFF2-40B4-BE49-F238E27FC236}">
                      <a16:creationId xmlns:a16="http://schemas.microsoft.com/office/drawing/2014/main" id="{D410C7B2-48EF-F008-0866-36D7BC30ECEF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4" name="Grafik 27">
                  <a:extLst>
                    <a:ext uri="{FF2B5EF4-FFF2-40B4-BE49-F238E27FC236}">
                      <a16:creationId xmlns:a16="http://schemas.microsoft.com/office/drawing/2014/main" id="{4A3FE689-8837-7668-585D-76FB24D89860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5" name="Grafik 27">
                  <a:extLst>
                    <a:ext uri="{FF2B5EF4-FFF2-40B4-BE49-F238E27FC236}">
                      <a16:creationId xmlns:a16="http://schemas.microsoft.com/office/drawing/2014/main" id="{F6E98553-9A60-33CC-E96F-FDE1E09A4412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4" name="Grafik 27">
                <a:extLst>
                  <a:ext uri="{FF2B5EF4-FFF2-40B4-BE49-F238E27FC236}">
                    <a16:creationId xmlns:a16="http://schemas.microsoft.com/office/drawing/2014/main" id="{76602D4F-17C4-121B-00C1-16C558D2A586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120" name="Grafik 27">
                  <a:extLst>
                    <a:ext uri="{FF2B5EF4-FFF2-40B4-BE49-F238E27FC236}">
                      <a16:creationId xmlns:a16="http://schemas.microsoft.com/office/drawing/2014/main" id="{07AB64E2-07E5-CAFB-1173-91D45651EF8F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1" name="Grafik 27">
                  <a:extLst>
                    <a:ext uri="{FF2B5EF4-FFF2-40B4-BE49-F238E27FC236}">
                      <a16:creationId xmlns:a16="http://schemas.microsoft.com/office/drawing/2014/main" id="{C762833F-09A9-58AD-8E74-006E3695F283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2" name="Grafik 27">
                  <a:extLst>
                    <a:ext uri="{FF2B5EF4-FFF2-40B4-BE49-F238E27FC236}">
                      <a16:creationId xmlns:a16="http://schemas.microsoft.com/office/drawing/2014/main" id="{6FA3FDAB-6F3A-1CCC-59F7-A2A403733F00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5" name="Grafik 27">
                <a:extLst>
                  <a:ext uri="{FF2B5EF4-FFF2-40B4-BE49-F238E27FC236}">
                    <a16:creationId xmlns:a16="http://schemas.microsoft.com/office/drawing/2014/main" id="{5D9F761A-961E-1374-6004-DDB1A79510A6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117" name="Grafik 27">
                  <a:extLst>
                    <a:ext uri="{FF2B5EF4-FFF2-40B4-BE49-F238E27FC236}">
                      <a16:creationId xmlns:a16="http://schemas.microsoft.com/office/drawing/2014/main" id="{7CF2E599-C271-88E4-9C41-D11075BD3605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18" name="Grafik 27">
                  <a:extLst>
                    <a:ext uri="{FF2B5EF4-FFF2-40B4-BE49-F238E27FC236}">
                      <a16:creationId xmlns:a16="http://schemas.microsoft.com/office/drawing/2014/main" id="{52A9F698-69BF-65D7-CB33-38D0CF85CB3B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19" name="Grafik 27">
                  <a:extLst>
                    <a:ext uri="{FF2B5EF4-FFF2-40B4-BE49-F238E27FC236}">
                      <a16:creationId xmlns:a16="http://schemas.microsoft.com/office/drawing/2014/main" id="{636C6F1E-2001-561B-CB92-D0A657E7E992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16" name="Grafik 27">
                <a:extLst>
                  <a:ext uri="{FF2B5EF4-FFF2-40B4-BE49-F238E27FC236}">
                    <a16:creationId xmlns:a16="http://schemas.microsoft.com/office/drawing/2014/main" id="{20ADDE3D-4F24-DF2B-B3AB-FBDAC5257DC3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0EC0448A-3920-890A-437F-FBDF6D7E97AD}"/>
              </a:ext>
            </a:extLst>
          </p:cNvPr>
          <p:cNvGrpSpPr/>
          <p:nvPr/>
        </p:nvGrpSpPr>
        <p:grpSpPr>
          <a:xfrm>
            <a:off x="6876655" y="1140362"/>
            <a:ext cx="500062" cy="406400"/>
            <a:chOff x="2292350" y="3827463"/>
            <a:chExt cx="500062" cy="406400"/>
          </a:xfrm>
          <a:solidFill>
            <a:schemeClr val="accent1">
              <a:lumMod val="75000"/>
            </a:schemeClr>
          </a:solidFill>
        </p:grpSpPr>
        <p:sp>
          <p:nvSpPr>
            <p:cNvPr id="147" name="Freeform 195">
              <a:extLst>
                <a:ext uri="{FF2B5EF4-FFF2-40B4-BE49-F238E27FC236}">
                  <a16:creationId xmlns:a16="http://schemas.microsoft.com/office/drawing/2014/main" id="{FFFEFACA-5B37-A888-FF20-430C6E9871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2350" y="3827463"/>
              <a:ext cx="500062" cy="406400"/>
            </a:xfrm>
            <a:custGeom>
              <a:avLst/>
              <a:gdLst>
                <a:gd name="T0" fmla="*/ 0 w 133"/>
                <a:gd name="T1" fmla="*/ 100 h 108"/>
                <a:gd name="T2" fmla="*/ 8 w 133"/>
                <a:gd name="T3" fmla="*/ 108 h 108"/>
                <a:gd name="T4" fmla="*/ 125 w 133"/>
                <a:gd name="T5" fmla="*/ 108 h 108"/>
                <a:gd name="T6" fmla="*/ 133 w 133"/>
                <a:gd name="T7" fmla="*/ 100 h 108"/>
                <a:gd name="T8" fmla="*/ 133 w 133"/>
                <a:gd name="T9" fmla="*/ 9 h 108"/>
                <a:gd name="T10" fmla="*/ 125 w 133"/>
                <a:gd name="T11" fmla="*/ 0 h 108"/>
                <a:gd name="T12" fmla="*/ 8 w 133"/>
                <a:gd name="T13" fmla="*/ 0 h 108"/>
                <a:gd name="T14" fmla="*/ 5 w 133"/>
                <a:gd name="T15" fmla="*/ 1 h 108"/>
                <a:gd name="T16" fmla="*/ 0 w 133"/>
                <a:gd name="T17" fmla="*/ 9 h 108"/>
                <a:gd name="T18" fmla="*/ 0 w 133"/>
                <a:gd name="T19" fmla="*/ 22 h 108"/>
                <a:gd name="T20" fmla="*/ 0 w 133"/>
                <a:gd name="T21" fmla="*/ 22 h 108"/>
                <a:gd name="T22" fmla="*/ 0 w 133"/>
                <a:gd name="T23" fmla="*/ 100 h 108"/>
                <a:gd name="T24" fmla="*/ 3 w 133"/>
                <a:gd name="T25" fmla="*/ 9 h 108"/>
                <a:gd name="T26" fmla="*/ 6 w 133"/>
                <a:gd name="T27" fmla="*/ 5 h 108"/>
                <a:gd name="T28" fmla="*/ 8 w 133"/>
                <a:gd name="T29" fmla="*/ 4 h 108"/>
                <a:gd name="T30" fmla="*/ 125 w 133"/>
                <a:gd name="T31" fmla="*/ 4 h 108"/>
                <a:gd name="T32" fmla="*/ 129 w 133"/>
                <a:gd name="T33" fmla="*/ 9 h 108"/>
                <a:gd name="T34" fmla="*/ 129 w 133"/>
                <a:gd name="T35" fmla="*/ 20 h 108"/>
                <a:gd name="T36" fmla="*/ 3 w 133"/>
                <a:gd name="T37" fmla="*/ 20 h 108"/>
                <a:gd name="T38" fmla="*/ 3 w 133"/>
                <a:gd name="T39" fmla="*/ 9 h 108"/>
                <a:gd name="T40" fmla="*/ 3 w 133"/>
                <a:gd name="T41" fmla="*/ 24 h 108"/>
                <a:gd name="T42" fmla="*/ 129 w 133"/>
                <a:gd name="T43" fmla="*/ 24 h 108"/>
                <a:gd name="T44" fmla="*/ 129 w 133"/>
                <a:gd name="T45" fmla="*/ 100 h 108"/>
                <a:gd name="T46" fmla="*/ 125 w 133"/>
                <a:gd name="T47" fmla="*/ 104 h 108"/>
                <a:gd name="T48" fmla="*/ 8 w 133"/>
                <a:gd name="T49" fmla="*/ 104 h 108"/>
                <a:gd name="T50" fmla="*/ 3 w 133"/>
                <a:gd name="T51" fmla="*/ 100 h 108"/>
                <a:gd name="T52" fmla="*/ 3 w 133"/>
                <a:gd name="T53" fmla="*/ 2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3" h="108">
                  <a:moveTo>
                    <a:pt x="0" y="100"/>
                  </a:moveTo>
                  <a:cubicBezTo>
                    <a:pt x="0" y="105"/>
                    <a:pt x="3" y="108"/>
                    <a:pt x="8" y="108"/>
                  </a:cubicBezTo>
                  <a:cubicBezTo>
                    <a:pt x="125" y="108"/>
                    <a:pt x="125" y="108"/>
                    <a:pt x="125" y="108"/>
                  </a:cubicBezTo>
                  <a:cubicBezTo>
                    <a:pt x="129" y="108"/>
                    <a:pt x="133" y="105"/>
                    <a:pt x="133" y="100"/>
                  </a:cubicBezTo>
                  <a:cubicBezTo>
                    <a:pt x="133" y="9"/>
                    <a:pt x="133" y="9"/>
                    <a:pt x="133" y="9"/>
                  </a:cubicBezTo>
                  <a:cubicBezTo>
                    <a:pt x="133" y="4"/>
                    <a:pt x="129" y="0"/>
                    <a:pt x="12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2" y="2"/>
                    <a:pt x="0" y="5"/>
                    <a:pt x="0" y="9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0" y="100"/>
                  </a:lnTo>
                  <a:close/>
                  <a:moveTo>
                    <a:pt x="3" y="9"/>
                  </a:moveTo>
                  <a:cubicBezTo>
                    <a:pt x="3" y="7"/>
                    <a:pt x="5" y="5"/>
                    <a:pt x="6" y="5"/>
                  </a:cubicBezTo>
                  <a:cubicBezTo>
                    <a:pt x="7" y="4"/>
                    <a:pt x="7" y="4"/>
                    <a:pt x="8" y="4"/>
                  </a:cubicBezTo>
                  <a:cubicBezTo>
                    <a:pt x="125" y="4"/>
                    <a:pt x="125" y="4"/>
                    <a:pt x="125" y="4"/>
                  </a:cubicBezTo>
                  <a:cubicBezTo>
                    <a:pt x="127" y="4"/>
                    <a:pt x="129" y="6"/>
                    <a:pt x="129" y="9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3" y="20"/>
                    <a:pt x="3" y="20"/>
                    <a:pt x="3" y="20"/>
                  </a:cubicBezTo>
                  <a:lnTo>
                    <a:pt x="3" y="9"/>
                  </a:lnTo>
                  <a:close/>
                  <a:moveTo>
                    <a:pt x="3" y="24"/>
                  </a:moveTo>
                  <a:cubicBezTo>
                    <a:pt x="129" y="24"/>
                    <a:pt x="129" y="24"/>
                    <a:pt x="129" y="24"/>
                  </a:cubicBezTo>
                  <a:cubicBezTo>
                    <a:pt x="129" y="100"/>
                    <a:pt x="129" y="100"/>
                    <a:pt x="129" y="100"/>
                  </a:cubicBezTo>
                  <a:cubicBezTo>
                    <a:pt x="129" y="102"/>
                    <a:pt x="127" y="104"/>
                    <a:pt x="125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6" y="104"/>
                    <a:pt x="3" y="102"/>
                    <a:pt x="3" y="100"/>
                  </a:cubicBezTo>
                  <a:lnTo>
                    <a:pt x="3" y="24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8" name="Freeform 196">
              <a:extLst>
                <a:ext uri="{FF2B5EF4-FFF2-40B4-BE49-F238E27FC236}">
                  <a16:creationId xmlns:a16="http://schemas.microsoft.com/office/drawing/2014/main" id="{7E4FFC05-A5B6-1F53-3674-0DAB88E647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8863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9" name="Freeform 197">
              <a:extLst>
                <a:ext uri="{FF2B5EF4-FFF2-40B4-BE49-F238E27FC236}">
                  <a16:creationId xmlns:a16="http://schemas.microsoft.com/office/drawing/2014/main" id="{4A13F26F-6CED-042B-F024-752A85EC00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188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0" name="Freeform 198">
              <a:extLst>
                <a:ext uri="{FF2B5EF4-FFF2-40B4-BE49-F238E27FC236}">
                  <a16:creationId xmlns:a16="http://schemas.microsoft.com/office/drawing/2014/main" id="{11C78C8B-C7C6-C50E-CB81-B3D7A7E579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9025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1" name="Freeform 199">
              <a:extLst>
                <a:ext uri="{FF2B5EF4-FFF2-40B4-BE49-F238E27FC236}">
                  <a16:creationId xmlns:a16="http://schemas.microsoft.com/office/drawing/2014/main" id="{535BBEC5-75D0-B5DA-681A-827787332A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3000" y="4033838"/>
              <a:ext cx="104775" cy="106363"/>
            </a:xfrm>
            <a:custGeom>
              <a:avLst/>
              <a:gdLst>
                <a:gd name="T0" fmla="*/ 12 w 28"/>
                <a:gd name="T1" fmla="*/ 27 h 28"/>
                <a:gd name="T2" fmla="*/ 13 w 28"/>
                <a:gd name="T3" fmla="*/ 28 h 28"/>
                <a:gd name="T4" fmla="*/ 21 w 28"/>
                <a:gd name="T5" fmla="*/ 25 h 28"/>
                <a:gd name="T6" fmla="*/ 23 w 28"/>
                <a:gd name="T7" fmla="*/ 7 h 28"/>
                <a:gd name="T8" fmla="*/ 5 w 28"/>
                <a:gd name="T9" fmla="*/ 5 h 28"/>
                <a:gd name="T10" fmla="*/ 0 w 28"/>
                <a:gd name="T11" fmla="*/ 13 h 28"/>
                <a:gd name="T12" fmla="*/ 3 w 28"/>
                <a:gd name="T13" fmla="*/ 23 h 28"/>
                <a:gd name="T14" fmla="*/ 12 w 28"/>
                <a:gd name="T15" fmla="*/ 27 h 28"/>
                <a:gd name="T16" fmla="*/ 4 w 28"/>
                <a:gd name="T17" fmla="*/ 14 h 28"/>
                <a:gd name="T18" fmla="*/ 8 w 28"/>
                <a:gd name="T19" fmla="*/ 8 h 28"/>
                <a:gd name="T20" fmla="*/ 13 w 28"/>
                <a:gd name="T21" fmla="*/ 6 h 28"/>
                <a:gd name="T22" fmla="*/ 20 w 28"/>
                <a:gd name="T23" fmla="*/ 9 h 28"/>
                <a:gd name="T24" fmla="*/ 19 w 28"/>
                <a:gd name="T25" fmla="*/ 22 h 28"/>
                <a:gd name="T26" fmla="*/ 12 w 28"/>
                <a:gd name="T27" fmla="*/ 24 h 28"/>
                <a:gd name="T28" fmla="*/ 6 w 28"/>
                <a:gd name="T29" fmla="*/ 20 h 28"/>
                <a:gd name="T30" fmla="*/ 4 w 28"/>
                <a:gd name="T31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2" y="27"/>
                  </a:moveTo>
                  <a:cubicBezTo>
                    <a:pt x="12" y="28"/>
                    <a:pt x="13" y="28"/>
                    <a:pt x="13" y="28"/>
                  </a:cubicBezTo>
                  <a:cubicBezTo>
                    <a:pt x="16" y="28"/>
                    <a:pt x="19" y="27"/>
                    <a:pt x="21" y="25"/>
                  </a:cubicBezTo>
                  <a:cubicBezTo>
                    <a:pt x="27" y="20"/>
                    <a:pt x="28" y="12"/>
                    <a:pt x="23" y="7"/>
                  </a:cubicBezTo>
                  <a:cubicBezTo>
                    <a:pt x="19" y="1"/>
                    <a:pt x="11" y="0"/>
                    <a:pt x="5" y="5"/>
                  </a:cubicBezTo>
                  <a:cubicBezTo>
                    <a:pt x="2" y="7"/>
                    <a:pt x="1" y="10"/>
                    <a:pt x="0" y="13"/>
                  </a:cubicBezTo>
                  <a:cubicBezTo>
                    <a:pt x="0" y="17"/>
                    <a:pt x="1" y="20"/>
                    <a:pt x="3" y="23"/>
                  </a:cubicBezTo>
                  <a:cubicBezTo>
                    <a:pt x="5" y="25"/>
                    <a:pt x="8" y="27"/>
                    <a:pt x="12" y="27"/>
                  </a:cubicBezTo>
                  <a:close/>
                  <a:moveTo>
                    <a:pt x="4" y="14"/>
                  </a:moveTo>
                  <a:cubicBezTo>
                    <a:pt x="5" y="11"/>
                    <a:pt x="6" y="9"/>
                    <a:pt x="8" y="8"/>
                  </a:cubicBezTo>
                  <a:cubicBezTo>
                    <a:pt x="9" y="7"/>
                    <a:pt x="11" y="6"/>
                    <a:pt x="13" y="6"/>
                  </a:cubicBezTo>
                  <a:cubicBezTo>
                    <a:pt x="16" y="6"/>
                    <a:pt x="18" y="7"/>
                    <a:pt x="20" y="9"/>
                  </a:cubicBezTo>
                  <a:cubicBezTo>
                    <a:pt x="23" y="13"/>
                    <a:pt x="22" y="19"/>
                    <a:pt x="19" y="22"/>
                  </a:cubicBezTo>
                  <a:cubicBezTo>
                    <a:pt x="17" y="23"/>
                    <a:pt x="14" y="24"/>
                    <a:pt x="12" y="24"/>
                  </a:cubicBezTo>
                  <a:cubicBezTo>
                    <a:pt x="10" y="23"/>
                    <a:pt x="8" y="22"/>
                    <a:pt x="6" y="20"/>
                  </a:cubicBezTo>
                  <a:cubicBezTo>
                    <a:pt x="5" y="18"/>
                    <a:pt x="4" y="16"/>
                    <a:pt x="4" y="14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2" name="Freeform 200">
              <a:extLst>
                <a:ext uri="{FF2B5EF4-FFF2-40B4-BE49-F238E27FC236}">
                  <a16:creationId xmlns:a16="http://schemas.microsoft.com/office/drawing/2014/main" id="{0BB6D32A-CDA4-F862-EAFC-6E25FCF01D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9025" y="3989388"/>
              <a:ext cx="204787" cy="203200"/>
            </a:xfrm>
            <a:custGeom>
              <a:avLst/>
              <a:gdLst>
                <a:gd name="T0" fmla="*/ 7 w 54"/>
                <a:gd name="T1" fmla="*/ 34 h 54"/>
                <a:gd name="T2" fmla="*/ 7 w 54"/>
                <a:gd name="T3" fmla="*/ 45 h 54"/>
                <a:gd name="T4" fmla="*/ 15 w 54"/>
                <a:gd name="T5" fmla="*/ 44 h 54"/>
                <a:gd name="T6" fmla="*/ 19 w 54"/>
                <a:gd name="T7" fmla="*/ 51 h 54"/>
                <a:gd name="T8" fmla="*/ 26 w 54"/>
                <a:gd name="T9" fmla="*/ 54 h 54"/>
                <a:gd name="T10" fmla="*/ 35 w 54"/>
                <a:gd name="T11" fmla="*/ 46 h 54"/>
                <a:gd name="T12" fmla="*/ 43 w 54"/>
                <a:gd name="T13" fmla="*/ 49 h 54"/>
                <a:gd name="T14" fmla="*/ 46 w 54"/>
                <a:gd name="T15" fmla="*/ 40 h 54"/>
                <a:gd name="T16" fmla="*/ 48 w 54"/>
                <a:gd name="T17" fmla="*/ 35 h 54"/>
                <a:gd name="T18" fmla="*/ 54 w 54"/>
                <a:gd name="T19" fmla="*/ 28 h 54"/>
                <a:gd name="T20" fmla="*/ 48 w 54"/>
                <a:gd name="T21" fmla="*/ 23 h 54"/>
                <a:gd name="T22" fmla="*/ 49 w 54"/>
                <a:gd name="T23" fmla="*/ 11 h 54"/>
                <a:gd name="T24" fmla="*/ 40 w 54"/>
                <a:gd name="T25" fmla="*/ 8 h 54"/>
                <a:gd name="T26" fmla="*/ 36 w 54"/>
                <a:gd name="T27" fmla="*/ 6 h 54"/>
                <a:gd name="T28" fmla="*/ 23 w 54"/>
                <a:gd name="T29" fmla="*/ 4 h 54"/>
                <a:gd name="T30" fmla="*/ 18 w 54"/>
                <a:gd name="T31" fmla="*/ 6 h 54"/>
                <a:gd name="T32" fmla="*/ 9 w 54"/>
                <a:gd name="T33" fmla="*/ 7 h 54"/>
                <a:gd name="T34" fmla="*/ 8 w 54"/>
                <a:gd name="T35" fmla="*/ 18 h 54"/>
                <a:gd name="T36" fmla="*/ 0 w 54"/>
                <a:gd name="T37" fmla="*/ 25 h 54"/>
                <a:gd name="T38" fmla="*/ 6 w 54"/>
                <a:gd name="T39" fmla="*/ 22 h 54"/>
                <a:gd name="T40" fmla="*/ 13 w 54"/>
                <a:gd name="T41" fmla="*/ 16 h 54"/>
                <a:gd name="T42" fmla="*/ 12 w 54"/>
                <a:gd name="T43" fmla="*/ 10 h 54"/>
                <a:gd name="T44" fmla="*/ 15 w 54"/>
                <a:gd name="T45" fmla="*/ 8 h 54"/>
                <a:gd name="T46" fmla="*/ 25 w 54"/>
                <a:gd name="T47" fmla="*/ 10 h 54"/>
                <a:gd name="T48" fmla="*/ 28 w 54"/>
                <a:gd name="T49" fmla="*/ 4 h 54"/>
                <a:gd name="T50" fmla="*/ 32 w 54"/>
                <a:gd name="T51" fmla="*/ 8 h 54"/>
                <a:gd name="T52" fmla="*/ 40 w 54"/>
                <a:gd name="T53" fmla="*/ 13 h 54"/>
                <a:gd name="T54" fmla="*/ 43 w 54"/>
                <a:gd name="T55" fmla="*/ 11 h 54"/>
                <a:gd name="T56" fmla="*/ 46 w 54"/>
                <a:gd name="T57" fmla="*/ 15 h 54"/>
                <a:gd name="T58" fmla="*/ 44 w 54"/>
                <a:gd name="T59" fmla="*/ 25 h 54"/>
                <a:gd name="T60" fmla="*/ 50 w 54"/>
                <a:gd name="T61" fmla="*/ 27 h 54"/>
                <a:gd name="T62" fmla="*/ 49 w 54"/>
                <a:gd name="T63" fmla="*/ 31 h 54"/>
                <a:gd name="T64" fmla="*/ 43 w 54"/>
                <a:gd name="T65" fmla="*/ 33 h 54"/>
                <a:gd name="T66" fmla="*/ 43 w 54"/>
                <a:gd name="T67" fmla="*/ 42 h 54"/>
                <a:gd name="T68" fmla="*/ 40 w 54"/>
                <a:gd name="T69" fmla="*/ 45 h 54"/>
                <a:gd name="T70" fmla="*/ 37 w 54"/>
                <a:gd name="T71" fmla="*/ 43 h 54"/>
                <a:gd name="T72" fmla="*/ 28 w 54"/>
                <a:gd name="T73" fmla="*/ 46 h 54"/>
                <a:gd name="T74" fmla="*/ 23 w 54"/>
                <a:gd name="T75" fmla="*/ 49 h 54"/>
                <a:gd name="T76" fmla="*/ 23 w 54"/>
                <a:gd name="T77" fmla="*/ 45 h 54"/>
                <a:gd name="T78" fmla="*/ 15 w 54"/>
                <a:gd name="T79" fmla="*/ 40 h 54"/>
                <a:gd name="T80" fmla="*/ 11 w 54"/>
                <a:gd name="T81" fmla="*/ 43 h 54"/>
                <a:gd name="T82" fmla="*/ 9 w 54"/>
                <a:gd name="T83" fmla="*/ 39 h 54"/>
                <a:gd name="T84" fmla="*/ 10 w 54"/>
                <a:gd name="T85" fmla="*/ 29 h 54"/>
                <a:gd name="T86" fmla="*/ 4 w 54"/>
                <a:gd name="T87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" h="54">
                  <a:moveTo>
                    <a:pt x="5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4" y="37"/>
                    <a:pt x="4" y="40"/>
                    <a:pt x="5" y="42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8" y="46"/>
                    <a:pt x="9" y="46"/>
                    <a:pt x="10" y="47"/>
                  </a:cubicBezTo>
                  <a:cubicBezTo>
                    <a:pt x="12" y="47"/>
                    <a:pt x="13" y="46"/>
                    <a:pt x="14" y="45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6" y="45"/>
                    <a:pt x="17" y="46"/>
                    <a:pt x="19" y="46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9"/>
                    <a:pt x="19" y="50"/>
                    <a:pt x="19" y="51"/>
                  </a:cubicBezTo>
                  <a:cubicBezTo>
                    <a:pt x="20" y="52"/>
                    <a:pt x="21" y="53"/>
                    <a:pt x="23" y="53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9" y="54"/>
                    <a:pt x="31" y="52"/>
                    <a:pt x="31" y="49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2" y="47"/>
                    <a:pt x="34" y="47"/>
                    <a:pt x="35" y="46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9"/>
                    <a:pt x="38" y="49"/>
                    <a:pt x="39" y="50"/>
                  </a:cubicBezTo>
                  <a:cubicBezTo>
                    <a:pt x="40" y="50"/>
                    <a:pt x="42" y="49"/>
                    <a:pt x="43" y="49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6"/>
                    <a:pt x="47" y="45"/>
                    <a:pt x="47" y="43"/>
                  </a:cubicBezTo>
                  <a:cubicBezTo>
                    <a:pt x="47" y="42"/>
                    <a:pt x="47" y="41"/>
                    <a:pt x="46" y="40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7"/>
                    <a:pt x="46" y="36"/>
                    <a:pt x="46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9" y="36"/>
                    <a:pt x="51" y="35"/>
                    <a:pt x="52" y="34"/>
                  </a:cubicBezTo>
                  <a:cubicBezTo>
                    <a:pt x="53" y="34"/>
                    <a:pt x="53" y="32"/>
                    <a:pt x="54" y="31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7"/>
                    <a:pt x="54" y="26"/>
                    <a:pt x="53" y="25"/>
                  </a:cubicBezTo>
                  <a:cubicBezTo>
                    <a:pt x="52" y="23"/>
                    <a:pt x="51" y="23"/>
                    <a:pt x="49" y="23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8" y="21"/>
                    <a:pt x="47" y="20"/>
                    <a:pt x="47" y="19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50" y="16"/>
                    <a:pt x="51" y="13"/>
                    <a:pt x="49" y="11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6" y="8"/>
                    <a:pt x="45" y="7"/>
                    <a:pt x="44" y="7"/>
                  </a:cubicBezTo>
                  <a:cubicBezTo>
                    <a:pt x="42" y="7"/>
                    <a:pt x="41" y="7"/>
                    <a:pt x="40" y="8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8"/>
                    <a:pt x="37" y="8"/>
                    <a:pt x="36" y="7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4" y="1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6" y="0"/>
                    <a:pt x="23" y="2"/>
                    <a:pt x="23" y="4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6"/>
                    <a:pt x="21" y="7"/>
                    <a:pt x="19" y="7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5"/>
                    <a:pt x="16" y="4"/>
                    <a:pt x="15" y="4"/>
                  </a:cubicBezTo>
                  <a:cubicBezTo>
                    <a:pt x="14" y="4"/>
                    <a:pt x="12" y="4"/>
                    <a:pt x="11" y="5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7" y="8"/>
                    <a:pt x="7" y="12"/>
                    <a:pt x="8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6"/>
                    <a:pt x="8" y="17"/>
                    <a:pt x="8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3" y="18"/>
                    <a:pt x="1" y="20"/>
                    <a:pt x="1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2" y="31"/>
                    <a:pt x="5" y="31"/>
                  </a:cubicBezTo>
                  <a:close/>
                  <a:moveTo>
                    <a:pt x="5" y="23"/>
                  </a:moveTo>
                  <a:cubicBezTo>
                    <a:pt x="5" y="22"/>
                    <a:pt x="5" y="22"/>
                    <a:pt x="6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0" y="22"/>
                    <a:pt x="11" y="22"/>
                    <a:pt x="11" y="21"/>
                  </a:cubicBezTo>
                  <a:cubicBezTo>
                    <a:pt x="11" y="19"/>
                    <a:pt x="12" y="18"/>
                    <a:pt x="13" y="16"/>
                  </a:cubicBezTo>
                  <a:cubicBezTo>
                    <a:pt x="14" y="15"/>
                    <a:pt x="14" y="14"/>
                    <a:pt x="13" y="14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0"/>
                    <a:pt x="12" y="10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1"/>
                    <a:pt x="19" y="12"/>
                    <a:pt x="20" y="11"/>
                  </a:cubicBezTo>
                  <a:cubicBezTo>
                    <a:pt x="21" y="10"/>
                    <a:pt x="23" y="10"/>
                    <a:pt x="25" y="10"/>
                  </a:cubicBezTo>
                  <a:cubicBezTo>
                    <a:pt x="26" y="10"/>
                    <a:pt x="27" y="9"/>
                    <a:pt x="27" y="8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4"/>
                    <a:pt x="28" y="4"/>
                    <a:pt x="28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4"/>
                    <a:pt x="32" y="5"/>
                    <a:pt x="32" y="5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1" y="9"/>
                    <a:pt x="32" y="10"/>
                    <a:pt x="33" y="11"/>
                  </a:cubicBezTo>
                  <a:cubicBezTo>
                    <a:pt x="35" y="11"/>
                    <a:pt x="36" y="12"/>
                    <a:pt x="38" y="13"/>
                  </a:cubicBezTo>
                  <a:cubicBezTo>
                    <a:pt x="38" y="14"/>
                    <a:pt x="39" y="14"/>
                    <a:pt x="40" y="13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4" y="11"/>
                    <a:pt x="44" y="1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5"/>
                    <a:pt x="46" y="15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2" y="18"/>
                    <a:pt x="42" y="19"/>
                    <a:pt x="43" y="19"/>
                  </a:cubicBezTo>
                  <a:cubicBezTo>
                    <a:pt x="43" y="21"/>
                    <a:pt x="44" y="23"/>
                    <a:pt x="44" y="25"/>
                  </a:cubicBezTo>
                  <a:cubicBezTo>
                    <a:pt x="44" y="25"/>
                    <a:pt x="45" y="26"/>
                    <a:pt x="46" y="26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8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49" y="31"/>
                    <a:pt x="49" y="31"/>
                  </a:cubicBezTo>
                  <a:cubicBezTo>
                    <a:pt x="49" y="31"/>
                    <a:pt x="49" y="32"/>
                    <a:pt x="49" y="32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5" y="31"/>
                    <a:pt x="44" y="32"/>
                    <a:pt x="43" y="33"/>
                  </a:cubicBezTo>
                  <a:cubicBezTo>
                    <a:pt x="43" y="34"/>
                    <a:pt x="42" y="36"/>
                    <a:pt x="41" y="37"/>
                  </a:cubicBezTo>
                  <a:cubicBezTo>
                    <a:pt x="40" y="38"/>
                    <a:pt x="40" y="39"/>
                    <a:pt x="41" y="40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3"/>
                    <a:pt x="43" y="43"/>
                  </a:cubicBezTo>
                  <a:cubicBezTo>
                    <a:pt x="43" y="43"/>
                    <a:pt x="43" y="43"/>
                    <a:pt x="43" y="44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39" y="46"/>
                    <a:pt x="39" y="46"/>
                    <a:pt x="39" y="45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6" y="42"/>
                    <a:pt x="35" y="42"/>
                    <a:pt x="34" y="42"/>
                  </a:cubicBezTo>
                  <a:cubicBezTo>
                    <a:pt x="33" y="43"/>
                    <a:pt x="31" y="44"/>
                    <a:pt x="29" y="44"/>
                  </a:cubicBezTo>
                  <a:cubicBezTo>
                    <a:pt x="28" y="44"/>
                    <a:pt x="28" y="45"/>
                    <a:pt x="28" y="46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2" y="49"/>
                    <a:pt x="22" y="49"/>
                    <a:pt x="22" y="48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2" y="43"/>
                    <a:pt x="21" y="43"/>
                  </a:cubicBezTo>
                  <a:cubicBezTo>
                    <a:pt x="20" y="42"/>
                    <a:pt x="18" y="41"/>
                    <a:pt x="17" y="40"/>
                  </a:cubicBezTo>
                  <a:cubicBezTo>
                    <a:pt x="16" y="40"/>
                    <a:pt x="16" y="40"/>
                    <a:pt x="15" y="40"/>
                  </a:cubicBezTo>
                  <a:cubicBezTo>
                    <a:pt x="15" y="40"/>
                    <a:pt x="14" y="40"/>
                    <a:pt x="14" y="40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3"/>
                    <a:pt x="10" y="43"/>
                    <a:pt x="10" y="4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39"/>
                    <a:pt x="9" y="39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2" y="36"/>
                    <a:pt x="12" y="35"/>
                    <a:pt x="12" y="34"/>
                  </a:cubicBezTo>
                  <a:cubicBezTo>
                    <a:pt x="11" y="32"/>
                    <a:pt x="10" y="31"/>
                    <a:pt x="10" y="29"/>
                  </a:cubicBezTo>
                  <a:cubicBezTo>
                    <a:pt x="10" y="28"/>
                    <a:pt x="9" y="27"/>
                    <a:pt x="8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lnTo>
                    <a:pt x="5" y="23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3" name="Freeform 201">
              <a:extLst>
                <a:ext uri="{FF2B5EF4-FFF2-40B4-BE49-F238E27FC236}">
                  <a16:creationId xmlns:a16="http://schemas.microsoft.com/office/drawing/2014/main" id="{9B652DED-4EB8-0B32-947A-CE43FDA7A2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3975" y="3992563"/>
              <a:ext cx="90487" cy="84138"/>
            </a:xfrm>
            <a:custGeom>
              <a:avLst/>
              <a:gdLst>
                <a:gd name="T0" fmla="*/ 7 w 24"/>
                <a:gd name="T1" fmla="*/ 21 h 22"/>
                <a:gd name="T2" fmla="*/ 12 w 24"/>
                <a:gd name="T3" fmla="*/ 22 h 22"/>
                <a:gd name="T4" fmla="*/ 15 w 24"/>
                <a:gd name="T5" fmla="*/ 22 h 22"/>
                <a:gd name="T6" fmla="*/ 21 w 24"/>
                <a:gd name="T7" fmla="*/ 17 h 22"/>
                <a:gd name="T8" fmla="*/ 17 w 24"/>
                <a:gd name="T9" fmla="*/ 2 h 22"/>
                <a:gd name="T10" fmla="*/ 3 w 24"/>
                <a:gd name="T11" fmla="*/ 7 h 22"/>
                <a:gd name="T12" fmla="*/ 7 w 24"/>
                <a:gd name="T13" fmla="*/ 21 h 22"/>
                <a:gd name="T14" fmla="*/ 6 w 24"/>
                <a:gd name="T15" fmla="*/ 9 h 22"/>
                <a:gd name="T16" fmla="*/ 12 w 24"/>
                <a:gd name="T17" fmla="*/ 5 h 22"/>
                <a:gd name="T18" fmla="*/ 15 w 24"/>
                <a:gd name="T19" fmla="*/ 6 h 22"/>
                <a:gd name="T20" fmla="*/ 18 w 24"/>
                <a:gd name="T21" fmla="*/ 15 h 22"/>
                <a:gd name="T22" fmla="*/ 14 w 24"/>
                <a:gd name="T23" fmla="*/ 18 h 22"/>
                <a:gd name="T24" fmla="*/ 9 w 24"/>
                <a:gd name="T25" fmla="*/ 18 h 22"/>
                <a:gd name="T26" fmla="*/ 6 w 24"/>
                <a:gd name="T27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22">
                  <a:moveTo>
                    <a:pt x="7" y="21"/>
                  </a:moveTo>
                  <a:cubicBezTo>
                    <a:pt x="8" y="22"/>
                    <a:pt x="10" y="22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ubicBezTo>
                    <a:pt x="18" y="21"/>
                    <a:pt x="20" y="19"/>
                    <a:pt x="21" y="17"/>
                  </a:cubicBezTo>
                  <a:cubicBezTo>
                    <a:pt x="24" y="12"/>
                    <a:pt x="22" y="5"/>
                    <a:pt x="17" y="2"/>
                  </a:cubicBezTo>
                  <a:cubicBezTo>
                    <a:pt x="12" y="0"/>
                    <a:pt x="5" y="2"/>
                    <a:pt x="3" y="7"/>
                  </a:cubicBezTo>
                  <a:cubicBezTo>
                    <a:pt x="0" y="12"/>
                    <a:pt x="2" y="18"/>
                    <a:pt x="7" y="21"/>
                  </a:cubicBezTo>
                  <a:close/>
                  <a:moveTo>
                    <a:pt x="6" y="9"/>
                  </a:moveTo>
                  <a:cubicBezTo>
                    <a:pt x="7" y="6"/>
                    <a:pt x="10" y="5"/>
                    <a:pt x="12" y="5"/>
                  </a:cubicBezTo>
                  <a:cubicBezTo>
                    <a:pt x="13" y="5"/>
                    <a:pt x="14" y="5"/>
                    <a:pt x="15" y="6"/>
                  </a:cubicBezTo>
                  <a:cubicBezTo>
                    <a:pt x="18" y="8"/>
                    <a:pt x="20" y="12"/>
                    <a:pt x="18" y="15"/>
                  </a:cubicBezTo>
                  <a:cubicBezTo>
                    <a:pt x="17" y="17"/>
                    <a:pt x="16" y="18"/>
                    <a:pt x="14" y="18"/>
                  </a:cubicBezTo>
                  <a:cubicBezTo>
                    <a:pt x="12" y="19"/>
                    <a:pt x="10" y="19"/>
                    <a:pt x="9" y="18"/>
                  </a:cubicBezTo>
                  <a:cubicBezTo>
                    <a:pt x="5" y="16"/>
                    <a:pt x="4" y="12"/>
                    <a:pt x="6" y="9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4" name="Freeform 202">
              <a:extLst>
                <a:ext uri="{FF2B5EF4-FFF2-40B4-BE49-F238E27FC236}">
                  <a16:creationId xmlns:a16="http://schemas.microsoft.com/office/drawing/2014/main" id="{0FC739EA-1709-AC13-7B04-CC2974E4CA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1113" y="3951288"/>
              <a:ext cx="174625" cy="169863"/>
            </a:xfrm>
            <a:custGeom>
              <a:avLst/>
              <a:gdLst>
                <a:gd name="T0" fmla="*/ 1 w 46"/>
                <a:gd name="T1" fmla="*/ 28 h 45"/>
                <a:gd name="T2" fmla="*/ 7 w 46"/>
                <a:gd name="T3" fmla="*/ 34 h 45"/>
                <a:gd name="T4" fmla="*/ 10 w 46"/>
                <a:gd name="T5" fmla="*/ 35 h 45"/>
                <a:gd name="T6" fmla="*/ 11 w 46"/>
                <a:gd name="T7" fmla="*/ 42 h 45"/>
                <a:gd name="T8" fmla="*/ 19 w 46"/>
                <a:gd name="T9" fmla="*/ 42 h 45"/>
                <a:gd name="T10" fmla="*/ 22 w 46"/>
                <a:gd name="T11" fmla="*/ 41 h 45"/>
                <a:gd name="T12" fmla="*/ 27 w 46"/>
                <a:gd name="T13" fmla="*/ 45 h 45"/>
                <a:gd name="T14" fmla="*/ 31 w 46"/>
                <a:gd name="T15" fmla="*/ 44 h 45"/>
                <a:gd name="T16" fmla="*/ 34 w 46"/>
                <a:gd name="T17" fmla="*/ 39 h 45"/>
                <a:gd name="T18" fmla="*/ 35 w 46"/>
                <a:gd name="T19" fmla="*/ 36 h 45"/>
                <a:gd name="T20" fmla="*/ 43 w 46"/>
                <a:gd name="T21" fmla="*/ 35 h 45"/>
                <a:gd name="T22" fmla="*/ 42 w 46"/>
                <a:gd name="T23" fmla="*/ 26 h 45"/>
                <a:gd name="T24" fmla="*/ 41 w 46"/>
                <a:gd name="T25" fmla="*/ 23 h 45"/>
                <a:gd name="T26" fmla="*/ 45 w 46"/>
                <a:gd name="T27" fmla="*/ 17 h 45"/>
                <a:gd name="T28" fmla="*/ 39 w 46"/>
                <a:gd name="T29" fmla="*/ 12 h 45"/>
                <a:gd name="T30" fmla="*/ 36 w 46"/>
                <a:gd name="T31" fmla="*/ 10 h 45"/>
                <a:gd name="T32" fmla="*/ 37 w 46"/>
                <a:gd name="T33" fmla="*/ 6 h 45"/>
                <a:gd name="T34" fmla="*/ 33 w 46"/>
                <a:gd name="T35" fmla="*/ 2 h 45"/>
                <a:gd name="T36" fmla="*/ 27 w 46"/>
                <a:gd name="T37" fmla="*/ 4 h 45"/>
                <a:gd name="T38" fmla="*/ 23 w 46"/>
                <a:gd name="T39" fmla="*/ 5 h 45"/>
                <a:gd name="T40" fmla="*/ 17 w 46"/>
                <a:gd name="T41" fmla="*/ 0 h 45"/>
                <a:gd name="T42" fmla="*/ 12 w 46"/>
                <a:gd name="T43" fmla="*/ 7 h 45"/>
                <a:gd name="T44" fmla="*/ 10 w 46"/>
                <a:gd name="T45" fmla="*/ 10 h 45"/>
                <a:gd name="T46" fmla="*/ 6 w 46"/>
                <a:gd name="T47" fmla="*/ 9 h 45"/>
                <a:gd name="T48" fmla="*/ 2 w 46"/>
                <a:gd name="T49" fmla="*/ 13 h 45"/>
                <a:gd name="T50" fmla="*/ 4 w 46"/>
                <a:gd name="T51" fmla="*/ 19 h 45"/>
                <a:gd name="T52" fmla="*/ 5 w 46"/>
                <a:gd name="T53" fmla="*/ 22 h 45"/>
                <a:gd name="T54" fmla="*/ 7 w 46"/>
                <a:gd name="T55" fmla="*/ 26 h 45"/>
                <a:gd name="T56" fmla="*/ 9 w 46"/>
                <a:gd name="T57" fmla="*/ 19 h 45"/>
                <a:gd name="T58" fmla="*/ 6 w 46"/>
                <a:gd name="T59" fmla="*/ 16 h 45"/>
                <a:gd name="T60" fmla="*/ 6 w 46"/>
                <a:gd name="T61" fmla="*/ 15 h 45"/>
                <a:gd name="T62" fmla="*/ 7 w 46"/>
                <a:gd name="T63" fmla="*/ 12 h 45"/>
                <a:gd name="T64" fmla="*/ 10 w 46"/>
                <a:gd name="T65" fmla="*/ 14 h 45"/>
                <a:gd name="T66" fmla="*/ 16 w 46"/>
                <a:gd name="T67" fmla="*/ 10 h 45"/>
                <a:gd name="T68" fmla="*/ 16 w 46"/>
                <a:gd name="T69" fmla="*/ 6 h 45"/>
                <a:gd name="T70" fmla="*/ 19 w 46"/>
                <a:gd name="T71" fmla="*/ 4 h 45"/>
                <a:gd name="T72" fmla="*/ 20 w 46"/>
                <a:gd name="T73" fmla="*/ 7 h 45"/>
                <a:gd name="T74" fmla="*/ 27 w 46"/>
                <a:gd name="T75" fmla="*/ 9 h 45"/>
                <a:gd name="T76" fmla="*/ 30 w 46"/>
                <a:gd name="T77" fmla="*/ 6 h 45"/>
                <a:gd name="T78" fmla="*/ 31 w 46"/>
                <a:gd name="T79" fmla="*/ 5 h 45"/>
                <a:gd name="T80" fmla="*/ 33 w 46"/>
                <a:gd name="T81" fmla="*/ 7 h 45"/>
                <a:gd name="T82" fmla="*/ 32 w 46"/>
                <a:gd name="T83" fmla="*/ 10 h 45"/>
                <a:gd name="T84" fmla="*/ 35 w 46"/>
                <a:gd name="T85" fmla="*/ 16 h 45"/>
                <a:gd name="T86" fmla="*/ 40 w 46"/>
                <a:gd name="T87" fmla="*/ 16 h 45"/>
                <a:gd name="T88" fmla="*/ 41 w 46"/>
                <a:gd name="T89" fmla="*/ 18 h 45"/>
                <a:gd name="T90" fmla="*/ 39 w 46"/>
                <a:gd name="T91" fmla="*/ 20 h 45"/>
                <a:gd name="T92" fmla="*/ 37 w 46"/>
                <a:gd name="T93" fmla="*/ 26 h 45"/>
                <a:gd name="T94" fmla="*/ 40 w 46"/>
                <a:gd name="T95" fmla="*/ 30 h 45"/>
                <a:gd name="T96" fmla="*/ 39 w 46"/>
                <a:gd name="T97" fmla="*/ 33 h 45"/>
                <a:gd name="T98" fmla="*/ 36 w 46"/>
                <a:gd name="T99" fmla="*/ 32 h 45"/>
                <a:gd name="T100" fmla="*/ 30 w 46"/>
                <a:gd name="T101" fmla="*/ 35 h 45"/>
                <a:gd name="T102" fmla="*/ 30 w 46"/>
                <a:gd name="T103" fmla="*/ 40 h 45"/>
                <a:gd name="T104" fmla="*/ 30 w 46"/>
                <a:gd name="T105" fmla="*/ 41 h 45"/>
                <a:gd name="T106" fmla="*/ 27 w 46"/>
                <a:gd name="T107" fmla="*/ 41 h 45"/>
                <a:gd name="T108" fmla="*/ 24 w 46"/>
                <a:gd name="T109" fmla="*/ 37 h 45"/>
                <a:gd name="T110" fmla="*/ 19 w 46"/>
                <a:gd name="T111" fmla="*/ 37 h 45"/>
                <a:gd name="T112" fmla="*/ 16 w 46"/>
                <a:gd name="T113" fmla="*/ 40 h 45"/>
                <a:gd name="T114" fmla="*/ 13 w 46"/>
                <a:gd name="T115" fmla="*/ 39 h 45"/>
                <a:gd name="T116" fmla="*/ 14 w 46"/>
                <a:gd name="T117" fmla="*/ 36 h 45"/>
                <a:gd name="T118" fmla="*/ 11 w 46"/>
                <a:gd name="T119" fmla="*/ 30 h 45"/>
                <a:gd name="T120" fmla="*/ 6 w 46"/>
                <a:gd name="T121" fmla="*/ 30 h 45"/>
                <a:gd name="T122" fmla="*/ 4 w 46"/>
                <a:gd name="T123" fmla="*/ 27 h 45"/>
                <a:gd name="T124" fmla="*/ 7 w 46"/>
                <a:gd name="T125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" h="45">
                  <a:moveTo>
                    <a:pt x="4" y="23"/>
                  </a:moveTo>
                  <a:cubicBezTo>
                    <a:pt x="1" y="23"/>
                    <a:pt x="0" y="26"/>
                    <a:pt x="1" y="28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2" y="33"/>
                    <a:pt x="5" y="34"/>
                    <a:pt x="7" y="3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9" y="34"/>
                    <a:pt x="9" y="35"/>
                    <a:pt x="10" y="35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8" y="39"/>
                    <a:pt x="9" y="41"/>
                    <a:pt x="11" y="42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5" y="45"/>
                    <a:pt x="18" y="44"/>
                    <a:pt x="19" y="42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1" y="41"/>
                    <a:pt x="22" y="41"/>
                    <a:pt x="22" y="41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3" y="44"/>
                    <a:pt x="25" y="45"/>
                    <a:pt x="27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2" y="44"/>
                    <a:pt x="33" y="43"/>
                    <a:pt x="33" y="42"/>
                  </a:cubicBezTo>
                  <a:cubicBezTo>
                    <a:pt x="34" y="41"/>
                    <a:pt x="34" y="40"/>
                    <a:pt x="34" y="39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37"/>
                    <a:pt x="35" y="37"/>
                    <a:pt x="35" y="36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9" y="38"/>
                    <a:pt x="41" y="37"/>
                    <a:pt x="43" y="35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5" y="30"/>
                    <a:pt x="44" y="28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5"/>
                    <a:pt x="41" y="24"/>
                    <a:pt x="41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5" y="22"/>
                    <a:pt x="46" y="20"/>
                    <a:pt x="45" y="17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4" y="13"/>
                    <a:pt x="41" y="11"/>
                    <a:pt x="39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7" y="12"/>
                    <a:pt x="37" y="11"/>
                    <a:pt x="36" y="10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8"/>
                    <a:pt x="37" y="7"/>
                    <a:pt x="37" y="6"/>
                  </a:cubicBezTo>
                  <a:cubicBezTo>
                    <a:pt x="37" y="5"/>
                    <a:pt x="36" y="4"/>
                    <a:pt x="35" y="3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1"/>
                    <a:pt x="30" y="1"/>
                    <a:pt x="29" y="2"/>
                  </a:cubicBezTo>
                  <a:cubicBezTo>
                    <a:pt x="28" y="2"/>
                    <a:pt x="27" y="3"/>
                    <a:pt x="27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5"/>
                    <a:pt x="24" y="5"/>
                    <a:pt x="23" y="5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2" y="1"/>
                    <a:pt x="20" y="0"/>
                    <a:pt x="17" y="0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3" y="2"/>
                    <a:pt x="11" y="4"/>
                    <a:pt x="12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8"/>
                    <a:pt x="7" y="8"/>
                    <a:pt x="6" y="9"/>
                  </a:cubicBezTo>
                  <a:cubicBezTo>
                    <a:pt x="5" y="9"/>
                    <a:pt x="4" y="10"/>
                    <a:pt x="3" y="11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4"/>
                    <a:pt x="1" y="15"/>
                    <a:pt x="2" y="16"/>
                  </a:cubicBezTo>
                  <a:cubicBezTo>
                    <a:pt x="2" y="18"/>
                    <a:pt x="3" y="19"/>
                    <a:pt x="4" y="1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5" y="21"/>
                    <a:pt x="5" y="22"/>
                  </a:cubicBezTo>
                  <a:lnTo>
                    <a:pt x="4" y="23"/>
                  </a:lnTo>
                  <a:close/>
                  <a:moveTo>
                    <a:pt x="7" y="26"/>
                  </a:moveTo>
                  <a:cubicBezTo>
                    <a:pt x="8" y="25"/>
                    <a:pt x="9" y="25"/>
                    <a:pt x="9" y="24"/>
                  </a:cubicBezTo>
                  <a:cubicBezTo>
                    <a:pt x="9" y="22"/>
                    <a:pt x="9" y="21"/>
                    <a:pt x="9" y="19"/>
                  </a:cubicBezTo>
                  <a:cubicBezTo>
                    <a:pt x="9" y="18"/>
                    <a:pt x="9" y="17"/>
                    <a:pt x="8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2"/>
                    <a:pt x="7" y="12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4"/>
                    <a:pt x="12" y="14"/>
                    <a:pt x="12" y="13"/>
                  </a:cubicBezTo>
                  <a:cubicBezTo>
                    <a:pt x="13" y="12"/>
                    <a:pt x="14" y="11"/>
                    <a:pt x="16" y="10"/>
                  </a:cubicBezTo>
                  <a:cubicBezTo>
                    <a:pt x="17" y="10"/>
                    <a:pt x="17" y="9"/>
                    <a:pt x="17" y="8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5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8"/>
                    <a:pt x="21" y="9"/>
                    <a:pt x="22" y="9"/>
                  </a:cubicBezTo>
                  <a:cubicBezTo>
                    <a:pt x="24" y="8"/>
                    <a:pt x="25" y="9"/>
                    <a:pt x="27" y="9"/>
                  </a:cubicBezTo>
                  <a:cubicBezTo>
                    <a:pt x="27" y="9"/>
                    <a:pt x="28" y="9"/>
                    <a:pt x="29" y="8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0" y="5"/>
                    <a:pt x="31" y="5"/>
                    <a:pt x="31" y="5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10"/>
                    <a:pt x="32" y="11"/>
                    <a:pt x="32" y="12"/>
                  </a:cubicBezTo>
                  <a:cubicBezTo>
                    <a:pt x="34" y="13"/>
                    <a:pt x="34" y="14"/>
                    <a:pt x="35" y="16"/>
                  </a:cubicBezTo>
                  <a:cubicBezTo>
                    <a:pt x="36" y="16"/>
                    <a:pt x="37" y="17"/>
                    <a:pt x="3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6"/>
                    <a:pt x="41" y="16"/>
                    <a:pt x="41" y="16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2" y="19"/>
                    <a:pt x="41" y="19"/>
                    <a:pt x="41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0"/>
                    <a:pt x="37" y="21"/>
                    <a:pt x="37" y="22"/>
                  </a:cubicBezTo>
                  <a:cubicBezTo>
                    <a:pt x="37" y="23"/>
                    <a:pt x="37" y="25"/>
                    <a:pt x="37" y="26"/>
                  </a:cubicBezTo>
                  <a:cubicBezTo>
                    <a:pt x="36" y="27"/>
                    <a:pt x="37" y="28"/>
                    <a:pt x="38" y="29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1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3"/>
                    <a:pt x="39" y="33"/>
                    <a:pt x="38" y="33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5" y="31"/>
                    <a:pt x="34" y="32"/>
                    <a:pt x="34" y="32"/>
                  </a:cubicBezTo>
                  <a:cubicBezTo>
                    <a:pt x="33" y="33"/>
                    <a:pt x="31" y="34"/>
                    <a:pt x="30" y="35"/>
                  </a:cubicBezTo>
                  <a:cubicBezTo>
                    <a:pt x="29" y="36"/>
                    <a:pt x="29" y="36"/>
                    <a:pt x="29" y="37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1"/>
                    <a:pt x="30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5" y="37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2" y="37"/>
                    <a:pt x="21" y="37"/>
                    <a:pt x="19" y="37"/>
                  </a:cubicBezTo>
                  <a:cubicBezTo>
                    <a:pt x="18" y="36"/>
                    <a:pt x="17" y="37"/>
                    <a:pt x="17" y="37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5" y="40"/>
                    <a:pt x="15" y="40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8"/>
                    <a:pt x="13" y="38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5"/>
                    <a:pt x="14" y="34"/>
                    <a:pt x="13" y="33"/>
                  </a:cubicBezTo>
                  <a:cubicBezTo>
                    <a:pt x="12" y="32"/>
                    <a:pt x="11" y="31"/>
                    <a:pt x="11" y="30"/>
                  </a:cubicBezTo>
                  <a:cubicBezTo>
                    <a:pt x="10" y="29"/>
                    <a:pt x="9" y="29"/>
                    <a:pt x="8" y="29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5" y="30"/>
                    <a:pt x="5" y="29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4" y="26"/>
                    <a:pt x="5" y="26"/>
                  </a:cubicBezTo>
                  <a:lnTo>
                    <a:pt x="7" y="26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</p:grpSp>
      <p:grpSp>
        <p:nvGrpSpPr>
          <p:cNvPr id="155" name="Grafik 3933">
            <a:extLst>
              <a:ext uri="{FF2B5EF4-FFF2-40B4-BE49-F238E27FC236}">
                <a16:creationId xmlns:a16="http://schemas.microsoft.com/office/drawing/2014/main" id="{3F35C556-4FCA-117D-070A-C7C02E992690}"/>
              </a:ext>
            </a:extLst>
          </p:cNvPr>
          <p:cNvGrpSpPr>
            <a:grpSpLocks noChangeAspect="1"/>
          </p:cNvGrpSpPr>
          <p:nvPr/>
        </p:nvGrpSpPr>
        <p:grpSpPr>
          <a:xfrm>
            <a:off x="7889395" y="1162089"/>
            <a:ext cx="500348" cy="338328"/>
            <a:chOff x="5843587" y="3257550"/>
            <a:chExt cx="500348" cy="338328"/>
          </a:xfrm>
          <a:solidFill>
            <a:schemeClr val="accent1">
              <a:lumMod val="75000"/>
            </a:schemeClr>
          </a:solidFill>
        </p:grpSpPr>
        <p:sp>
          <p:nvSpPr>
            <p:cNvPr id="156" name="Freihandform: Form 4287">
              <a:extLst>
                <a:ext uri="{FF2B5EF4-FFF2-40B4-BE49-F238E27FC236}">
                  <a16:creationId xmlns:a16="http://schemas.microsoft.com/office/drawing/2014/main" id="{AE3F28B2-9B04-1975-9C73-C6E66B9D7183}"/>
                </a:ext>
              </a:extLst>
            </p:cNvPr>
            <p:cNvSpPr/>
            <p:nvPr/>
          </p:nvSpPr>
          <p:spPr>
            <a:xfrm>
              <a:off x="5892164" y="3257550"/>
              <a:ext cx="403097" cy="273462"/>
            </a:xfrm>
            <a:custGeom>
              <a:avLst/>
              <a:gdLst>
                <a:gd name="connsiteX0" fmla="*/ 395954 w 403097"/>
                <a:gd name="connsiteY0" fmla="*/ 273463 h 273462"/>
                <a:gd name="connsiteX1" fmla="*/ 7144 w 403097"/>
                <a:gd name="connsiteY1" fmla="*/ 273463 h 273462"/>
                <a:gd name="connsiteX2" fmla="*/ 0 w 403097"/>
                <a:gd name="connsiteY2" fmla="*/ 266319 h 273462"/>
                <a:gd name="connsiteX3" fmla="*/ 0 w 403097"/>
                <a:gd name="connsiteY3" fmla="*/ 34100 h 273462"/>
                <a:gd name="connsiteX4" fmla="*/ 34195 w 403097"/>
                <a:gd name="connsiteY4" fmla="*/ 0 h 273462"/>
                <a:gd name="connsiteX5" fmla="*/ 368999 w 403097"/>
                <a:gd name="connsiteY5" fmla="*/ 0 h 273462"/>
                <a:gd name="connsiteX6" fmla="*/ 403098 w 403097"/>
                <a:gd name="connsiteY6" fmla="*/ 34100 h 273462"/>
                <a:gd name="connsiteX7" fmla="*/ 403098 w 403097"/>
                <a:gd name="connsiteY7" fmla="*/ 266319 h 273462"/>
                <a:gd name="connsiteX8" fmla="*/ 395954 w 403097"/>
                <a:gd name="connsiteY8" fmla="*/ 273463 h 273462"/>
                <a:gd name="connsiteX9" fmla="*/ 14288 w 403097"/>
                <a:gd name="connsiteY9" fmla="*/ 259175 h 273462"/>
                <a:gd name="connsiteX10" fmla="*/ 388810 w 403097"/>
                <a:gd name="connsiteY10" fmla="*/ 259175 h 273462"/>
                <a:gd name="connsiteX11" fmla="*/ 388810 w 403097"/>
                <a:gd name="connsiteY11" fmla="*/ 34100 h 273462"/>
                <a:gd name="connsiteX12" fmla="*/ 368999 w 403097"/>
                <a:gd name="connsiteY12" fmla="*/ 14288 h 273462"/>
                <a:gd name="connsiteX13" fmla="*/ 34195 w 403097"/>
                <a:gd name="connsiteY13" fmla="*/ 14288 h 273462"/>
                <a:gd name="connsiteX14" fmla="*/ 14288 w 403097"/>
                <a:gd name="connsiteY14" fmla="*/ 34100 h 273462"/>
                <a:gd name="connsiteX15" fmla="*/ 14288 w 403097"/>
                <a:gd name="connsiteY15" fmla="*/ 259175 h 273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3097" h="273462">
                  <a:moveTo>
                    <a:pt x="395954" y="273463"/>
                  </a:moveTo>
                  <a:lnTo>
                    <a:pt x="7144" y="273463"/>
                  </a:lnTo>
                  <a:cubicBezTo>
                    <a:pt x="3239" y="273463"/>
                    <a:pt x="0" y="270224"/>
                    <a:pt x="0" y="266319"/>
                  </a:cubicBezTo>
                  <a:lnTo>
                    <a:pt x="0" y="34100"/>
                  </a:lnTo>
                  <a:cubicBezTo>
                    <a:pt x="0" y="15335"/>
                    <a:pt x="15335" y="0"/>
                    <a:pt x="34195" y="0"/>
                  </a:cubicBezTo>
                  <a:lnTo>
                    <a:pt x="368999" y="0"/>
                  </a:lnTo>
                  <a:cubicBezTo>
                    <a:pt x="387858" y="0"/>
                    <a:pt x="403098" y="15335"/>
                    <a:pt x="403098" y="34100"/>
                  </a:cubicBezTo>
                  <a:lnTo>
                    <a:pt x="403098" y="266319"/>
                  </a:lnTo>
                  <a:cubicBezTo>
                    <a:pt x="403098" y="270320"/>
                    <a:pt x="399955" y="273463"/>
                    <a:pt x="395954" y="273463"/>
                  </a:cubicBezTo>
                  <a:close/>
                  <a:moveTo>
                    <a:pt x="14288" y="259175"/>
                  </a:moveTo>
                  <a:lnTo>
                    <a:pt x="388810" y="259175"/>
                  </a:lnTo>
                  <a:lnTo>
                    <a:pt x="388810" y="34100"/>
                  </a:lnTo>
                  <a:cubicBezTo>
                    <a:pt x="388810" y="23146"/>
                    <a:pt x="379857" y="14288"/>
                    <a:pt x="368999" y="14288"/>
                  </a:cubicBezTo>
                  <a:lnTo>
                    <a:pt x="34195" y="14288"/>
                  </a:lnTo>
                  <a:cubicBezTo>
                    <a:pt x="23241" y="14288"/>
                    <a:pt x="14288" y="23241"/>
                    <a:pt x="14288" y="34100"/>
                  </a:cubicBezTo>
                  <a:lnTo>
                    <a:pt x="14288" y="259175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157" name="Freihandform: Form 4288">
              <a:extLst>
                <a:ext uri="{FF2B5EF4-FFF2-40B4-BE49-F238E27FC236}">
                  <a16:creationId xmlns:a16="http://schemas.microsoft.com/office/drawing/2014/main" id="{AE91ABA3-7BE6-798B-5503-B64090F7B9B1}"/>
                </a:ext>
              </a:extLst>
            </p:cNvPr>
            <p:cNvSpPr/>
            <p:nvPr/>
          </p:nvSpPr>
          <p:spPr>
            <a:xfrm>
              <a:off x="5843587" y="3549110"/>
              <a:ext cx="500348" cy="46767"/>
            </a:xfrm>
            <a:custGeom>
              <a:avLst/>
              <a:gdLst>
                <a:gd name="connsiteX0" fmla="*/ 479679 w 500348"/>
                <a:gd name="connsiteY0" fmla="*/ 46768 h 46767"/>
                <a:gd name="connsiteX1" fmla="*/ 20669 w 500348"/>
                <a:gd name="connsiteY1" fmla="*/ 46768 h 46767"/>
                <a:gd name="connsiteX2" fmla="*/ 0 w 500348"/>
                <a:gd name="connsiteY2" fmla="*/ 26098 h 46767"/>
                <a:gd name="connsiteX3" fmla="*/ 0 w 500348"/>
                <a:gd name="connsiteY3" fmla="*/ 20669 h 46767"/>
                <a:gd name="connsiteX4" fmla="*/ 20669 w 500348"/>
                <a:gd name="connsiteY4" fmla="*/ 0 h 46767"/>
                <a:gd name="connsiteX5" fmla="*/ 479679 w 500348"/>
                <a:gd name="connsiteY5" fmla="*/ 0 h 46767"/>
                <a:gd name="connsiteX6" fmla="*/ 500348 w 500348"/>
                <a:gd name="connsiteY6" fmla="*/ 20669 h 46767"/>
                <a:gd name="connsiteX7" fmla="*/ 500348 w 500348"/>
                <a:gd name="connsiteY7" fmla="*/ 26098 h 46767"/>
                <a:gd name="connsiteX8" fmla="*/ 479679 w 500348"/>
                <a:gd name="connsiteY8" fmla="*/ 46768 h 46767"/>
                <a:gd name="connsiteX9" fmla="*/ 20669 w 500348"/>
                <a:gd name="connsiteY9" fmla="*/ 14288 h 46767"/>
                <a:gd name="connsiteX10" fmla="*/ 14288 w 500348"/>
                <a:gd name="connsiteY10" fmla="*/ 20669 h 46767"/>
                <a:gd name="connsiteX11" fmla="*/ 14288 w 500348"/>
                <a:gd name="connsiteY11" fmla="*/ 26098 h 46767"/>
                <a:gd name="connsiteX12" fmla="*/ 20669 w 500348"/>
                <a:gd name="connsiteY12" fmla="*/ 32480 h 46767"/>
                <a:gd name="connsiteX13" fmla="*/ 479679 w 500348"/>
                <a:gd name="connsiteY13" fmla="*/ 32480 h 46767"/>
                <a:gd name="connsiteX14" fmla="*/ 486061 w 500348"/>
                <a:gd name="connsiteY14" fmla="*/ 26098 h 46767"/>
                <a:gd name="connsiteX15" fmla="*/ 486061 w 500348"/>
                <a:gd name="connsiteY15" fmla="*/ 20669 h 46767"/>
                <a:gd name="connsiteX16" fmla="*/ 479679 w 500348"/>
                <a:gd name="connsiteY16" fmla="*/ 14288 h 46767"/>
                <a:gd name="connsiteX17" fmla="*/ 20669 w 500348"/>
                <a:gd name="connsiteY17" fmla="*/ 14288 h 46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00348" h="46767">
                  <a:moveTo>
                    <a:pt x="479679" y="46768"/>
                  </a:moveTo>
                  <a:lnTo>
                    <a:pt x="20669" y="46768"/>
                  </a:lnTo>
                  <a:cubicBezTo>
                    <a:pt x="9239" y="46768"/>
                    <a:pt x="0" y="37528"/>
                    <a:pt x="0" y="26098"/>
                  </a:cubicBezTo>
                  <a:lnTo>
                    <a:pt x="0" y="20669"/>
                  </a:lnTo>
                  <a:cubicBezTo>
                    <a:pt x="0" y="9239"/>
                    <a:pt x="9239" y="0"/>
                    <a:pt x="20669" y="0"/>
                  </a:cubicBezTo>
                  <a:lnTo>
                    <a:pt x="479679" y="0"/>
                  </a:lnTo>
                  <a:cubicBezTo>
                    <a:pt x="491109" y="0"/>
                    <a:pt x="500348" y="9239"/>
                    <a:pt x="500348" y="20669"/>
                  </a:cubicBezTo>
                  <a:lnTo>
                    <a:pt x="500348" y="26098"/>
                  </a:lnTo>
                  <a:cubicBezTo>
                    <a:pt x="500253" y="37433"/>
                    <a:pt x="491014" y="46768"/>
                    <a:pt x="479679" y="46768"/>
                  </a:cubicBezTo>
                  <a:close/>
                  <a:moveTo>
                    <a:pt x="20669" y="14288"/>
                  </a:moveTo>
                  <a:cubicBezTo>
                    <a:pt x="17145" y="14288"/>
                    <a:pt x="14288" y="17145"/>
                    <a:pt x="14288" y="20669"/>
                  </a:cubicBezTo>
                  <a:lnTo>
                    <a:pt x="14288" y="26098"/>
                  </a:lnTo>
                  <a:cubicBezTo>
                    <a:pt x="14288" y="29623"/>
                    <a:pt x="17145" y="32480"/>
                    <a:pt x="20669" y="32480"/>
                  </a:cubicBezTo>
                  <a:lnTo>
                    <a:pt x="479679" y="32480"/>
                  </a:lnTo>
                  <a:cubicBezTo>
                    <a:pt x="483203" y="32480"/>
                    <a:pt x="486061" y="29623"/>
                    <a:pt x="486061" y="26098"/>
                  </a:cubicBezTo>
                  <a:lnTo>
                    <a:pt x="486061" y="20669"/>
                  </a:lnTo>
                  <a:cubicBezTo>
                    <a:pt x="486061" y="17145"/>
                    <a:pt x="483203" y="14288"/>
                    <a:pt x="479679" y="14288"/>
                  </a:cubicBezTo>
                  <a:lnTo>
                    <a:pt x="20669" y="14288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grpSp>
          <p:nvGrpSpPr>
            <p:cNvPr id="158" name="Grafik 3933">
              <a:extLst>
                <a:ext uri="{FF2B5EF4-FFF2-40B4-BE49-F238E27FC236}">
                  <a16:creationId xmlns:a16="http://schemas.microsoft.com/office/drawing/2014/main" id="{528D7C8A-ED01-F43D-6376-60FFA81E6C26}"/>
                </a:ext>
              </a:extLst>
            </p:cNvPr>
            <p:cNvGrpSpPr/>
            <p:nvPr/>
          </p:nvGrpSpPr>
          <p:grpSpPr>
            <a:xfrm>
              <a:off x="6005607" y="3306127"/>
              <a:ext cx="176307" cy="176307"/>
              <a:chOff x="6005607" y="3306127"/>
              <a:chExt cx="176307" cy="176307"/>
            </a:xfrm>
            <a:grpFill/>
          </p:grpSpPr>
          <p:sp>
            <p:nvSpPr>
              <p:cNvPr id="159" name="Freihandform: Form 4290">
                <a:extLst>
                  <a:ext uri="{FF2B5EF4-FFF2-40B4-BE49-F238E27FC236}">
                    <a16:creationId xmlns:a16="http://schemas.microsoft.com/office/drawing/2014/main" id="{EA338D02-26A1-24E4-186B-F5F5B6E4A3F4}"/>
                  </a:ext>
                </a:extLst>
              </p:cNvPr>
              <p:cNvSpPr/>
              <p:nvPr/>
            </p:nvSpPr>
            <p:spPr>
              <a:xfrm>
                <a:off x="6005607" y="3306222"/>
                <a:ext cx="176212" cy="176212"/>
              </a:xfrm>
              <a:custGeom>
                <a:avLst/>
                <a:gdLst>
                  <a:gd name="connsiteX0" fmla="*/ 88106 w 176212"/>
                  <a:gd name="connsiteY0" fmla="*/ 176213 h 176212"/>
                  <a:gd name="connsiteX1" fmla="*/ 0 w 176212"/>
                  <a:gd name="connsiteY1" fmla="*/ 88106 h 176212"/>
                  <a:gd name="connsiteX2" fmla="*/ 88106 w 176212"/>
                  <a:gd name="connsiteY2" fmla="*/ 0 h 176212"/>
                  <a:gd name="connsiteX3" fmla="*/ 176212 w 176212"/>
                  <a:gd name="connsiteY3" fmla="*/ 88106 h 176212"/>
                  <a:gd name="connsiteX4" fmla="*/ 88106 w 176212"/>
                  <a:gd name="connsiteY4" fmla="*/ 176213 h 176212"/>
                  <a:gd name="connsiteX5" fmla="*/ 88106 w 176212"/>
                  <a:gd name="connsiteY5" fmla="*/ 14192 h 176212"/>
                  <a:gd name="connsiteX6" fmla="*/ 14288 w 176212"/>
                  <a:gd name="connsiteY6" fmla="*/ 88011 h 176212"/>
                  <a:gd name="connsiteX7" fmla="*/ 88106 w 176212"/>
                  <a:gd name="connsiteY7" fmla="*/ 161830 h 176212"/>
                  <a:gd name="connsiteX8" fmla="*/ 161925 w 176212"/>
                  <a:gd name="connsiteY8" fmla="*/ 88011 h 176212"/>
                  <a:gd name="connsiteX9" fmla="*/ 88106 w 176212"/>
                  <a:gd name="connsiteY9" fmla="*/ 14192 h 1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6212" h="176212">
                    <a:moveTo>
                      <a:pt x="88106" y="176213"/>
                    </a:moveTo>
                    <a:cubicBezTo>
                      <a:pt x="39529" y="176213"/>
                      <a:pt x="0" y="136684"/>
                      <a:pt x="0" y="88106"/>
                    </a:cubicBezTo>
                    <a:cubicBezTo>
                      <a:pt x="0" y="39529"/>
                      <a:pt x="39529" y="0"/>
                      <a:pt x="88106" y="0"/>
                    </a:cubicBezTo>
                    <a:cubicBezTo>
                      <a:pt x="136684" y="0"/>
                      <a:pt x="176212" y="39529"/>
                      <a:pt x="176212" y="88106"/>
                    </a:cubicBezTo>
                    <a:cubicBezTo>
                      <a:pt x="176212" y="136684"/>
                      <a:pt x="136684" y="176213"/>
                      <a:pt x="88106" y="176213"/>
                    </a:cubicBezTo>
                    <a:close/>
                    <a:moveTo>
                      <a:pt x="88106" y="14192"/>
                    </a:moveTo>
                    <a:cubicBezTo>
                      <a:pt x="47339" y="14192"/>
                      <a:pt x="14288" y="47339"/>
                      <a:pt x="14288" y="88011"/>
                    </a:cubicBezTo>
                    <a:cubicBezTo>
                      <a:pt x="14288" y="128683"/>
                      <a:pt x="47434" y="161830"/>
                      <a:pt x="88106" y="161830"/>
                    </a:cubicBezTo>
                    <a:cubicBezTo>
                      <a:pt x="128778" y="161830"/>
                      <a:pt x="161925" y="128683"/>
                      <a:pt x="161925" y="88011"/>
                    </a:cubicBezTo>
                    <a:cubicBezTo>
                      <a:pt x="161925" y="47339"/>
                      <a:pt x="128873" y="14192"/>
                      <a:pt x="88106" y="1419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0" name="Freihandform: Form 4291">
                <a:extLst>
                  <a:ext uri="{FF2B5EF4-FFF2-40B4-BE49-F238E27FC236}">
                    <a16:creationId xmlns:a16="http://schemas.microsoft.com/office/drawing/2014/main" id="{2125B678-5357-2CFE-A724-E1943A13554D}"/>
                  </a:ext>
                </a:extLst>
              </p:cNvPr>
              <p:cNvSpPr/>
              <p:nvPr/>
            </p:nvSpPr>
            <p:spPr>
              <a:xfrm>
                <a:off x="6039706" y="3306190"/>
                <a:ext cx="61182" cy="176244"/>
              </a:xfrm>
              <a:custGeom>
                <a:avLst/>
                <a:gdLst>
                  <a:gd name="connsiteX0" fmla="*/ 54007 w 61182"/>
                  <a:gd name="connsiteY0" fmla="*/ 176244 h 176244"/>
                  <a:gd name="connsiteX1" fmla="*/ 50387 w 61182"/>
                  <a:gd name="connsiteY1" fmla="*/ 175292 h 176244"/>
                  <a:gd name="connsiteX2" fmla="*/ 0 w 61182"/>
                  <a:gd name="connsiteY2" fmla="*/ 88138 h 176244"/>
                  <a:gd name="connsiteX3" fmla="*/ 50387 w 61182"/>
                  <a:gd name="connsiteY3" fmla="*/ 984 h 176244"/>
                  <a:gd name="connsiteX4" fmla="*/ 60198 w 61182"/>
                  <a:gd name="connsiteY4" fmla="*/ 3556 h 176244"/>
                  <a:gd name="connsiteX5" fmla="*/ 57626 w 61182"/>
                  <a:gd name="connsiteY5" fmla="*/ 13272 h 176244"/>
                  <a:gd name="connsiteX6" fmla="*/ 14383 w 61182"/>
                  <a:gd name="connsiteY6" fmla="*/ 88043 h 176244"/>
                  <a:gd name="connsiteX7" fmla="*/ 57626 w 61182"/>
                  <a:gd name="connsiteY7" fmla="*/ 162814 h 176244"/>
                  <a:gd name="connsiteX8" fmla="*/ 60198 w 61182"/>
                  <a:gd name="connsiteY8" fmla="*/ 172530 h 176244"/>
                  <a:gd name="connsiteX9" fmla="*/ 54007 w 61182"/>
                  <a:gd name="connsiteY9" fmla="*/ 176244 h 176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244">
                    <a:moveTo>
                      <a:pt x="54007" y="176244"/>
                    </a:moveTo>
                    <a:cubicBezTo>
                      <a:pt x="52768" y="176244"/>
                      <a:pt x="51530" y="175959"/>
                      <a:pt x="50387" y="175292"/>
                    </a:cubicBezTo>
                    <a:cubicBezTo>
                      <a:pt x="19336" y="157290"/>
                      <a:pt x="0" y="123857"/>
                      <a:pt x="0" y="88138"/>
                    </a:cubicBezTo>
                    <a:cubicBezTo>
                      <a:pt x="0" y="52419"/>
                      <a:pt x="19336" y="18987"/>
                      <a:pt x="50387" y="984"/>
                    </a:cubicBezTo>
                    <a:cubicBezTo>
                      <a:pt x="53816" y="-1016"/>
                      <a:pt x="58198" y="127"/>
                      <a:pt x="60198" y="3556"/>
                    </a:cubicBezTo>
                    <a:cubicBezTo>
                      <a:pt x="62198" y="6890"/>
                      <a:pt x="61055" y="11271"/>
                      <a:pt x="57626" y="13272"/>
                    </a:cubicBezTo>
                    <a:cubicBezTo>
                      <a:pt x="30956" y="28702"/>
                      <a:pt x="14383" y="57372"/>
                      <a:pt x="14383" y="88043"/>
                    </a:cubicBezTo>
                    <a:cubicBezTo>
                      <a:pt x="14383" y="118713"/>
                      <a:pt x="30956" y="147384"/>
                      <a:pt x="57626" y="162814"/>
                    </a:cubicBezTo>
                    <a:cubicBezTo>
                      <a:pt x="61055" y="164814"/>
                      <a:pt x="62198" y="169196"/>
                      <a:pt x="60198" y="172530"/>
                    </a:cubicBezTo>
                    <a:cubicBezTo>
                      <a:pt x="58865" y="175006"/>
                      <a:pt x="56483" y="176244"/>
                      <a:pt x="54007" y="17624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1" name="Freihandform: Form 4292">
                <a:extLst>
                  <a:ext uri="{FF2B5EF4-FFF2-40B4-BE49-F238E27FC236}">
                    <a16:creationId xmlns:a16="http://schemas.microsoft.com/office/drawing/2014/main" id="{9A9FF5B0-31B0-25CD-C460-3AD78CC73AAF}"/>
                  </a:ext>
                </a:extLst>
              </p:cNvPr>
              <p:cNvSpPr/>
              <p:nvPr/>
            </p:nvSpPr>
            <p:spPr>
              <a:xfrm>
                <a:off x="6086538" y="3306381"/>
                <a:ext cx="61182" cy="176053"/>
              </a:xfrm>
              <a:custGeom>
                <a:avLst/>
                <a:gdLst>
                  <a:gd name="connsiteX0" fmla="*/ 7176 w 61182"/>
                  <a:gd name="connsiteY0" fmla="*/ 176054 h 176053"/>
                  <a:gd name="connsiteX1" fmla="*/ 984 w 61182"/>
                  <a:gd name="connsiteY1" fmla="*/ 172530 h 176053"/>
                  <a:gd name="connsiteX2" fmla="*/ 3556 w 61182"/>
                  <a:gd name="connsiteY2" fmla="*/ 162814 h 176053"/>
                  <a:gd name="connsiteX3" fmla="*/ 46800 w 61182"/>
                  <a:gd name="connsiteY3" fmla="*/ 88043 h 176053"/>
                  <a:gd name="connsiteX4" fmla="*/ 3556 w 61182"/>
                  <a:gd name="connsiteY4" fmla="*/ 13272 h 176053"/>
                  <a:gd name="connsiteX5" fmla="*/ 984 w 61182"/>
                  <a:gd name="connsiteY5" fmla="*/ 3556 h 176053"/>
                  <a:gd name="connsiteX6" fmla="*/ 10795 w 61182"/>
                  <a:gd name="connsiteY6" fmla="*/ 984 h 176053"/>
                  <a:gd name="connsiteX7" fmla="*/ 61182 w 61182"/>
                  <a:gd name="connsiteY7" fmla="*/ 88138 h 176053"/>
                  <a:gd name="connsiteX8" fmla="*/ 10795 w 61182"/>
                  <a:gd name="connsiteY8" fmla="*/ 175292 h 176053"/>
                  <a:gd name="connsiteX9" fmla="*/ 7176 w 61182"/>
                  <a:gd name="connsiteY9" fmla="*/ 176054 h 176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053">
                    <a:moveTo>
                      <a:pt x="7176" y="176054"/>
                    </a:moveTo>
                    <a:cubicBezTo>
                      <a:pt x="4699" y="176054"/>
                      <a:pt x="2318" y="174816"/>
                      <a:pt x="984" y="172530"/>
                    </a:cubicBezTo>
                    <a:cubicBezTo>
                      <a:pt x="-1016" y="169101"/>
                      <a:pt x="222" y="164719"/>
                      <a:pt x="3556" y="162814"/>
                    </a:cubicBezTo>
                    <a:cubicBezTo>
                      <a:pt x="30226" y="147384"/>
                      <a:pt x="46800" y="118713"/>
                      <a:pt x="46800" y="88043"/>
                    </a:cubicBezTo>
                    <a:cubicBezTo>
                      <a:pt x="46800" y="57372"/>
                      <a:pt x="30226" y="28702"/>
                      <a:pt x="3556" y="13272"/>
                    </a:cubicBezTo>
                    <a:cubicBezTo>
                      <a:pt x="127" y="11271"/>
                      <a:pt x="-1016" y="6890"/>
                      <a:pt x="984" y="3556"/>
                    </a:cubicBezTo>
                    <a:cubicBezTo>
                      <a:pt x="2984" y="127"/>
                      <a:pt x="7366" y="-1016"/>
                      <a:pt x="10795" y="984"/>
                    </a:cubicBezTo>
                    <a:cubicBezTo>
                      <a:pt x="41846" y="18987"/>
                      <a:pt x="61182" y="52419"/>
                      <a:pt x="61182" y="88138"/>
                    </a:cubicBezTo>
                    <a:cubicBezTo>
                      <a:pt x="61182" y="123857"/>
                      <a:pt x="41846" y="157290"/>
                      <a:pt x="10795" y="175292"/>
                    </a:cubicBezTo>
                    <a:cubicBezTo>
                      <a:pt x="9652" y="175768"/>
                      <a:pt x="8414" y="176054"/>
                      <a:pt x="7176" y="17605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2" name="Freihandform: Form 4293">
                <a:extLst>
                  <a:ext uri="{FF2B5EF4-FFF2-40B4-BE49-F238E27FC236}">
                    <a16:creationId xmlns:a16="http://schemas.microsoft.com/office/drawing/2014/main" id="{4EDEF7CA-49B4-92AE-9192-F64D1208F3A8}"/>
                  </a:ext>
                </a:extLst>
              </p:cNvPr>
              <p:cNvSpPr/>
              <p:nvPr/>
            </p:nvSpPr>
            <p:spPr>
              <a:xfrm>
                <a:off x="6027373" y="3331799"/>
                <a:ext cx="132830" cy="35478"/>
              </a:xfrm>
              <a:custGeom>
                <a:avLst/>
                <a:gdLst>
                  <a:gd name="connsiteX0" fmla="*/ 66340 w 132830"/>
                  <a:gd name="connsiteY0" fmla="*/ 35479 h 35478"/>
                  <a:gd name="connsiteX1" fmla="*/ 2618 w 132830"/>
                  <a:gd name="connsiteY1" fmla="*/ 12714 h 35478"/>
                  <a:gd name="connsiteX2" fmla="*/ 1665 w 132830"/>
                  <a:gd name="connsiteY2" fmla="*/ 2618 h 35478"/>
                  <a:gd name="connsiteX3" fmla="*/ 11762 w 132830"/>
                  <a:gd name="connsiteY3" fmla="*/ 1665 h 35478"/>
                  <a:gd name="connsiteX4" fmla="*/ 66435 w 132830"/>
                  <a:gd name="connsiteY4" fmla="*/ 21191 h 35478"/>
                  <a:gd name="connsiteX5" fmla="*/ 121109 w 132830"/>
                  <a:gd name="connsiteY5" fmla="*/ 1665 h 35478"/>
                  <a:gd name="connsiteX6" fmla="*/ 131205 w 132830"/>
                  <a:gd name="connsiteY6" fmla="*/ 2618 h 35478"/>
                  <a:gd name="connsiteX7" fmla="*/ 130253 w 132830"/>
                  <a:gd name="connsiteY7" fmla="*/ 12714 h 35478"/>
                  <a:gd name="connsiteX8" fmla="*/ 66340 w 132830"/>
                  <a:gd name="connsiteY8" fmla="*/ 35479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2830" h="35478">
                    <a:moveTo>
                      <a:pt x="66340" y="35479"/>
                    </a:moveTo>
                    <a:cubicBezTo>
                      <a:pt x="43194" y="35479"/>
                      <a:pt x="20525" y="27383"/>
                      <a:pt x="2618" y="12714"/>
                    </a:cubicBezTo>
                    <a:cubicBezTo>
                      <a:pt x="-430" y="10238"/>
                      <a:pt x="-907" y="5666"/>
                      <a:pt x="1665" y="2618"/>
                    </a:cubicBezTo>
                    <a:cubicBezTo>
                      <a:pt x="4142" y="-430"/>
                      <a:pt x="8714" y="-907"/>
                      <a:pt x="11762" y="1665"/>
                    </a:cubicBezTo>
                    <a:cubicBezTo>
                      <a:pt x="27097" y="14238"/>
                      <a:pt x="46528" y="21191"/>
                      <a:pt x="66435" y="21191"/>
                    </a:cubicBezTo>
                    <a:cubicBezTo>
                      <a:pt x="86342" y="21191"/>
                      <a:pt x="105678" y="14238"/>
                      <a:pt x="121109" y="1665"/>
                    </a:cubicBezTo>
                    <a:cubicBezTo>
                      <a:pt x="124157" y="-811"/>
                      <a:pt x="128633" y="-430"/>
                      <a:pt x="131205" y="2618"/>
                    </a:cubicBezTo>
                    <a:cubicBezTo>
                      <a:pt x="133682" y="5666"/>
                      <a:pt x="133301" y="10142"/>
                      <a:pt x="130253" y="12714"/>
                    </a:cubicBezTo>
                    <a:cubicBezTo>
                      <a:pt x="112155" y="27383"/>
                      <a:pt x="89486" y="35479"/>
                      <a:pt x="66340" y="35479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3" name="Freihandform: Form 4294">
                <a:extLst>
                  <a:ext uri="{FF2B5EF4-FFF2-40B4-BE49-F238E27FC236}">
                    <a16:creationId xmlns:a16="http://schemas.microsoft.com/office/drawing/2014/main" id="{1BF976DD-77A3-9823-7E85-625CC6B8E13A}"/>
                  </a:ext>
                </a:extLst>
              </p:cNvPr>
              <p:cNvSpPr/>
              <p:nvPr/>
            </p:nvSpPr>
            <p:spPr>
              <a:xfrm>
                <a:off x="6027413" y="3421284"/>
                <a:ext cx="132640" cy="35478"/>
              </a:xfrm>
              <a:custGeom>
                <a:avLst/>
                <a:gdLst>
                  <a:gd name="connsiteX0" fmla="*/ 7150 w 132640"/>
                  <a:gd name="connsiteY0" fmla="*/ 35433 h 35478"/>
                  <a:gd name="connsiteX1" fmla="*/ 1626 w 132640"/>
                  <a:gd name="connsiteY1" fmla="*/ 32861 h 35478"/>
                  <a:gd name="connsiteX2" fmla="*/ 2578 w 132640"/>
                  <a:gd name="connsiteY2" fmla="*/ 22765 h 35478"/>
                  <a:gd name="connsiteX3" fmla="*/ 66300 w 132640"/>
                  <a:gd name="connsiteY3" fmla="*/ 0 h 35478"/>
                  <a:gd name="connsiteX4" fmla="*/ 130023 w 132640"/>
                  <a:gd name="connsiteY4" fmla="*/ 22765 h 35478"/>
                  <a:gd name="connsiteX5" fmla="*/ 130975 w 132640"/>
                  <a:gd name="connsiteY5" fmla="*/ 32861 h 35478"/>
                  <a:gd name="connsiteX6" fmla="*/ 120879 w 132640"/>
                  <a:gd name="connsiteY6" fmla="*/ 33814 h 35478"/>
                  <a:gd name="connsiteX7" fmla="*/ 66205 w 132640"/>
                  <a:gd name="connsiteY7" fmla="*/ 14288 h 35478"/>
                  <a:gd name="connsiteX8" fmla="*/ 11532 w 132640"/>
                  <a:gd name="connsiteY8" fmla="*/ 33814 h 35478"/>
                  <a:gd name="connsiteX9" fmla="*/ 7150 w 132640"/>
                  <a:gd name="connsiteY9" fmla="*/ 35433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2640" h="35478">
                    <a:moveTo>
                      <a:pt x="7150" y="35433"/>
                    </a:moveTo>
                    <a:cubicBezTo>
                      <a:pt x="5055" y="35433"/>
                      <a:pt x="3054" y="34576"/>
                      <a:pt x="1626" y="32861"/>
                    </a:cubicBezTo>
                    <a:cubicBezTo>
                      <a:pt x="-851" y="29813"/>
                      <a:pt x="-470" y="25336"/>
                      <a:pt x="2578" y="22765"/>
                    </a:cubicBezTo>
                    <a:cubicBezTo>
                      <a:pt x="20485" y="8096"/>
                      <a:pt x="43059" y="0"/>
                      <a:pt x="66300" y="0"/>
                    </a:cubicBezTo>
                    <a:cubicBezTo>
                      <a:pt x="89541" y="0"/>
                      <a:pt x="112116" y="8096"/>
                      <a:pt x="130023" y="22765"/>
                    </a:cubicBezTo>
                    <a:cubicBezTo>
                      <a:pt x="133071" y="25241"/>
                      <a:pt x="133547" y="29718"/>
                      <a:pt x="130975" y="32861"/>
                    </a:cubicBezTo>
                    <a:cubicBezTo>
                      <a:pt x="128499" y="35909"/>
                      <a:pt x="123927" y="36385"/>
                      <a:pt x="120879" y="33814"/>
                    </a:cubicBezTo>
                    <a:cubicBezTo>
                      <a:pt x="105543" y="21241"/>
                      <a:pt x="86112" y="14288"/>
                      <a:pt x="66205" y="14288"/>
                    </a:cubicBezTo>
                    <a:cubicBezTo>
                      <a:pt x="46298" y="14288"/>
                      <a:pt x="26962" y="21241"/>
                      <a:pt x="11532" y="33814"/>
                    </a:cubicBezTo>
                    <a:cubicBezTo>
                      <a:pt x="10389" y="34957"/>
                      <a:pt x="8769" y="35433"/>
                      <a:pt x="7150" y="3543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4" name="Freihandform: Form 4295">
                <a:extLst>
                  <a:ext uri="{FF2B5EF4-FFF2-40B4-BE49-F238E27FC236}">
                    <a16:creationId xmlns:a16="http://schemas.microsoft.com/office/drawing/2014/main" id="{899B13C9-4F4E-5A6E-B427-AB91E1C9618F}"/>
                  </a:ext>
                </a:extLst>
              </p:cNvPr>
              <p:cNvSpPr/>
              <p:nvPr/>
            </p:nvSpPr>
            <p:spPr>
              <a:xfrm>
                <a:off x="6086569" y="3306127"/>
                <a:ext cx="14287" cy="176307"/>
              </a:xfrm>
              <a:custGeom>
                <a:avLst/>
                <a:gdLst>
                  <a:gd name="connsiteX0" fmla="*/ 7144 w 14287"/>
                  <a:gd name="connsiteY0" fmla="*/ 176308 h 176307"/>
                  <a:gd name="connsiteX1" fmla="*/ 0 w 14287"/>
                  <a:gd name="connsiteY1" fmla="*/ 169164 h 176307"/>
                  <a:gd name="connsiteX2" fmla="*/ 0 w 14287"/>
                  <a:gd name="connsiteY2" fmla="*/ 7144 h 176307"/>
                  <a:gd name="connsiteX3" fmla="*/ 7144 w 14287"/>
                  <a:gd name="connsiteY3" fmla="*/ 0 h 176307"/>
                  <a:gd name="connsiteX4" fmla="*/ 14288 w 14287"/>
                  <a:gd name="connsiteY4" fmla="*/ 7144 h 176307"/>
                  <a:gd name="connsiteX5" fmla="*/ 14288 w 14287"/>
                  <a:gd name="connsiteY5" fmla="*/ 169164 h 176307"/>
                  <a:gd name="connsiteX6" fmla="*/ 7144 w 14287"/>
                  <a:gd name="connsiteY6" fmla="*/ 176308 h 176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76307">
                    <a:moveTo>
                      <a:pt x="7144" y="176308"/>
                    </a:moveTo>
                    <a:cubicBezTo>
                      <a:pt x="3239" y="176308"/>
                      <a:pt x="0" y="173069"/>
                      <a:pt x="0" y="16916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69164"/>
                    </a:lnTo>
                    <a:cubicBezTo>
                      <a:pt x="14288" y="173069"/>
                      <a:pt x="11144" y="176308"/>
                      <a:pt x="7144" y="17630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5" name="Freihandform: Form 4296">
                <a:extLst>
                  <a:ext uri="{FF2B5EF4-FFF2-40B4-BE49-F238E27FC236}">
                    <a16:creationId xmlns:a16="http://schemas.microsoft.com/office/drawing/2014/main" id="{303D75B9-7364-A81A-6880-A75269B65AA7}"/>
                  </a:ext>
                </a:extLst>
              </p:cNvPr>
              <p:cNvSpPr/>
              <p:nvPr/>
            </p:nvSpPr>
            <p:spPr>
              <a:xfrm>
                <a:off x="6005607" y="3387185"/>
                <a:ext cx="176307" cy="14287"/>
              </a:xfrm>
              <a:custGeom>
                <a:avLst/>
                <a:gdLst>
                  <a:gd name="connsiteX0" fmla="*/ 169164 w 176307"/>
                  <a:gd name="connsiteY0" fmla="*/ 14288 h 14287"/>
                  <a:gd name="connsiteX1" fmla="*/ 7144 w 176307"/>
                  <a:gd name="connsiteY1" fmla="*/ 14288 h 14287"/>
                  <a:gd name="connsiteX2" fmla="*/ 0 w 176307"/>
                  <a:gd name="connsiteY2" fmla="*/ 7144 h 14287"/>
                  <a:gd name="connsiteX3" fmla="*/ 7144 w 176307"/>
                  <a:gd name="connsiteY3" fmla="*/ 0 h 14287"/>
                  <a:gd name="connsiteX4" fmla="*/ 169164 w 176307"/>
                  <a:gd name="connsiteY4" fmla="*/ 0 h 14287"/>
                  <a:gd name="connsiteX5" fmla="*/ 176308 w 176307"/>
                  <a:gd name="connsiteY5" fmla="*/ 7144 h 14287"/>
                  <a:gd name="connsiteX6" fmla="*/ 169164 w 17630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6307" h="14287">
                    <a:moveTo>
                      <a:pt x="16916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69164" y="0"/>
                    </a:lnTo>
                    <a:cubicBezTo>
                      <a:pt x="173069" y="0"/>
                      <a:pt x="176308" y="3239"/>
                      <a:pt x="176308" y="7144"/>
                    </a:cubicBezTo>
                    <a:cubicBezTo>
                      <a:pt x="176308" y="11049"/>
                      <a:pt x="173069" y="14288"/>
                      <a:pt x="169164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</p:grpSp>
      </p:grpSp>
      <p:sp>
        <p:nvSpPr>
          <p:cNvPr id="166" name="TextBox 165">
            <a:extLst>
              <a:ext uri="{FF2B5EF4-FFF2-40B4-BE49-F238E27FC236}">
                <a16:creationId xmlns:a16="http://schemas.microsoft.com/office/drawing/2014/main" id="{E2091F0C-EBA8-0AB7-2C96-DCF40B2192F0}"/>
              </a:ext>
            </a:extLst>
          </p:cNvPr>
          <p:cNvSpPr txBox="1"/>
          <p:nvPr/>
        </p:nvSpPr>
        <p:spPr>
          <a:xfrm>
            <a:off x="8933837" y="5113955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Network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Elements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5BA10B0B-9C51-11D1-8C2E-F03EADB95D11}"/>
              </a:ext>
            </a:extLst>
          </p:cNvPr>
          <p:cNvSpPr txBox="1"/>
          <p:nvPr/>
        </p:nvSpPr>
        <p:spPr>
          <a:xfrm>
            <a:off x="8711556" y="3069200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FDC172EB-9D42-6E0F-D790-056334E8DE04}"/>
              </a:ext>
            </a:extLst>
          </p:cNvPr>
          <p:cNvSpPr txBox="1"/>
          <p:nvPr/>
        </p:nvSpPr>
        <p:spPr>
          <a:xfrm>
            <a:off x="8711556" y="1039642"/>
            <a:ext cx="1357143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s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ABF1D955-42CB-9B4E-3D07-5673D900AD40}"/>
              </a:ext>
            </a:extLst>
          </p:cNvPr>
          <p:cNvSpPr txBox="1"/>
          <p:nvPr/>
        </p:nvSpPr>
        <p:spPr>
          <a:xfrm>
            <a:off x="3274901" y="2202453"/>
            <a:ext cx="3061208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Northbound Interface (NBI)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73D9091E-C862-6B74-99C4-EF3C7B09812F}"/>
              </a:ext>
            </a:extLst>
          </p:cNvPr>
          <p:cNvSpPr txBox="1"/>
          <p:nvPr/>
        </p:nvSpPr>
        <p:spPr>
          <a:xfrm>
            <a:off x="3355693" y="4224638"/>
            <a:ext cx="3061208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outhbound Interface (SBI)</a:t>
            </a: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E3CFE02C-3B84-AF21-9F30-9E085858C583}"/>
              </a:ext>
            </a:extLst>
          </p:cNvPr>
          <p:cNvSpPr/>
          <p:nvPr/>
        </p:nvSpPr>
        <p:spPr>
          <a:xfrm>
            <a:off x="6861414" y="2218512"/>
            <a:ext cx="1292541" cy="424297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REST API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380F24D4-D161-D543-C3DD-0285A9C95F30}"/>
              </a:ext>
            </a:extLst>
          </p:cNvPr>
          <p:cNvSpPr/>
          <p:nvPr/>
        </p:nvSpPr>
        <p:spPr>
          <a:xfrm>
            <a:off x="6855903" y="4145846"/>
            <a:ext cx="2648582" cy="424297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OpenFlow, BGP, NetConf</a:t>
            </a:r>
          </a:p>
        </p:txBody>
      </p:sp>
    </p:spTree>
    <p:extLst>
      <p:ext uri="{BB962C8B-B14F-4D97-AF65-F5344CB8AC3E}">
        <p14:creationId xmlns:p14="http://schemas.microsoft.com/office/powerpoint/2010/main" val="428560604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7180D7-B8F1-B52E-D501-55A9A007C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6C985005-9D1D-4229-2495-1D89BE15AA22}"/>
              </a:ext>
            </a:extLst>
          </p:cNvPr>
          <p:cNvSpPr/>
          <p:nvPr/>
        </p:nvSpPr>
        <p:spPr>
          <a:xfrm>
            <a:off x="2382715" y="888023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&amp; Servic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Plan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C531273-1BE2-98B3-B565-DB06743B5A5B}"/>
              </a:ext>
            </a:extLst>
          </p:cNvPr>
          <p:cNvSpPr/>
          <p:nvPr/>
        </p:nvSpPr>
        <p:spPr>
          <a:xfrm>
            <a:off x="4434174" y="2917581"/>
            <a:ext cx="3511003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 Plan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09A65EB-0940-0E9F-FB4C-F882271A02F4}"/>
              </a:ext>
            </a:extLst>
          </p:cNvPr>
          <p:cNvSpPr/>
          <p:nvPr/>
        </p:nvSpPr>
        <p:spPr>
          <a:xfrm>
            <a:off x="2382715" y="4947139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Infrastructur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Data Plane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19A9261-B891-C9B5-DD45-B4A649760F6A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>
            <a:off x="6189676" y="3867151"/>
            <a:ext cx="108" cy="1079988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0DE886F7-7F89-FE59-A3D7-97F8EBC5007A}"/>
              </a:ext>
            </a:extLst>
          </p:cNvPr>
          <p:cNvCxnSpPr>
            <a:cxnSpLocks/>
            <a:stCxn id="5" idx="2"/>
            <a:endCxn id="6" idx="0"/>
          </p:cNvCxnSpPr>
          <p:nvPr/>
        </p:nvCxnSpPr>
        <p:spPr>
          <a:xfrm flipH="1">
            <a:off x="6189676" y="1837593"/>
            <a:ext cx="108" cy="1079988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afik 23">
            <a:extLst>
              <a:ext uri="{FF2B5EF4-FFF2-40B4-BE49-F238E27FC236}">
                <a16:creationId xmlns:a16="http://schemas.microsoft.com/office/drawing/2014/main" id="{08AAE9C9-007F-FB00-9B92-A4B37449F69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331075" y="3154460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4" name="Grafik 23">
              <a:extLst>
                <a:ext uri="{FF2B5EF4-FFF2-40B4-BE49-F238E27FC236}">
                  <a16:creationId xmlns:a16="http://schemas.microsoft.com/office/drawing/2014/main" id="{DF80250A-732F-E99E-B716-C039125961C2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5" name="Grafik 23">
              <a:extLst>
                <a:ext uri="{FF2B5EF4-FFF2-40B4-BE49-F238E27FC236}">
                  <a16:creationId xmlns:a16="http://schemas.microsoft.com/office/drawing/2014/main" id="{6974DDC5-EDB2-5A96-0F06-F89543E65AC4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6" name="Grafik 23">
              <a:extLst>
                <a:ext uri="{FF2B5EF4-FFF2-40B4-BE49-F238E27FC236}">
                  <a16:creationId xmlns:a16="http://schemas.microsoft.com/office/drawing/2014/main" id="{7989B6A3-AD97-15E2-F4AD-AF5F60D73D17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7" name="Grafik 23">
              <a:extLst>
                <a:ext uri="{FF2B5EF4-FFF2-40B4-BE49-F238E27FC236}">
                  <a16:creationId xmlns:a16="http://schemas.microsoft.com/office/drawing/2014/main" id="{6A917DA7-4162-C6FD-DC3E-CC9EA0B4C90D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8" name="Grafik 23">
              <a:extLst>
                <a:ext uri="{FF2B5EF4-FFF2-40B4-BE49-F238E27FC236}">
                  <a16:creationId xmlns:a16="http://schemas.microsoft.com/office/drawing/2014/main" id="{DD8A2928-2A28-101F-0ADA-49A39EC7E306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9" name="Grafik 23">
              <a:extLst>
                <a:ext uri="{FF2B5EF4-FFF2-40B4-BE49-F238E27FC236}">
                  <a16:creationId xmlns:a16="http://schemas.microsoft.com/office/drawing/2014/main" id="{0F293A8A-BCA8-898A-1A7B-C92E4CF2A3C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20" name="Grafik 23">
                <a:extLst>
                  <a:ext uri="{FF2B5EF4-FFF2-40B4-BE49-F238E27FC236}">
                    <a16:creationId xmlns:a16="http://schemas.microsoft.com/office/drawing/2014/main" id="{2997FC76-4B4F-6E5B-8B95-7C13A556F053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1" name="Grafik 23">
                <a:extLst>
                  <a:ext uri="{FF2B5EF4-FFF2-40B4-BE49-F238E27FC236}">
                    <a16:creationId xmlns:a16="http://schemas.microsoft.com/office/drawing/2014/main" id="{052BDCB7-4F21-C6E0-9CC8-9E536020F511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2" name="Grafik 23">
                <a:extLst>
                  <a:ext uri="{FF2B5EF4-FFF2-40B4-BE49-F238E27FC236}">
                    <a16:creationId xmlns:a16="http://schemas.microsoft.com/office/drawing/2014/main" id="{20841E43-7F27-FDBE-27DE-203DA72F4090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3" name="Grafik 23">
                <a:extLst>
                  <a:ext uri="{FF2B5EF4-FFF2-40B4-BE49-F238E27FC236}">
                    <a16:creationId xmlns:a16="http://schemas.microsoft.com/office/drawing/2014/main" id="{DCDC4410-12AE-F1E0-18F1-4C37204C9714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24" name="Grafik 17">
            <a:extLst>
              <a:ext uri="{FF2B5EF4-FFF2-40B4-BE49-F238E27FC236}">
                <a16:creationId xmlns:a16="http://schemas.microsoft.com/office/drawing/2014/main" id="{91F497C2-295D-3577-DF9E-E65919D1E25D}"/>
              </a:ext>
            </a:extLst>
          </p:cNvPr>
          <p:cNvGrpSpPr/>
          <p:nvPr/>
        </p:nvGrpSpPr>
        <p:grpSpPr bwMode="gray">
          <a:xfrm>
            <a:off x="6416901" y="5277223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25" name="Grafik 17">
              <a:extLst>
                <a:ext uri="{FF2B5EF4-FFF2-40B4-BE49-F238E27FC236}">
                  <a16:creationId xmlns:a16="http://schemas.microsoft.com/office/drawing/2014/main" id="{E926856D-C7FF-B9A0-CE12-1E2E2E9AC755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Grafik 17">
              <a:extLst>
                <a:ext uri="{FF2B5EF4-FFF2-40B4-BE49-F238E27FC236}">
                  <a16:creationId xmlns:a16="http://schemas.microsoft.com/office/drawing/2014/main" id="{3A1CB773-F39C-A91D-9094-6DD94795A80F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27" name="Grafik 17">
              <a:extLst>
                <a:ext uri="{FF2B5EF4-FFF2-40B4-BE49-F238E27FC236}">
                  <a16:creationId xmlns:a16="http://schemas.microsoft.com/office/drawing/2014/main" id="{A19705EB-725C-259A-C26D-69C70CC8177A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28" name="Grafik 17">
                <a:extLst>
                  <a:ext uri="{FF2B5EF4-FFF2-40B4-BE49-F238E27FC236}">
                    <a16:creationId xmlns:a16="http://schemas.microsoft.com/office/drawing/2014/main" id="{F61C6D14-826E-4FD0-24FD-0F54D20B55E5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41" name="Grafik 17">
                  <a:extLst>
                    <a:ext uri="{FF2B5EF4-FFF2-40B4-BE49-F238E27FC236}">
                      <a16:creationId xmlns:a16="http://schemas.microsoft.com/office/drawing/2014/main" id="{1D991740-7C7F-48FA-8D2D-95F33E854DC4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" name="Grafik 17">
                  <a:extLst>
                    <a:ext uri="{FF2B5EF4-FFF2-40B4-BE49-F238E27FC236}">
                      <a16:creationId xmlns:a16="http://schemas.microsoft.com/office/drawing/2014/main" id="{8935046B-3945-8A04-C58A-FE37ED8D1EB2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" name="Grafik 17">
                  <a:extLst>
                    <a:ext uri="{FF2B5EF4-FFF2-40B4-BE49-F238E27FC236}">
                      <a16:creationId xmlns:a16="http://schemas.microsoft.com/office/drawing/2014/main" id="{56555DB8-6DEC-D136-485C-3C0E94B467F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9" name="Grafik 17">
                <a:extLst>
                  <a:ext uri="{FF2B5EF4-FFF2-40B4-BE49-F238E27FC236}">
                    <a16:creationId xmlns:a16="http://schemas.microsoft.com/office/drawing/2014/main" id="{12630CE5-4825-2D09-B76B-5A799B906430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38" name="Grafik 17">
                  <a:extLst>
                    <a:ext uri="{FF2B5EF4-FFF2-40B4-BE49-F238E27FC236}">
                      <a16:creationId xmlns:a16="http://schemas.microsoft.com/office/drawing/2014/main" id="{8C6F64A3-88C1-A6FA-A175-28CE8C77A47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" name="Grafik 17">
                  <a:extLst>
                    <a:ext uri="{FF2B5EF4-FFF2-40B4-BE49-F238E27FC236}">
                      <a16:creationId xmlns:a16="http://schemas.microsoft.com/office/drawing/2014/main" id="{B1F681C9-4348-2933-6CAD-ED1CDC3A8A67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" name="Grafik 17">
                  <a:extLst>
                    <a:ext uri="{FF2B5EF4-FFF2-40B4-BE49-F238E27FC236}">
                      <a16:creationId xmlns:a16="http://schemas.microsoft.com/office/drawing/2014/main" id="{2C86DC6B-54A3-C5CE-CCE2-031C0B8A7E6D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0" name="Grafik 17">
                <a:extLst>
                  <a:ext uri="{FF2B5EF4-FFF2-40B4-BE49-F238E27FC236}">
                    <a16:creationId xmlns:a16="http://schemas.microsoft.com/office/drawing/2014/main" id="{EA642BEA-D54F-665C-7773-2FA8B07FC44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35" name="Grafik 17">
                  <a:extLst>
                    <a:ext uri="{FF2B5EF4-FFF2-40B4-BE49-F238E27FC236}">
                      <a16:creationId xmlns:a16="http://schemas.microsoft.com/office/drawing/2014/main" id="{D9478077-56BD-B38A-5B83-06AF88FA0E08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" name="Grafik 17">
                  <a:extLst>
                    <a:ext uri="{FF2B5EF4-FFF2-40B4-BE49-F238E27FC236}">
                      <a16:creationId xmlns:a16="http://schemas.microsoft.com/office/drawing/2014/main" id="{4BB4E390-B919-6455-BBC8-92D8A4716073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7" name="Grafik 17">
                  <a:extLst>
                    <a:ext uri="{FF2B5EF4-FFF2-40B4-BE49-F238E27FC236}">
                      <a16:creationId xmlns:a16="http://schemas.microsoft.com/office/drawing/2014/main" id="{E0E17E8D-8C97-C72D-A223-E61176ED5821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1" name="Grafik 17">
                <a:extLst>
                  <a:ext uri="{FF2B5EF4-FFF2-40B4-BE49-F238E27FC236}">
                    <a16:creationId xmlns:a16="http://schemas.microsoft.com/office/drawing/2014/main" id="{8536039E-222F-9AB6-449E-A58B6A2849C5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32" name="Grafik 17">
                  <a:extLst>
                    <a:ext uri="{FF2B5EF4-FFF2-40B4-BE49-F238E27FC236}">
                      <a16:creationId xmlns:a16="http://schemas.microsoft.com/office/drawing/2014/main" id="{402B9A9E-06CB-E0E4-DEE6-671F32F2CE7A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" name="Grafik 17">
                  <a:extLst>
                    <a:ext uri="{FF2B5EF4-FFF2-40B4-BE49-F238E27FC236}">
                      <a16:creationId xmlns:a16="http://schemas.microsoft.com/office/drawing/2014/main" id="{7031E986-B867-ACAE-6484-10439C25AACC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" name="Grafik 17">
                  <a:extLst>
                    <a:ext uri="{FF2B5EF4-FFF2-40B4-BE49-F238E27FC236}">
                      <a16:creationId xmlns:a16="http://schemas.microsoft.com/office/drawing/2014/main" id="{A7540C61-0C98-9C5C-080E-1F3FAD59B79E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85" name="Grafik 17">
            <a:extLst>
              <a:ext uri="{FF2B5EF4-FFF2-40B4-BE49-F238E27FC236}">
                <a16:creationId xmlns:a16="http://schemas.microsoft.com/office/drawing/2014/main" id="{A91491D8-6639-07D5-227E-69C83D72F457}"/>
              </a:ext>
            </a:extLst>
          </p:cNvPr>
          <p:cNvGrpSpPr/>
          <p:nvPr/>
        </p:nvGrpSpPr>
        <p:grpSpPr bwMode="gray">
          <a:xfrm>
            <a:off x="7759891" y="5277223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86" name="Grafik 17">
              <a:extLst>
                <a:ext uri="{FF2B5EF4-FFF2-40B4-BE49-F238E27FC236}">
                  <a16:creationId xmlns:a16="http://schemas.microsoft.com/office/drawing/2014/main" id="{780EFF5A-5B6A-818E-CB9F-33626E57A4FC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7" name="Grafik 17">
              <a:extLst>
                <a:ext uri="{FF2B5EF4-FFF2-40B4-BE49-F238E27FC236}">
                  <a16:creationId xmlns:a16="http://schemas.microsoft.com/office/drawing/2014/main" id="{B182D053-9896-E7F6-D935-CE1C5B1ED060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88" name="Grafik 17">
              <a:extLst>
                <a:ext uri="{FF2B5EF4-FFF2-40B4-BE49-F238E27FC236}">
                  <a16:creationId xmlns:a16="http://schemas.microsoft.com/office/drawing/2014/main" id="{5D1D717D-D745-03EC-2FF8-5F4F589334A3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89" name="Grafik 17">
                <a:extLst>
                  <a:ext uri="{FF2B5EF4-FFF2-40B4-BE49-F238E27FC236}">
                    <a16:creationId xmlns:a16="http://schemas.microsoft.com/office/drawing/2014/main" id="{7B98D2EA-1DC0-490F-6E7B-50782CEEEEF2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102" name="Grafik 17">
                  <a:extLst>
                    <a:ext uri="{FF2B5EF4-FFF2-40B4-BE49-F238E27FC236}">
                      <a16:creationId xmlns:a16="http://schemas.microsoft.com/office/drawing/2014/main" id="{13265262-FFDC-F804-127E-DAE8C450209C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3" name="Grafik 17">
                  <a:extLst>
                    <a:ext uri="{FF2B5EF4-FFF2-40B4-BE49-F238E27FC236}">
                      <a16:creationId xmlns:a16="http://schemas.microsoft.com/office/drawing/2014/main" id="{C121820F-B3CA-9B79-E783-FA667FA01C8A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4" name="Grafik 17">
                  <a:extLst>
                    <a:ext uri="{FF2B5EF4-FFF2-40B4-BE49-F238E27FC236}">
                      <a16:creationId xmlns:a16="http://schemas.microsoft.com/office/drawing/2014/main" id="{7F9AEDC7-DF34-B050-2441-E184E85D92A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0" name="Grafik 17">
                <a:extLst>
                  <a:ext uri="{FF2B5EF4-FFF2-40B4-BE49-F238E27FC236}">
                    <a16:creationId xmlns:a16="http://schemas.microsoft.com/office/drawing/2014/main" id="{1184461F-9044-1DA5-A70A-A0D2C4192C33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99" name="Grafik 17">
                  <a:extLst>
                    <a:ext uri="{FF2B5EF4-FFF2-40B4-BE49-F238E27FC236}">
                      <a16:creationId xmlns:a16="http://schemas.microsoft.com/office/drawing/2014/main" id="{7C00CA56-734E-7E76-CA1A-080908F3BEA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0" name="Grafik 17">
                  <a:extLst>
                    <a:ext uri="{FF2B5EF4-FFF2-40B4-BE49-F238E27FC236}">
                      <a16:creationId xmlns:a16="http://schemas.microsoft.com/office/drawing/2014/main" id="{51C13176-3A25-0BC3-7D12-47F24DA6EF89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1" name="Grafik 17">
                  <a:extLst>
                    <a:ext uri="{FF2B5EF4-FFF2-40B4-BE49-F238E27FC236}">
                      <a16:creationId xmlns:a16="http://schemas.microsoft.com/office/drawing/2014/main" id="{CA4E6830-ECA2-0437-3D3E-72E5B7E3F28A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1" name="Grafik 17">
                <a:extLst>
                  <a:ext uri="{FF2B5EF4-FFF2-40B4-BE49-F238E27FC236}">
                    <a16:creationId xmlns:a16="http://schemas.microsoft.com/office/drawing/2014/main" id="{DF8B37A6-9E15-AF44-1A71-BB30ED66FEA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96" name="Grafik 17">
                  <a:extLst>
                    <a:ext uri="{FF2B5EF4-FFF2-40B4-BE49-F238E27FC236}">
                      <a16:creationId xmlns:a16="http://schemas.microsoft.com/office/drawing/2014/main" id="{9C902AA8-FC79-B0DC-8A64-FD445E717E9D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7" name="Grafik 17">
                  <a:extLst>
                    <a:ext uri="{FF2B5EF4-FFF2-40B4-BE49-F238E27FC236}">
                      <a16:creationId xmlns:a16="http://schemas.microsoft.com/office/drawing/2014/main" id="{F411A9CB-4606-283B-7688-286E209DD3FD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8" name="Grafik 17">
                  <a:extLst>
                    <a:ext uri="{FF2B5EF4-FFF2-40B4-BE49-F238E27FC236}">
                      <a16:creationId xmlns:a16="http://schemas.microsoft.com/office/drawing/2014/main" id="{A10610E1-2D47-4399-90F9-B436524C5528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2" name="Grafik 17">
                <a:extLst>
                  <a:ext uri="{FF2B5EF4-FFF2-40B4-BE49-F238E27FC236}">
                    <a16:creationId xmlns:a16="http://schemas.microsoft.com/office/drawing/2014/main" id="{587A50F3-4841-C1A8-618E-F65BB570F1E1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93" name="Grafik 17">
                  <a:extLst>
                    <a:ext uri="{FF2B5EF4-FFF2-40B4-BE49-F238E27FC236}">
                      <a16:creationId xmlns:a16="http://schemas.microsoft.com/office/drawing/2014/main" id="{FA20C493-A5F5-0C44-45B0-EC50424A99B9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4" name="Grafik 17">
                  <a:extLst>
                    <a:ext uri="{FF2B5EF4-FFF2-40B4-BE49-F238E27FC236}">
                      <a16:creationId xmlns:a16="http://schemas.microsoft.com/office/drawing/2014/main" id="{E04A7F27-F745-D473-316B-0692B6DD86F1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5" name="Grafik 17">
                  <a:extLst>
                    <a:ext uri="{FF2B5EF4-FFF2-40B4-BE49-F238E27FC236}">
                      <a16:creationId xmlns:a16="http://schemas.microsoft.com/office/drawing/2014/main" id="{DCCBE77A-1F63-9D66-9707-B738844C741C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0EC0448A-3920-890A-437F-FBDF6D7E97AD}"/>
              </a:ext>
            </a:extLst>
          </p:cNvPr>
          <p:cNvGrpSpPr/>
          <p:nvPr/>
        </p:nvGrpSpPr>
        <p:grpSpPr>
          <a:xfrm>
            <a:off x="6876655" y="1140362"/>
            <a:ext cx="500062" cy="406400"/>
            <a:chOff x="2292350" y="3827463"/>
            <a:chExt cx="500062" cy="406400"/>
          </a:xfrm>
          <a:solidFill>
            <a:schemeClr val="accent1">
              <a:lumMod val="75000"/>
            </a:schemeClr>
          </a:solidFill>
        </p:grpSpPr>
        <p:sp>
          <p:nvSpPr>
            <p:cNvPr id="147" name="Freeform 195">
              <a:extLst>
                <a:ext uri="{FF2B5EF4-FFF2-40B4-BE49-F238E27FC236}">
                  <a16:creationId xmlns:a16="http://schemas.microsoft.com/office/drawing/2014/main" id="{FFFEFACA-5B37-A888-FF20-430C6E9871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2350" y="3827463"/>
              <a:ext cx="500062" cy="406400"/>
            </a:xfrm>
            <a:custGeom>
              <a:avLst/>
              <a:gdLst>
                <a:gd name="T0" fmla="*/ 0 w 133"/>
                <a:gd name="T1" fmla="*/ 100 h 108"/>
                <a:gd name="T2" fmla="*/ 8 w 133"/>
                <a:gd name="T3" fmla="*/ 108 h 108"/>
                <a:gd name="T4" fmla="*/ 125 w 133"/>
                <a:gd name="T5" fmla="*/ 108 h 108"/>
                <a:gd name="T6" fmla="*/ 133 w 133"/>
                <a:gd name="T7" fmla="*/ 100 h 108"/>
                <a:gd name="T8" fmla="*/ 133 w 133"/>
                <a:gd name="T9" fmla="*/ 9 h 108"/>
                <a:gd name="T10" fmla="*/ 125 w 133"/>
                <a:gd name="T11" fmla="*/ 0 h 108"/>
                <a:gd name="T12" fmla="*/ 8 w 133"/>
                <a:gd name="T13" fmla="*/ 0 h 108"/>
                <a:gd name="T14" fmla="*/ 5 w 133"/>
                <a:gd name="T15" fmla="*/ 1 h 108"/>
                <a:gd name="T16" fmla="*/ 0 w 133"/>
                <a:gd name="T17" fmla="*/ 9 h 108"/>
                <a:gd name="T18" fmla="*/ 0 w 133"/>
                <a:gd name="T19" fmla="*/ 22 h 108"/>
                <a:gd name="T20" fmla="*/ 0 w 133"/>
                <a:gd name="T21" fmla="*/ 22 h 108"/>
                <a:gd name="T22" fmla="*/ 0 w 133"/>
                <a:gd name="T23" fmla="*/ 100 h 108"/>
                <a:gd name="T24" fmla="*/ 3 w 133"/>
                <a:gd name="T25" fmla="*/ 9 h 108"/>
                <a:gd name="T26" fmla="*/ 6 w 133"/>
                <a:gd name="T27" fmla="*/ 5 h 108"/>
                <a:gd name="T28" fmla="*/ 8 w 133"/>
                <a:gd name="T29" fmla="*/ 4 h 108"/>
                <a:gd name="T30" fmla="*/ 125 w 133"/>
                <a:gd name="T31" fmla="*/ 4 h 108"/>
                <a:gd name="T32" fmla="*/ 129 w 133"/>
                <a:gd name="T33" fmla="*/ 9 h 108"/>
                <a:gd name="T34" fmla="*/ 129 w 133"/>
                <a:gd name="T35" fmla="*/ 20 h 108"/>
                <a:gd name="T36" fmla="*/ 3 w 133"/>
                <a:gd name="T37" fmla="*/ 20 h 108"/>
                <a:gd name="T38" fmla="*/ 3 w 133"/>
                <a:gd name="T39" fmla="*/ 9 h 108"/>
                <a:gd name="T40" fmla="*/ 3 w 133"/>
                <a:gd name="T41" fmla="*/ 24 h 108"/>
                <a:gd name="T42" fmla="*/ 129 w 133"/>
                <a:gd name="T43" fmla="*/ 24 h 108"/>
                <a:gd name="T44" fmla="*/ 129 w 133"/>
                <a:gd name="T45" fmla="*/ 100 h 108"/>
                <a:gd name="T46" fmla="*/ 125 w 133"/>
                <a:gd name="T47" fmla="*/ 104 h 108"/>
                <a:gd name="T48" fmla="*/ 8 w 133"/>
                <a:gd name="T49" fmla="*/ 104 h 108"/>
                <a:gd name="T50" fmla="*/ 3 w 133"/>
                <a:gd name="T51" fmla="*/ 100 h 108"/>
                <a:gd name="T52" fmla="*/ 3 w 133"/>
                <a:gd name="T53" fmla="*/ 2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3" h="108">
                  <a:moveTo>
                    <a:pt x="0" y="100"/>
                  </a:moveTo>
                  <a:cubicBezTo>
                    <a:pt x="0" y="105"/>
                    <a:pt x="3" y="108"/>
                    <a:pt x="8" y="108"/>
                  </a:cubicBezTo>
                  <a:cubicBezTo>
                    <a:pt x="125" y="108"/>
                    <a:pt x="125" y="108"/>
                    <a:pt x="125" y="108"/>
                  </a:cubicBezTo>
                  <a:cubicBezTo>
                    <a:pt x="129" y="108"/>
                    <a:pt x="133" y="105"/>
                    <a:pt x="133" y="100"/>
                  </a:cubicBezTo>
                  <a:cubicBezTo>
                    <a:pt x="133" y="9"/>
                    <a:pt x="133" y="9"/>
                    <a:pt x="133" y="9"/>
                  </a:cubicBezTo>
                  <a:cubicBezTo>
                    <a:pt x="133" y="4"/>
                    <a:pt x="129" y="0"/>
                    <a:pt x="12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2" y="2"/>
                    <a:pt x="0" y="5"/>
                    <a:pt x="0" y="9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0" y="100"/>
                  </a:lnTo>
                  <a:close/>
                  <a:moveTo>
                    <a:pt x="3" y="9"/>
                  </a:moveTo>
                  <a:cubicBezTo>
                    <a:pt x="3" y="7"/>
                    <a:pt x="5" y="5"/>
                    <a:pt x="6" y="5"/>
                  </a:cubicBezTo>
                  <a:cubicBezTo>
                    <a:pt x="7" y="4"/>
                    <a:pt x="7" y="4"/>
                    <a:pt x="8" y="4"/>
                  </a:cubicBezTo>
                  <a:cubicBezTo>
                    <a:pt x="125" y="4"/>
                    <a:pt x="125" y="4"/>
                    <a:pt x="125" y="4"/>
                  </a:cubicBezTo>
                  <a:cubicBezTo>
                    <a:pt x="127" y="4"/>
                    <a:pt x="129" y="6"/>
                    <a:pt x="129" y="9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3" y="20"/>
                    <a:pt x="3" y="20"/>
                    <a:pt x="3" y="20"/>
                  </a:cubicBezTo>
                  <a:lnTo>
                    <a:pt x="3" y="9"/>
                  </a:lnTo>
                  <a:close/>
                  <a:moveTo>
                    <a:pt x="3" y="24"/>
                  </a:moveTo>
                  <a:cubicBezTo>
                    <a:pt x="129" y="24"/>
                    <a:pt x="129" y="24"/>
                    <a:pt x="129" y="24"/>
                  </a:cubicBezTo>
                  <a:cubicBezTo>
                    <a:pt x="129" y="100"/>
                    <a:pt x="129" y="100"/>
                    <a:pt x="129" y="100"/>
                  </a:cubicBezTo>
                  <a:cubicBezTo>
                    <a:pt x="129" y="102"/>
                    <a:pt x="127" y="104"/>
                    <a:pt x="125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6" y="104"/>
                    <a:pt x="3" y="102"/>
                    <a:pt x="3" y="100"/>
                  </a:cubicBezTo>
                  <a:lnTo>
                    <a:pt x="3" y="24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8" name="Freeform 196">
              <a:extLst>
                <a:ext uri="{FF2B5EF4-FFF2-40B4-BE49-F238E27FC236}">
                  <a16:creationId xmlns:a16="http://schemas.microsoft.com/office/drawing/2014/main" id="{7E4FFC05-A5B6-1F53-3674-0DAB88E647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8863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9" name="Freeform 197">
              <a:extLst>
                <a:ext uri="{FF2B5EF4-FFF2-40B4-BE49-F238E27FC236}">
                  <a16:creationId xmlns:a16="http://schemas.microsoft.com/office/drawing/2014/main" id="{4A13F26F-6CED-042B-F024-752A85EC00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188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0" name="Freeform 198">
              <a:extLst>
                <a:ext uri="{FF2B5EF4-FFF2-40B4-BE49-F238E27FC236}">
                  <a16:creationId xmlns:a16="http://schemas.microsoft.com/office/drawing/2014/main" id="{11C78C8B-C7C6-C50E-CB81-B3D7A7E579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9025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1" name="Freeform 199">
              <a:extLst>
                <a:ext uri="{FF2B5EF4-FFF2-40B4-BE49-F238E27FC236}">
                  <a16:creationId xmlns:a16="http://schemas.microsoft.com/office/drawing/2014/main" id="{535BBEC5-75D0-B5DA-681A-827787332A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3000" y="4033838"/>
              <a:ext cx="104775" cy="106363"/>
            </a:xfrm>
            <a:custGeom>
              <a:avLst/>
              <a:gdLst>
                <a:gd name="T0" fmla="*/ 12 w 28"/>
                <a:gd name="T1" fmla="*/ 27 h 28"/>
                <a:gd name="T2" fmla="*/ 13 w 28"/>
                <a:gd name="T3" fmla="*/ 28 h 28"/>
                <a:gd name="T4" fmla="*/ 21 w 28"/>
                <a:gd name="T5" fmla="*/ 25 h 28"/>
                <a:gd name="T6" fmla="*/ 23 w 28"/>
                <a:gd name="T7" fmla="*/ 7 h 28"/>
                <a:gd name="T8" fmla="*/ 5 w 28"/>
                <a:gd name="T9" fmla="*/ 5 h 28"/>
                <a:gd name="T10" fmla="*/ 0 w 28"/>
                <a:gd name="T11" fmla="*/ 13 h 28"/>
                <a:gd name="T12" fmla="*/ 3 w 28"/>
                <a:gd name="T13" fmla="*/ 23 h 28"/>
                <a:gd name="T14" fmla="*/ 12 w 28"/>
                <a:gd name="T15" fmla="*/ 27 h 28"/>
                <a:gd name="T16" fmla="*/ 4 w 28"/>
                <a:gd name="T17" fmla="*/ 14 h 28"/>
                <a:gd name="T18" fmla="*/ 8 w 28"/>
                <a:gd name="T19" fmla="*/ 8 h 28"/>
                <a:gd name="T20" fmla="*/ 13 w 28"/>
                <a:gd name="T21" fmla="*/ 6 h 28"/>
                <a:gd name="T22" fmla="*/ 20 w 28"/>
                <a:gd name="T23" fmla="*/ 9 h 28"/>
                <a:gd name="T24" fmla="*/ 19 w 28"/>
                <a:gd name="T25" fmla="*/ 22 h 28"/>
                <a:gd name="T26" fmla="*/ 12 w 28"/>
                <a:gd name="T27" fmla="*/ 24 h 28"/>
                <a:gd name="T28" fmla="*/ 6 w 28"/>
                <a:gd name="T29" fmla="*/ 20 h 28"/>
                <a:gd name="T30" fmla="*/ 4 w 28"/>
                <a:gd name="T31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2" y="27"/>
                  </a:moveTo>
                  <a:cubicBezTo>
                    <a:pt x="12" y="28"/>
                    <a:pt x="13" y="28"/>
                    <a:pt x="13" y="28"/>
                  </a:cubicBezTo>
                  <a:cubicBezTo>
                    <a:pt x="16" y="28"/>
                    <a:pt x="19" y="27"/>
                    <a:pt x="21" y="25"/>
                  </a:cubicBezTo>
                  <a:cubicBezTo>
                    <a:pt x="27" y="20"/>
                    <a:pt x="28" y="12"/>
                    <a:pt x="23" y="7"/>
                  </a:cubicBezTo>
                  <a:cubicBezTo>
                    <a:pt x="19" y="1"/>
                    <a:pt x="11" y="0"/>
                    <a:pt x="5" y="5"/>
                  </a:cubicBezTo>
                  <a:cubicBezTo>
                    <a:pt x="2" y="7"/>
                    <a:pt x="1" y="10"/>
                    <a:pt x="0" y="13"/>
                  </a:cubicBezTo>
                  <a:cubicBezTo>
                    <a:pt x="0" y="17"/>
                    <a:pt x="1" y="20"/>
                    <a:pt x="3" y="23"/>
                  </a:cubicBezTo>
                  <a:cubicBezTo>
                    <a:pt x="5" y="25"/>
                    <a:pt x="8" y="27"/>
                    <a:pt x="12" y="27"/>
                  </a:cubicBezTo>
                  <a:close/>
                  <a:moveTo>
                    <a:pt x="4" y="14"/>
                  </a:moveTo>
                  <a:cubicBezTo>
                    <a:pt x="5" y="11"/>
                    <a:pt x="6" y="9"/>
                    <a:pt x="8" y="8"/>
                  </a:cubicBezTo>
                  <a:cubicBezTo>
                    <a:pt x="9" y="7"/>
                    <a:pt x="11" y="6"/>
                    <a:pt x="13" y="6"/>
                  </a:cubicBezTo>
                  <a:cubicBezTo>
                    <a:pt x="16" y="6"/>
                    <a:pt x="18" y="7"/>
                    <a:pt x="20" y="9"/>
                  </a:cubicBezTo>
                  <a:cubicBezTo>
                    <a:pt x="23" y="13"/>
                    <a:pt x="22" y="19"/>
                    <a:pt x="19" y="22"/>
                  </a:cubicBezTo>
                  <a:cubicBezTo>
                    <a:pt x="17" y="23"/>
                    <a:pt x="14" y="24"/>
                    <a:pt x="12" y="24"/>
                  </a:cubicBezTo>
                  <a:cubicBezTo>
                    <a:pt x="10" y="23"/>
                    <a:pt x="8" y="22"/>
                    <a:pt x="6" y="20"/>
                  </a:cubicBezTo>
                  <a:cubicBezTo>
                    <a:pt x="5" y="18"/>
                    <a:pt x="4" y="16"/>
                    <a:pt x="4" y="14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2" name="Freeform 200">
              <a:extLst>
                <a:ext uri="{FF2B5EF4-FFF2-40B4-BE49-F238E27FC236}">
                  <a16:creationId xmlns:a16="http://schemas.microsoft.com/office/drawing/2014/main" id="{0BB6D32A-CDA4-F862-EAFC-6E25FCF01D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9025" y="3989388"/>
              <a:ext cx="204787" cy="203200"/>
            </a:xfrm>
            <a:custGeom>
              <a:avLst/>
              <a:gdLst>
                <a:gd name="T0" fmla="*/ 7 w 54"/>
                <a:gd name="T1" fmla="*/ 34 h 54"/>
                <a:gd name="T2" fmla="*/ 7 w 54"/>
                <a:gd name="T3" fmla="*/ 45 h 54"/>
                <a:gd name="T4" fmla="*/ 15 w 54"/>
                <a:gd name="T5" fmla="*/ 44 h 54"/>
                <a:gd name="T6" fmla="*/ 19 w 54"/>
                <a:gd name="T7" fmla="*/ 51 h 54"/>
                <a:gd name="T8" fmla="*/ 26 w 54"/>
                <a:gd name="T9" fmla="*/ 54 h 54"/>
                <a:gd name="T10" fmla="*/ 35 w 54"/>
                <a:gd name="T11" fmla="*/ 46 h 54"/>
                <a:gd name="T12" fmla="*/ 43 w 54"/>
                <a:gd name="T13" fmla="*/ 49 h 54"/>
                <a:gd name="T14" fmla="*/ 46 w 54"/>
                <a:gd name="T15" fmla="*/ 40 h 54"/>
                <a:gd name="T16" fmla="*/ 48 w 54"/>
                <a:gd name="T17" fmla="*/ 35 h 54"/>
                <a:gd name="T18" fmla="*/ 54 w 54"/>
                <a:gd name="T19" fmla="*/ 28 h 54"/>
                <a:gd name="T20" fmla="*/ 48 w 54"/>
                <a:gd name="T21" fmla="*/ 23 h 54"/>
                <a:gd name="T22" fmla="*/ 49 w 54"/>
                <a:gd name="T23" fmla="*/ 11 h 54"/>
                <a:gd name="T24" fmla="*/ 40 w 54"/>
                <a:gd name="T25" fmla="*/ 8 h 54"/>
                <a:gd name="T26" fmla="*/ 36 w 54"/>
                <a:gd name="T27" fmla="*/ 6 h 54"/>
                <a:gd name="T28" fmla="*/ 23 w 54"/>
                <a:gd name="T29" fmla="*/ 4 h 54"/>
                <a:gd name="T30" fmla="*/ 18 w 54"/>
                <a:gd name="T31" fmla="*/ 6 h 54"/>
                <a:gd name="T32" fmla="*/ 9 w 54"/>
                <a:gd name="T33" fmla="*/ 7 h 54"/>
                <a:gd name="T34" fmla="*/ 8 w 54"/>
                <a:gd name="T35" fmla="*/ 18 h 54"/>
                <a:gd name="T36" fmla="*/ 0 w 54"/>
                <a:gd name="T37" fmla="*/ 25 h 54"/>
                <a:gd name="T38" fmla="*/ 6 w 54"/>
                <a:gd name="T39" fmla="*/ 22 h 54"/>
                <a:gd name="T40" fmla="*/ 13 w 54"/>
                <a:gd name="T41" fmla="*/ 16 h 54"/>
                <a:gd name="T42" fmla="*/ 12 w 54"/>
                <a:gd name="T43" fmla="*/ 10 h 54"/>
                <a:gd name="T44" fmla="*/ 15 w 54"/>
                <a:gd name="T45" fmla="*/ 8 h 54"/>
                <a:gd name="T46" fmla="*/ 25 w 54"/>
                <a:gd name="T47" fmla="*/ 10 h 54"/>
                <a:gd name="T48" fmla="*/ 28 w 54"/>
                <a:gd name="T49" fmla="*/ 4 h 54"/>
                <a:gd name="T50" fmla="*/ 32 w 54"/>
                <a:gd name="T51" fmla="*/ 8 h 54"/>
                <a:gd name="T52" fmla="*/ 40 w 54"/>
                <a:gd name="T53" fmla="*/ 13 h 54"/>
                <a:gd name="T54" fmla="*/ 43 w 54"/>
                <a:gd name="T55" fmla="*/ 11 h 54"/>
                <a:gd name="T56" fmla="*/ 46 w 54"/>
                <a:gd name="T57" fmla="*/ 15 h 54"/>
                <a:gd name="T58" fmla="*/ 44 w 54"/>
                <a:gd name="T59" fmla="*/ 25 h 54"/>
                <a:gd name="T60" fmla="*/ 50 w 54"/>
                <a:gd name="T61" fmla="*/ 27 h 54"/>
                <a:gd name="T62" fmla="*/ 49 w 54"/>
                <a:gd name="T63" fmla="*/ 31 h 54"/>
                <a:gd name="T64" fmla="*/ 43 w 54"/>
                <a:gd name="T65" fmla="*/ 33 h 54"/>
                <a:gd name="T66" fmla="*/ 43 w 54"/>
                <a:gd name="T67" fmla="*/ 42 h 54"/>
                <a:gd name="T68" fmla="*/ 40 w 54"/>
                <a:gd name="T69" fmla="*/ 45 h 54"/>
                <a:gd name="T70" fmla="*/ 37 w 54"/>
                <a:gd name="T71" fmla="*/ 43 h 54"/>
                <a:gd name="T72" fmla="*/ 28 w 54"/>
                <a:gd name="T73" fmla="*/ 46 h 54"/>
                <a:gd name="T74" fmla="*/ 23 w 54"/>
                <a:gd name="T75" fmla="*/ 49 h 54"/>
                <a:gd name="T76" fmla="*/ 23 w 54"/>
                <a:gd name="T77" fmla="*/ 45 h 54"/>
                <a:gd name="T78" fmla="*/ 15 w 54"/>
                <a:gd name="T79" fmla="*/ 40 h 54"/>
                <a:gd name="T80" fmla="*/ 11 w 54"/>
                <a:gd name="T81" fmla="*/ 43 h 54"/>
                <a:gd name="T82" fmla="*/ 9 w 54"/>
                <a:gd name="T83" fmla="*/ 39 h 54"/>
                <a:gd name="T84" fmla="*/ 10 w 54"/>
                <a:gd name="T85" fmla="*/ 29 h 54"/>
                <a:gd name="T86" fmla="*/ 4 w 54"/>
                <a:gd name="T87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" h="54">
                  <a:moveTo>
                    <a:pt x="5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4" y="37"/>
                    <a:pt x="4" y="40"/>
                    <a:pt x="5" y="42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8" y="46"/>
                    <a:pt x="9" y="46"/>
                    <a:pt x="10" y="47"/>
                  </a:cubicBezTo>
                  <a:cubicBezTo>
                    <a:pt x="12" y="47"/>
                    <a:pt x="13" y="46"/>
                    <a:pt x="14" y="45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6" y="45"/>
                    <a:pt x="17" y="46"/>
                    <a:pt x="19" y="46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9"/>
                    <a:pt x="19" y="50"/>
                    <a:pt x="19" y="51"/>
                  </a:cubicBezTo>
                  <a:cubicBezTo>
                    <a:pt x="20" y="52"/>
                    <a:pt x="21" y="53"/>
                    <a:pt x="23" y="53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9" y="54"/>
                    <a:pt x="31" y="52"/>
                    <a:pt x="31" y="49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2" y="47"/>
                    <a:pt x="34" y="47"/>
                    <a:pt x="35" y="46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9"/>
                    <a:pt x="38" y="49"/>
                    <a:pt x="39" y="50"/>
                  </a:cubicBezTo>
                  <a:cubicBezTo>
                    <a:pt x="40" y="50"/>
                    <a:pt x="42" y="49"/>
                    <a:pt x="43" y="49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6"/>
                    <a:pt x="47" y="45"/>
                    <a:pt x="47" y="43"/>
                  </a:cubicBezTo>
                  <a:cubicBezTo>
                    <a:pt x="47" y="42"/>
                    <a:pt x="47" y="41"/>
                    <a:pt x="46" y="40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7"/>
                    <a:pt x="46" y="36"/>
                    <a:pt x="46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9" y="36"/>
                    <a:pt x="51" y="35"/>
                    <a:pt x="52" y="34"/>
                  </a:cubicBezTo>
                  <a:cubicBezTo>
                    <a:pt x="53" y="34"/>
                    <a:pt x="53" y="32"/>
                    <a:pt x="54" y="31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7"/>
                    <a:pt x="54" y="26"/>
                    <a:pt x="53" y="25"/>
                  </a:cubicBezTo>
                  <a:cubicBezTo>
                    <a:pt x="52" y="23"/>
                    <a:pt x="51" y="23"/>
                    <a:pt x="49" y="23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8" y="21"/>
                    <a:pt x="47" y="20"/>
                    <a:pt x="47" y="19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50" y="16"/>
                    <a:pt x="51" y="13"/>
                    <a:pt x="49" y="11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6" y="8"/>
                    <a:pt x="45" y="7"/>
                    <a:pt x="44" y="7"/>
                  </a:cubicBezTo>
                  <a:cubicBezTo>
                    <a:pt x="42" y="7"/>
                    <a:pt x="41" y="7"/>
                    <a:pt x="40" y="8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8"/>
                    <a:pt x="37" y="8"/>
                    <a:pt x="36" y="7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4" y="1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6" y="0"/>
                    <a:pt x="23" y="2"/>
                    <a:pt x="23" y="4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6"/>
                    <a:pt x="21" y="7"/>
                    <a:pt x="19" y="7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5"/>
                    <a:pt x="16" y="4"/>
                    <a:pt x="15" y="4"/>
                  </a:cubicBezTo>
                  <a:cubicBezTo>
                    <a:pt x="14" y="4"/>
                    <a:pt x="12" y="4"/>
                    <a:pt x="11" y="5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7" y="8"/>
                    <a:pt x="7" y="12"/>
                    <a:pt x="8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6"/>
                    <a:pt x="8" y="17"/>
                    <a:pt x="8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3" y="18"/>
                    <a:pt x="1" y="20"/>
                    <a:pt x="1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2" y="31"/>
                    <a:pt x="5" y="31"/>
                  </a:cubicBezTo>
                  <a:close/>
                  <a:moveTo>
                    <a:pt x="5" y="23"/>
                  </a:moveTo>
                  <a:cubicBezTo>
                    <a:pt x="5" y="22"/>
                    <a:pt x="5" y="22"/>
                    <a:pt x="6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0" y="22"/>
                    <a:pt x="11" y="22"/>
                    <a:pt x="11" y="21"/>
                  </a:cubicBezTo>
                  <a:cubicBezTo>
                    <a:pt x="11" y="19"/>
                    <a:pt x="12" y="18"/>
                    <a:pt x="13" y="16"/>
                  </a:cubicBezTo>
                  <a:cubicBezTo>
                    <a:pt x="14" y="15"/>
                    <a:pt x="14" y="14"/>
                    <a:pt x="13" y="14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0"/>
                    <a:pt x="12" y="10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1"/>
                    <a:pt x="19" y="12"/>
                    <a:pt x="20" y="11"/>
                  </a:cubicBezTo>
                  <a:cubicBezTo>
                    <a:pt x="21" y="10"/>
                    <a:pt x="23" y="10"/>
                    <a:pt x="25" y="10"/>
                  </a:cubicBezTo>
                  <a:cubicBezTo>
                    <a:pt x="26" y="10"/>
                    <a:pt x="27" y="9"/>
                    <a:pt x="27" y="8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4"/>
                    <a:pt x="28" y="4"/>
                    <a:pt x="28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4"/>
                    <a:pt x="32" y="5"/>
                    <a:pt x="32" y="5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1" y="9"/>
                    <a:pt x="32" y="10"/>
                    <a:pt x="33" y="11"/>
                  </a:cubicBezTo>
                  <a:cubicBezTo>
                    <a:pt x="35" y="11"/>
                    <a:pt x="36" y="12"/>
                    <a:pt x="38" y="13"/>
                  </a:cubicBezTo>
                  <a:cubicBezTo>
                    <a:pt x="38" y="14"/>
                    <a:pt x="39" y="14"/>
                    <a:pt x="40" y="13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4" y="11"/>
                    <a:pt x="44" y="1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5"/>
                    <a:pt x="46" y="15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2" y="18"/>
                    <a:pt x="42" y="19"/>
                    <a:pt x="43" y="19"/>
                  </a:cubicBezTo>
                  <a:cubicBezTo>
                    <a:pt x="43" y="21"/>
                    <a:pt x="44" y="23"/>
                    <a:pt x="44" y="25"/>
                  </a:cubicBezTo>
                  <a:cubicBezTo>
                    <a:pt x="44" y="25"/>
                    <a:pt x="45" y="26"/>
                    <a:pt x="46" y="26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8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49" y="31"/>
                    <a:pt x="49" y="31"/>
                  </a:cubicBezTo>
                  <a:cubicBezTo>
                    <a:pt x="49" y="31"/>
                    <a:pt x="49" y="32"/>
                    <a:pt x="49" y="32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5" y="31"/>
                    <a:pt x="44" y="32"/>
                    <a:pt x="43" y="33"/>
                  </a:cubicBezTo>
                  <a:cubicBezTo>
                    <a:pt x="43" y="34"/>
                    <a:pt x="42" y="36"/>
                    <a:pt x="41" y="37"/>
                  </a:cubicBezTo>
                  <a:cubicBezTo>
                    <a:pt x="40" y="38"/>
                    <a:pt x="40" y="39"/>
                    <a:pt x="41" y="40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3"/>
                    <a:pt x="43" y="43"/>
                  </a:cubicBezTo>
                  <a:cubicBezTo>
                    <a:pt x="43" y="43"/>
                    <a:pt x="43" y="43"/>
                    <a:pt x="43" y="44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39" y="46"/>
                    <a:pt x="39" y="46"/>
                    <a:pt x="39" y="45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6" y="42"/>
                    <a:pt x="35" y="42"/>
                    <a:pt x="34" y="42"/>
                  </a:cubicBezTo>
                  <a:cubicBezTo>
                    <a:pt x="33" y="43"/>
                    <a:pt x="31" y="44"/>
                    <a:pt x="29" y="44"/>
                  </a:cubicBezTo>
                  <a:cubicBezTo>
                    <a:pt x="28" y="44"/>
                    <a:pt x="28" y="45"/>
                    <a:pt x="28" y="46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2" y="49"/>
                    <a:pt x="22" y="49"/>
                    <a:pt x="22" y="48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2" y="43"/>
                    <a:pt x="21" y="43"/>
                  </a:cubicBezTo>
                  <a:cubicBezTo>
                    <a:pt x="20" y="42"/>
                    <a:pt x="18" y="41"/>
                    <a:pt x="17" y="40"/>
                  </a:cubicBezTo>
                  <a:cubicBezTo>
                    <a:pt x="16" y="40"/>
                    <a:pt x="16" y="40"/>
                    <a:pt x="15" y="40"/>
                  </a:cubicBezTo>
                  <a:cubicBezTo>
                    <a:pt x="15" y="40"/>
                    <a:pt x="14" y="40"/>
                    <a:pt x="14" y="40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3"/>
                    <a:pt x="10" y="43"/>
                    <a:pt x="10" y="4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39"/>
                    <a:pt x="9" y="39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2" y="36"/>
                    <a:pt x="12" y="35"/>
                    <a:pt x="12" y="34"/>
                  </a:cubicBezTo>
                  <a:cubicBezTo>
                    <a:pt x="11" y="32"/>
                    <a:pt x="10" y="31"/>
                    <a:pt x="10" y="29"/>
                  </a:cubicBezTo>
                  <a:cubicBezTo>
                    <a:pt x="10" y="28"/>
                    <a:pt x="9" y="27"/>
                    <a:pt x="8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lnTo>
                    <a:pt x="5" y="23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3" name="Freeform 201">
              <a:extLst>
                <a:ext uri="{FF2B5EF4-FFF2-40B4-BE49-F238E27FC236}">
                  <a16:creationId xmlns:a16="http://schemas.microsoft.com/office/drawing/2014/main" id="{9B652DED-4EB8-0B32-947A-CE43FDA7A2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3975" y="3992563"/>
              <a:ext cx="90487" cy="84138"/>
            </a:xfrm>
            <a:custGeom>
              <a:avLst/>
              <a:gdLst>
                <a:gd name="T0" fmla="*/ 7 w 24"/>
                <a:gd name="T1" fmla="*/ 21 h 22"/>
                <a:gd name="T2" fmla="*/ 12 w 24"/>
                <a:gd name="T3" fmla="*/ 22 h 22"/>
                <a:gd name="T4" fmla="*/ 15 w 24"/>
                <a:gd name="T5" fmla="*/ 22 h 22"/>
                <a:gd name="T6" fmla="*/ 21 w 24"/>
                <a:gd name="T7" fmla="*/ 17 h 22"/>
                <a:gd name="T8" fmla="*/ 17 w 24"/>
                <a:gd name="T9" fmla="*/ 2 h 22"/>
                <a:gd name="T10" fmla="*/ 3 w 24"/>
                <a:gd name="T11" fmla="*/ 7 h 22"/>
                <a:gd name="T12" fmla="*/ 7 w 24"/>
                <a:gd name="T13" fmla="*/ 21 h 22"/>
                <a:gd name="T14" fmla="*/ 6 w 24"/>
                <a:gd name="T15" fmla="*/ 9 h 22"/>
                <a:gd name="T16" fmla="*/ 12 w 24"/>
                <a:gd name="T17" fmla="*/ 5 h 22"/>
                <a:gd name="T18" fmla="*/ 15 w 24"/>
                <a:gd name="T19" fmla="*/ 6 h 22"/>
                <a:gd name="T20" fmla="*/ 18 w 24"/>
                <a:gd name="T21" fmla="*/ 15 h 22"/>
                <a:gd name="T22" fmla="*/ 14 w 24"/>
                <a:gd name="T23" fmla="*/ 18 h 22"/>
                <a:gd name="T24" fmla="*/ 9 w 24"/>
                <a:gd name="T25" fmla="*/ 18 h 22"/>
                <a:gd name="T26" fmla="*/ 6 w 24"/>
                <a:gd name="T27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22">
                  <a:moveTo>
                    <a:pt x="7" y="21"/>
                  </a:moveTo>
                  <a:cubicBezTo>
                    <a:pt x="8" y="22"/>
                    <a:pt x="10" y="22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ubicBezTo>
                    <a:pt x="18" y="21"/>
                    <a:pt x="20" y="19"/>
                    <a:pt x="21" y="17"/>
                  </a:cubicBezTo>
                  <a:cubicBezTo>
                    <a:pt x="24" y="12"/>
                    <a:pt x="22" y="5"/>
                    <a:pt x="17" y="2"/>
                  </a:cubicBezTo>
                  <a:cubicBezTo>
                    <a:pt x="12" y="0"/>
                    <a:pt x="5" y="2"/>
                    <a:pt x="3" y="7"/>
                  </a:cubicBezTo>
                  <a:cubicBezTo>
                    <a:pt x="0" y="12"/>
                    <a:pt x="2" y="18"/>
                    <a:pt x="7" y="21"/>
                  </a:cubicBezTo>
                  <a:close/>
                  <a:moveTo>
                    <a:pt x="6" y="9"/>
                  </a:moveTo>
                  <a:cubicBezTo>
                    <a:pt x="7" y="6"/>
                    <a:pt x="10" y="5"/>
                    <a:pt x="12" y="5"/>
                  </a:cubicBezTo>
                  <a:cubicBezTo>
                    <a:pt x="13" y="5"/>
                    <a:pt x="14" y="5"/>
                    <a:pt x="15" y="6"/>
                  </a:cubicBezTo>
                  <a:cubicBezTo>
                    <a:pt x="18" y="8"/>
                    <a:pt x="20" y="12"/>
                    <a:pt x="18" y="15"/>
                  </a:cubicBezTo>
                  <a:cubicBezTo>
                    <a:pt x="17" y="17"/>
                    <a:pt x="16" y="18"/>
                    <a:pt x="14" y="18"/>
                  </a:cubicBezTo>
                  <a:cubicBezTo>
                    <a:pt x="12" y="19"/>
                    <a:pt x="10" y="19"/>
                    <a:pt x="9" y="18"/>
                  </a:cubicBezTo>
                  <a:cubicBezTo>
                    <a:pt x="5" y="16"/>
                    <a:pt x="4" y="12"/>
                    <a:pt x="6" y="9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4" name="Freeform 202">
              <a:extLst>
                <a:ext uri="{FF2B5EF4-FFF2-40B4-BE49-F238E27FC236}">
                  <a16:creationId xmlns:a16="http://schemas.microsoft.com/office/drawing/2014/main" id="{0FC739EA-1709-AC13-7B04-CC2974E4CA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1113" y="3951288"/>
              <a:ext cx="174625" cy="169863"/>
            </a:xfrm>
            <a:custGeom>
              <a:avLst/>
              <a:gdLst>
                <a:gd name="T0" fmla="*/ 1 w 46"/>
                <a:gd name="T1" fmla="*/ 28 h 45"/>
                <a:gd name="T2" fmla="*/ 7 w 46"/>
                <a:gd name="T3" fmla="*/ 34 h 45"/>
                <a:gd name="T4" fmla="*/ 10 w 46"/>
                <a:gd name="T5" fmla="*/ 35 h 45"/>
                <a:gd name="T6" fmla="*/ 11 w 46"/>
                <a:gd name="T7" fmla="*/ 42 h 45"/>
                <a:gd name="T8" fmla="*/ 19 w 46"/>
                <a:gd name="T9" fmla="*/ 42 h 45"/>
                <a:gd name="T10" fmla="*/ 22 w 46"/>
                <a:gd name="T11" fmla="*/ 41 h 45"/>
                <a:gd name="T12" fmla="*/ 27 w 46"/>
                <a:gd name="T13" fmla="*/ 45 h 45"/>
                <a:gd name="T14" fmla="*/ 31 w 46"/>
                <a:gd name="T15" fmla="*/ 44 h 45"/>
                <a:gd name="T16" fmla="*/ 34 w 46"/>
                <a:gd name="T17" fmla="*/ 39 h 45"/>
                <a:gd name="T18" fmla="*/ 35 w 46"/>
                <a:gd name="T19" fmla="*/ 36 h 45"/>
                <a:gd name="T20" fmla="*/ 43 w 46"/>
                <a:gd name="T21" fmla="*/ 35 h 45"/>
                <a:gd name="T22" fmla="*/ 42 w 46"/>
                <a:gd name="T23" fmla="*/ 26 h 45"/>
                <a:gd name="T24" fmla="*/ 41 w 46"/>
                <a:gd name="T25" fmla="*/ 23 h 45"/>
                <a:gd name="T26" fmla="*/ 45 w 46"/>
                <a:gd name="T27" fmla="*/ 17 h 45"/>
                <a:gd name="T28" fmla="*/ 39 w 46"/>
                <a:gd name="T29" fmla="*/ 12 h 45"/>
                <a:gd name="T30" fmla="*/ 36 w 46"/>
                <a:gd name="T31" fmla="*/ 10 h 45"/>
                <a:gd name="T32" fmla="*/ 37 w 46"/>
                <a:gd name="T33" fmla="*/ 6 h 45"/>
                <a:gd name="T34" fmla="*/ 33 w 46"/>
                <a:gd name="T35" fmla="*/ 2 h 45"/>
                <a:gd name="T36" fmla="*/ 27 w 46"/>
                <a:gd name="T37" fmla="*/ 4 h 45"/>
                <a:gd name="T38" fmla="*/ 23 w 46"/>
                <a:gd name="T39" fmla="*/ 5 h 45"/>
                <a:gd name="T40" fmla="*/ 17 w 46"/>
                <a:gd name="T41" fmla="*/ 0 h 45"/>
                <a:gd name="T42" fmla="*/ 12 w 46"/>
                <a:gd name="T43" fmla="*/ 7 h 45"/>
                <a:gd name="T44" fmla="*/ 10 w 46"/>
                <a:gd name="T45" fmla="*/ 10 h 45"/>
                <a:gd name="T46" fmla="*/ 6 w 46"/>
                <a:gd name="T47" fmla="*/ 9 h 45"/>
                <a:gd name="T48" fmla="*/ 2 w 46"/>
                <a:gd name="T49" fmla="*/ 13 h 45"/>
                <a:gd name="T50" fmla="*/ 4 w 46"/>
                <a:gd name="T51" fmla="*/ 19 h 45"/>
                <a:gd name="T52" fmla="*/ 5 w 46"/>
                <a:gd name="T53" fmla="*/ 22 h 45"/>
                <a:gd name="T54" fmla="*/ 7 w 46"/>
                <a:gd name="T55" fmla="*/ 26 h 45"/>
                <a:gd name="T56" fmla="*/ 9 w 46"/>
                <a:gd name="T57" fmla="*/ 19 h 45"/>
                <a:gd name="T58" fmla="*/ 6 w 46"/>
                <a:gd name="T59" fmla="*/ 16 h 45"/>
                <a:gd name="T60" fmla="*/ 6 w 46"/>
                <a:gd name="T61" fmla="*/ 15 h 45"/>
                <a:gd name="T62" fmla="*/ 7 w 46"/>
                <a:gd name="T63" fmla="*/ 12 h 45"/>
                <a:gd name="T64" fmla="*/ 10 w 46"/>
                <a:gd name="T65" fmla="*/ 14 h 45"/>
                <a:gd name="T66" fmla="*/ 16 w 46"/>
                <a:gd name="T67" fmla="*/ 10 h 45"/>
                <a:gd name="T68" fmla="*/ 16 w 46"/>
                <a:gd name="T69" fmla="*/ 6 h 45"/>
                <a:gd name="T70" fmla="*/ 19 w 46"/>
                <a:gd name="T71" fmla="*/ 4 h 45"/>
                <a:gd name="T72" fmla="*/ 20 w 46"/>
                <a:gd name="T73" fmla="*/ 7 h 45"/>
                <a:gd name="T74" fmla="*/ 27 w 46"/>
                <a:gd name="T75" fmla="*/ 9 h 45"/>
                <a:gd name="T76" fmla="*/ 30 w 46"/>
                <a:gd name="T77" fmla="*/ 6 h 45"/>
                <a:gd name="T78" fmla="*/ 31 w 46"/>
                <a:gd name="T79" fmla="*/ 5 h 45"/>
                <a:gd name="T80" fmla="*/ 33 w 46"/>
                <a:gd name="T81" fmla="*/ 7 h 45"/>
                <a:gd name="T82" fmla="*/ 32 w 46"/>
                <a:gd name="T83" fmla="*/ 10 h 45"/>
                <a:gd name="T84" fmla="*/ 35 w 46"/>
                <a:gd name="T85" fmla="*/ 16 h 45"/>
                <a:gd name="T86" fmla="*/ 40 w 46"/>
                <a:gd name="T87" fmla="*/ 16 h 45"/>
                <a:gd name="T88" fmla="*/ 41 w 46"/>
                <a:gd name="T89" fmla="*/ 18 h 45"/>
                <a:gd name="T90" fmla="*/ 39 w 46"/>
                <a:gd name="T91" fmla="*/ 20 h 45"/>
                <a:gd name="T92" fmla="*/ 37 w 46"/>
                <a:gd name="T93" fmla="*/ 26 h 45"/>
                <a:gd name="T94" fmla="*/ 40 w 46"/>
                <a:gd name="T95" fmla="*/ 30 h 45"/>
                <a:gd name="T96" fmla="*/ 39 w 46"/>
                <a:gd name="T97" fmla="*/ 33 h 45"/>
                <a:gd name="T98" fmla="*/ 36 w 46"/>
                <a:gd name="T99" fmla="*/ 32 h 45"/>
                <a:gd name="T100" fmla="*/ 30 w 46"/>
                <a:gd name="T101" fmla="*/ 35 h 45"/>
                <a:gd name="T102" fmla="*/ 30 w 46"/>
                <a:gd name="T103" fmla="*/ 40 h 45"/>
                <a:gd name="T104" fmla="*/ 30 w 46"/>
                <a:gd name="T105" fmla="*/ 41 h 45"/>
                <a:gd name="T106" fmla="*/ 27 w 46"/>
                <a:gd name="T107" fmla="*/ 41 h 45"/>
                <a:gd name="T108" fmla="*/ 24 w 46"/>
                <a:gd name="T109" fmla="*/ 37 h 45"/>
                <a:gd name="T110" fmla="*/ 19 w 46"/>
                <a:gd name="T111" fmla="*/ 37 h 45"/>
                <a:gd name="T112" fmla="*/ 16 w 46"/>
                <a:gd name="T113" fmla="*/ 40 h 45"/>
                <a:gd name="T114" fmla="*/ 13 w 46"/>
                <a:gd name="T115" fmla="*/ 39 h 45"/>
                <a:gd name="T116" fmla="*/ 14 w 46"/>
                <a:gd name="T117" fmla="*/ 36 h 45"/>
                <a:gd name="T118" fmla="*/ 11 w 46"/>
                <a:gd name="T119" fmla="*/ 30 h 45"/>
                <a:gd name="T120" fmla="*/ 6 w 46"/>
                <a:gd name="T121" fmla="*/ 30 h 45"/>
                <a:gd name="T122" fmla="*/ 4 w 46"/>
                <a:gd name="T123" fmla="*/ 27 h 45"/>
                <a:gd name="T124" fmla="*/ 7 w 46"/>
                <a:gd name="T125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" h="45">
                  <a:moveTo>
                    <a:pt x="4" y="23"/>
                  </a:moveTo>
                  <a:cubicBezTo>
                    <a:pt x="1" y="23"/>
                    <a:pt x="0" y="26"/>
                    <a:pt x="1" y="28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2" y="33"/>
                    <a:pt x="5" y="34"/>
                    <a:pt x="7" y="3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9" y="34"/>
                    <a:pt x="9" y="35"/>
                    <a:pt x="10" y="35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8" y="39"/>
                    <a:pt x="9" y="41"/>
                    <a:pt x="11" y="42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5" y="45"/>
                    <a:pt x="18" y="44"/>
                    <a:pt x="19" y="42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1" y="41"/>
                    <a:pt x="22" y="41"/>
                    <a:pt x="22" y="41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3" y="44"/>
                    <a:pt x="25" y="45"/>
                    <a:pt x="27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2" y="44"/>
                    <a:pt x="33" y="43"/>
                    <a:pt x="33" y="42"/>
                  </a:cubicBezTo>
                  <a:cubicBezTo>
                    <a:pt x="34" y="41"/>
                    <a:pt x="34" y="40"/>
                    <a:pt x="34" y="39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37"/>
                    <a:pt x="35" y="37"/>
                    <a:pt x="35" y="36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9" y="38"/>
                    <a:pt x="41" y="37"/>
                    <a:pt x="43" y="35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5" y="30"/>
                    <a:pt x="44" y="28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5"/>
                    <a:pt x="41" y="24"/>
                    <a:pt x="41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5" y="22"/>
                    <a:pt x="46" y="20"/>
                    <a:pt x="45" y="17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4" y="13"/>
                    <a:pt x="41" y="11"/>
                    <a:pt x="39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7" y="12"/>
                    <a:pt x="37" y="11"/>
                    <a:pt x="36" y="10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8"/>
                    <a:pt x="37" y="7"/>
                    <a:pt x="37" y="6"/>
                  </a:cubicBezTo>
                  <a:cubicBezTo>
                    <a:pt x="37" y="5"/>
                    <a:pt x="36" y="4"/>
                    <a:pt x="35" y="3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1"/>
                    <a:pt x="30" y="1"/>
                    <a:pt x="29" y="2"/>
                  </a:cubicBezTo>
                  <a:cubicBezTo>
                    <a:pt x="28" y="2"/>
                    <a:pt x="27" y="3"/>
                    <a:pt x="27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5"/>
                    <a:pt x="24" y="5"/>
                    <a:pt x="23" y="5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2" y="1"/>
                    <a:pt x="20" y="0"/>
                    <a:pt x="17" y="0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3" y="2"/>
                    <a:pt x="11" y="4"/>
                    <a:pt x="12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8"/>
                    <a:pt x="7" y="8"/>
                    <a:pt x="6" y="9"/>
                  </a:cubicBezTo>
                  <a:cubicBezTo>
                    <a:pt x="5" y="9"/>
                    <a:pt x="4" y="10"/>
                    <a:pt x="3" y="11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4"/>
                    <a:pt x="1" y="15"/>
                    <a:pt x="2" y="16"/>
                  </a:cubicBezTo>
                  <a:cubicBezTo>
                    <a:pt x="2" y="18"/>
                    <a:pt x="3" y="19"/>
                    <a:pt x="4" y="1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5" y="21"/>
                    <a:pt x="5" y="22"/>
                  </a:cubicBezTo>
                  <a:lnTo>
                    <a:pt x="4" y="23"/>
                  </a:lnTo>
                  <a:close/>
                  <a:moveTo>
                    <a:pt x="7" y="26"/>
                  </a:moveTo>
                  <a:cubicBezTo>
                    <a:pt x="8" y="25"/>
                    <a:pt x="9" y="25"/>
                    <a:pt x="9" y="24"/>
                  </a:cubicBezTo>
                  <a:cubicBezTo>
                    <a:pt x="9" y="22"/>
                    <a:pt x="9" y="21"/>
                    <a:pt x="9" y="19"/>
                  </a:cubicBezTo>
                  <a:cubicBezTo>
                    <a:pt x="9" y="18"/>
                    <a:pt x="9" y="17"/>
                    <a:pt x="8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2"/>
                    <a:pt x="7" y="12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4"/>
                    <a:pt x="12" y="14"/>
                    <a:pt x="12" y="13"/>
                  </a:cubicBezTo>
                  <a:cubicBezTo>
                    <a:pt x="13" y="12"/>
                    <a:pt x="14" y="11"/>
                    <a:pt x="16" y="10"/>
                  </a:cubicBezTo>
                  <a:cubicBezTo>
                    <a:pt x="17" y="10"/>
                    <a:pt x="17" y="9"/>
                    <a:pt x="17" y="8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5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8"/>
                    <a:pt x="21" y="9"/>
                    <a:pt x="22" y="9"/>
                  </a:cubicBezTo>
                  <a:cubicBezTo>
                    <a:pt x="24" y="8"/>
                    <a:pt x="25" y="9"/>
                    <a:pt x="27" y="9"/>
                  </a:cubicBezTo>
                  <a:cubicBezTo>
                    <a:pt x="27" y="9"/>
                    <a:pt x="28" y="9"/>
                    <a:pt x="29" y="8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0" y="5"/>
                    <a:pt x="31" y="5"/>
                    <a:pt x="31" y="5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10"/>
                    <a:pt x="32" y="11"/>
                    <a:pt x="32" y="12"/>
                  </a:cubicBezTo>
                  <a:cubicBezTo>
                    <a:pt x="34" y="13"/>
                    <a:pt x="34" y="14"/>
                    <a:pt x="35" y="16"/>
                  </a:cubicBezTo>
                  <a:cubicBezTo>
                    <a:pt x="36" y="16"/>
                    <a:pt x="37" y="17"/>
                    <a:pt x="3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6"/>
                    <a:pt x="41" y="16"/>
                    <a:pt x="41" y="16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2" y="19"/>
                    <a:pt x="41" y="19"/>
                    <a:pt x="41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0"/>
                    <a:pt x="37" y="21"/>
                    <a:pt x="37" y="22"/>
                  </a:cubicBezTo>
                  <a:cubicBezTo>
                    <a:pt x="37" y="23"/>
                    <a:pt x="37" y="25"/>
                    <a:pt x="37" y="26"/>
                  </a:cubicBezTo>
                  <a:cubicBezTo>
                    <a:pt x="36" y="27"/>
                    <a:pt x="37" y="28"/>
                    <a:pt x="38" y="29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1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3"/>
                    <a:pt x="39" y="33"/>
                    <a:pt x="38" y="33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5" y="31"/>
                    <a:pt x="34" y="32"/>
                    <a:pt x="34" y="32"/>
                  </a:cubicBezTo>
                  <a:cubicBezTo>
                    <a:pt x="33" y="33"/>
                    <a:pt x="31" y="34"/>
                    <a:pt x="30" y="35"/>
                  </a:cubicBezTo>
                  <a:cubicBezTo>
                    <a:pt x="29" y="36"/>
                    <a:pt x="29" y="36"/>
                    <a:pt x="29" y="37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1"/>
                    <a:pt x="30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5" y="37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2" y="37"/>
                    <a:pt x="21" y="37"/>
                    <a:pt x="19" y="37"/>
                  </a:cubicBezTo>
                  <a:cubicBezTo>
                    <a:pt x="18" y="36"/>
                    <a:pt x="17" y="37"/>
                    <a:pt x="17" y="37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5" y="40"/>
                    <a:pt x="15" y="40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8"/>
                    <a:pt x="13" y="38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5"/>
                    <a:pt x="14" y="34"/>
                    <a:pt x="13" y="33"/>
                  </a:cubicBezTo>
                  <a:cubicBezTo>
                    <a:pt x="12" y="32"/>
                    <a:pt x="11" y="31"/>
                    <a:pt x="11" y="30"/>
                  </a:cubicBezTo>
                  <a:cubicBezTo>
                    <a:pt x="10" y="29"/>
                    <a:pt x="9" y="29"/>
                    <a:pt x="8" y="29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5" y="30"/>
                    <a:pt x="5" y="29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4" y="26"/>
                    <a:pt x="5" y="26"/>
                  </a:cubicBezTo>
                  <a:lnTo>
                    <a:pt x="7" y="26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</p:grpSp>
      <p:grpSp>
        <p:nvGrpSpPr>
          <p:cNvPr id="155" name="Grafik 3933">
            <a:extLst>
              <a:ext uri="{FF2B5EF4-FFF2-40B4-BE49-F238E27FC236}">
                <a16:creationId xmlns:a16="http://schemas.microsoft.com/office/drawing/2014/main" id="{3F35C556-4FCA-117D-070A-C7C02E992690}"/>
              </a:ext>
            </a:extLst>
          </p:cNvPr>
          <p:cNvGrpSpPr>
            <a:grpSpLocks noChangeAspect="1"/>
          </p:cNvGrpSpPr>
          <p:nvPr/>
        </p:nvGrpSpPr>
        <p:grpSpPr>
          <a:xfrm>
            <a:off x="7889395" y="1162089"/>
            <a:ext cx="500348" cy="338328"/>
            <a:chOff x="5843587" y="3257550"/>
            <a:chExt cx="500348" cy="338328"/>
          </a:xfrm>
          <a:solidFill>
            <a:schemeClr val="accent1">
              <a:lumMod val="75000"/>
            </a:schemeClr>
          </a:solidFill>
        </p:grpSpPr>
        <p:sp>
          <p:nvSpPr>
            <p:cNvPr id="156" name="Freihandform: Form 4287">
              <a:extLst>
                <a:ext uri="{FF2B5EF4-FFF2-40B4-BE49-F238E27FC236}">
                  <a16:creationId xmlns:a16="http://schemas.microsoft.com/office/drawing/2014/main" id="{AE3F28B2-9B04-1975-9C73-C6E66B9D7183}"/>
                </a:ext>
              </a:extLst>
            </p:cNvPr>
            <p:cNvSpPr/>
            <p:nvPr/>
          </p:nvSpPr>
          <p:spPr>
            <a:xfrm>
              <a:off x="5892164" y="3257550"/>
              <a:ext cx="403097" cy="273462"/>
            </a:xfrm>
            <a:custGeom>
              <a:avLst/>
              <a:gdLst>
                <a:gd name="connsiteX0" fmla="*/ 395954 w 403097"/>
                <a:gd name="connsiteY0" fmla="*/ 273463 h 273462"/>
                <a:gd name="connsiteX1" fmla="*/ 7144 w 403097"/>
                <a:gd name="connsiteY1" fmla="*/ 273463 h 273462"/>
                <a:gd name="connsiteX2" fmla="*/ 0 w 403097"/>
                <a:gd name="connsiteY2" fmla="*/ 266319 h 273462"/>
                <a:gd name="connsiteX3" fmla="*/ 0 w 403097"/>
                <a:gd name="connsiteY3" fmla="*/ 34100 h 273462"/>
                <a:gd name="connsiteX4" fmla="*/ 34195 w 403097"/>
                <a:gd name="connsiteY4" fmla="*/ 0 h 273462"/>
                <a:gd name="connsiteX5" fmla="*/ 368999 w 403097"/>
                <a:gd name="connsiteY5" fmla="*/ 0 h 273462"/>
                <a:gd name="connsiteX6" fmla="*/ 403098 w 403097"/>
                <a:gd name="connsiteY6" fmla="*/ 34100 h 273462"/>
                <a:gd name="connsiteX7" fmla="*/ 403098 w 403097"/>
                <a:gd name="connsiteY7" fmla="*/ 266319 h 273462"/>
                <a:gd name="connsiteX8" fmla="*/ 395954 w 403097"/>
                <a:gd name="connsiteY8" fmla="*/ 273463 h 273462"/>
                <a:gd name="connsiteX9" fmla="*/ 14288 w 403097"/>
                <a:gd name="connsiteY9" fmla="*/ 259175 h 273462"/>
                <a:gd name="connsiteX10" fmla="*/ 388810 w 403097"/>
                <a:gd name="connsiteY10" fmla="*/ 259175 h 273462"/>
                <a:gd name="connsiteX11" fmla="*/ 388810 w 403097"/>
                <a:gd name="connsiteY11" fmla="*/ 34100 h 273462"/>
                <a:gd name="connsiteX12" fmla="*/ 368999 w 403097"/>
                <a:gd name="connsiteY12" fmla="*/ 14288 h 273462"/>
                <a:gd name="connsiteX13" fmla="*/ 34195 w 403097"/>
                <a:gd name="connsiteY13" fmla="*/ 14288 h 273462"/>
                <a:gd name="connsiteX14" fmla="*/ 14288 w 403097"/>
                <a:gd name="connsiteY14" fmla="*/ 34100 h 273462"/>
                <a:gd name="connsiteX15" fmla="*/ 14288 w 403097"/>
                <a:gd name="connsiteY15" fmla="*/ 259175 h 273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3097" h="273462">
                  <a:moveTo>
                    <a:pt x="395954" y="273463"/>
                  </a:moveTo>
                  <a:lnTo>
                    <a:pt x="7144" y="273463"/>
                  </a:lnTo>
                  <a:cubicBezTo>
                    <a:pt x="3239" y="273463"/>
                    <a:pt x="0" y="270224"/>
                    <a:pt x="0" y="266319"/>
                  </a:cubicBezTo>
                  <a:lnTo>
                    <a:pt x="0" y="34100"/>
                  </a:lnTo>
                  <a:cubicBezTo>
                    <a:pt x="0" y="15335"/>
                    <a:pt x="15335" y="0"/>
                    <a:pt x="34195" y="0"/>
                  </a:cubicBezTo>
                  <a:lnTo>
                    <a:pt x="368999" y="0"/>
                  </a:lnTo>
                  <a:cubicBezTo>
                    <a:pt x="387858" y="0"/>
                    <a:pt x="403098" y="15335"/>
                    <a:pt x="403098" y="34100"/>
                  </a:cubicBezTo>
                  <a:lnTo>
                    <a:pt x="403098" y="266319"/>
                  </a:lnTo>
                  <a:cubicBezTo>
                    <a:pt x="403098" y="270320"/>
                    <a:pt x="399955" y="273463"/>
                    <a:pt x="395954" y="273463"/>
                  </a:cubicBezTo>
                  <a:close/>
                  <a:moveTo>
                    <a:pt x="14288" y="259175"/>
                  </a:moveTo>
                  <a:lnTo>
                    <a:pt x="388810" y="259175"/>
                  </a:lnTo>
                  <a:lnTo>
                    <a:pt x="388810" y="34100"/>
                  </a:lnTo>
                  <a:cubicBezTo>
                    <a:pt x="388810" y="23146"/>
                    <a:pt x="379857" y="14288"/>
                    <a:pt x="368999" y="14288"/>
                  </a:cubicBezTo>
                  <a:lnTo>
                    <a:pt x="34195" y="14288"/>
                  </a:lnTo>
                  <a:cubicBezTo>
                    <a:pt x="23241" y="14288"/>
                    <a:pt x="14288" y="23241"/>
                    <a:pt x="14288" y="34100"/>
                  </a:cubicBezTo>
                  <a:lnTo>
                    <a:pt x="14288" y="259175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157" name="Freihandform: Form 4288">
              <a:extLst>
                <a:ext uri="{FF2B5EF4-FFF2-40B4-BE49-F238E27FC236}">
                  <a16:creationId xmlns:a16="http://schemas.microsoft.com/office/drawing/2014/main" id="{AE91ABA3-7BE6-798B-5503-B64090F7B9B1}"/>
                </a:ext>
              </a:extLst>
            </p:cNvPr>
            <p:cNvSpPr/>
            <p:nvPr/>
          </p:nvSpPr>
          <p:spPr>
            <a:xfrm>
              <a:off x="5843587" y="3549110"/>
              <a:ext cx="500348" cy="46767"/>
            </a:xfrm>
            <a:custGeom>
              <a:avLst/>
              <a:gdLst>
                <a:gd name="connsiteX0" fmla="*/ 479679 w 500348"/>
                <a:gd name="connsiteY0" fmla="*/ 46768 h 46767"/>
                <a:gd name="connsiteX1" fmla="*/ 20669 w 500348"/>
                <a:gd name="connsiteY1" fmla="*/ 46768 h 46767"/>
                <a:gd name="connsiteX2" fmla="*/ 0 w 500348"/>
                <a:gd name="connsiteY2" fmla="*/ 26098 h 46767"/>
                <a:gd name="connsiteX3" fmla="*/ 0 w 500348"/>
                <a:gd name="connsiteY3" fmla="*/ 20669 h 46767"/>
                <a:gd name="connsiteX4" fmla="*/ 20669 w 500348"/>
                <a:gd name="connsiteY4" fmla="*/ 0 h 46767"/>
                <a:gd name="connsiteX5" fmla="*/ 479679 w 500348"/>
                <a:gd name="connsiteY5" fmla="*/ 0 h 46767"/>
                <a:gd name="connsiteX6" fmla="*/ 500348 w 500348"/>
                <a:gd name="connsiteY6" fmla="*/ 20669 h 46767"/>
                <a:gd name="connsiteX7" fmla="*/ 500348 w 500348"/>
                <a:gd name="connsiteY7" fmla="*/ 26098 h 46767"/>
                <a:gd name="connsiteX8" fmla="*/ 479679 w 500348"/>
                <a:gd name="connsiteY8" fmla="*/ 46768 h 46767"/>
                <a:gd name="connsiteX9" fmla="*/ 20669 w 500348"/>
                <a:gd name="connsiteY9" fmla="*/ 14288 h 46767"/>
                <a:gd name="connsiteX10" fmla="*/ 14288 w 500348"/>
                <a:gd name="connsiteY10" fmla="*/ 20669 h 46767"/>
                <a:gd name="connsiteX11" fmla="*/ 14288 w 500348"/>
                <a:gd name="connsiteY11" fmla="*/ 26098 h 46767"/>
                <a:gd name="connsiteX12" fmla="*/ 20669 w 500348"/>
                <a:gd name="connsiteY12" fmla="*/ 32480 h 46767"/>
                <a:gd name="connsiteX13" fmla="*/ 479679 w 500348"/>
                <a:gd name="connsiteY13" fmla="*/ 32480 h 46767"/>
                <a:gd name="connsiteX14" fmla="*/ 486061 w 500348"/>
                <a:gd name="connsiteY14" fmla="*/ 26098 h 46767"/>
                <a:gd name="connsiteX15" fmla="*/ 486061 w 500348"/>
                <a:gd name="connsiteY15" fmla="*/ 20669 h 46767"/>
                <a:gd name="connsiteX16" fmla="*/ 479679 w 500348"/>
                <a:gd name="connsiteY16" fmla="*/ 14288 h 46767"/>
                <a:gd name="connsiteX17" fmla="*/ 20669 w 500348"/>
                <a:gd name="connsiteY17" fmla="*/ 14288 h 46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00348" h="46767">
                  <a:moveTo>
                    <a:pt x="479679" y="46768"/>
                  </a:moveTo>
                  <a:lnTo>
                    <a:pt x="20669" y="46768"/>
                  </a:lnTo>
                  <a:cubicBezTo>
                    <a:pt x="9239" y="46768"/>
                    <a:pt x="0" y="37528"/>
                    <a:pt x="0" y="26098"/>
                  </a:cubicBezTo>
                  <a:lnTo>
                    <a:pt x="0" y="20669"/>
                  </a:lnTo>
                  <a:cubicBezTo>
                    <a:pt x="0" y="9239"/>
                    <a:pt x="9239" y="0"/>
                    <a:pt x="20669" y="0"/>
                  </a:cubicBezTo>
                  <a:lnTo>
                    <a:pt x="479679" y="0"/>
                  </a:lnTo>
                  <a:cubicBezTo>
                    <a:pt x="491109" y="0"/>
                    <a:pt x="500348" y="9239"/>
                    <a:pt x="500348" y="20669"/>
                  </a:cubicBezTo>
                  <a:lnTo>
                    <a:pt x="500348" y="26098"/>
                  </a:lnTo>
                  <a:cubicBezTo>
                    <a:pt x="500253" y="37433"/>
                    <a:pt x="491014" y="46768"/>
                    <a:pt x="479679" y="46768"/>
                  </a:cubicBezTo>
                  <a:close/>
                  <a:moveTo>
                    <a:pt x="20669" y="14288"/>
                  </a:moveTo>
                  <a:cubicBezTo>
                    <a:pt x="17145" y="14288"/>
                    <a:pt x="14288" y="17145"/>
                    <a:pt x="14288" y="20669"/>
                  </a:cubicBezTo>
                  <a:lnTo>
                    <a:pt x="14288" y="26098"/>
                  </a:lnTo>
                  <a:cubicBezTo>
                    <a:pt x="14288" y="29623"/>
                    <a:pt x="17145" y="32480"/>
                    <a:pt x="20669" y="32480"/>
                  </a:cubicBezTo>
                  <a:lnTo>
                    <a:pt x="479679" y="32480"/>
                  </a:lnTo>
                  <a:cubicBezTo>
                    <a:pt x="483203" y="32480"/>
                    <a:pt x="486061" y="29623"/>
                    <a:pt x="486061" y="26098"/>
                  </a:cubicBezTo>
                  <a:lnTo>
                    <a:pt x="486061" y="20669"/>
                  </a:lnTo>
                  <a:cubicBezTo>
                    <a:pt x="486061" y="17145"/>
                    <a:pt x="483203" y="14288"/>
                    <a:pt x="479679" y="14288"/>
                  </a:cubicBezTo>
                  <a:lnTo>
                    <a:pt x="20669" y="14288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grpSp>
          <p:nvGrpSpPr>
            <p:cNvPr id="158" name="Grafik 3933">
              <a:extLst>
                <a:ext uri="{FF2B5EF4-FFF2-40B4-BE49-F238E27FC236}">
                  <a16:creationId xmlns:a16="http://schemas.microsoft.com/office/drawing/2014/main" id="{528D7C8A-ED01-F43D-6376-60FFA81E6C26}"/>
                </a:ext>
              </a:extLst>
            </p:cNvPr>
            <p:cNvGrpSpPr/>
            <p:nvPr/>
          </p:nvGrpSpPr>
          <p:grpSpPr>
            <a:xfrm>
              <a:off x="6005607" y="3306127"/>
              <a:ext cx="176307" cy="176307"/>
              <a:chOff x="6005607" y="3306127"/>
              <a:chExt cx="176307" cy="176307"/>
            </a:xfrm>
            <a:grpFill/>
          </p:grpSpPr>
          <p:sp>
            <p:nvSpPr>
              <p:cNvPr id="159" name="Freihandform: Form 4290">
                <a:extLst>
                  <a:ext uri="{FF2B5EF4-FFF2-40B4-BE49-F238E27FC236}">
                    <a16:creationId xmlns:a16="http://schemas.microsoft.com/office/drawing/2014/main" id="{EA338D02-26A1-24E4-186B-F5F5B6E4A3F4}"/>
                  </a:ext>
                </a:extLst>
              </p:cNvPr>
              <p:cNvSpPr/>
              <p:nvPr/>
            </p:nvSpPr>
            <p:spPr>
              <a:xfrm>
                <a:off x="6005607" y="3306222"/>
                <a:ext cx="176212" cy="176212"/>
              </a:xfrm>
              <a:custGeom>
                <a:avLst/>
                <a:gdLst>
                  <a:gd name="connsiteX0" fmla="*/ 88106 w 176212"/>
                  <a:gd name="connsiteY0" fmla="*/ 176213 h 176212"/>
                  <a:gd name="connsiteX1" fmla="*/ 0 w 176212"/>
                  <a:gd name="connsiteY1" fmla="*/ 88106 h 176212"/>
                  <a:gd name="connsiteX2" fmla="*/ 88106 w 176212"/>
                  <a:gd name="connsiteY2" fmla="*/ 0 h 176212"/>
                  <a:gd name="connsiteX3" fmla="*/ 176212 w 176212"/>
                  <a:gd name="connsiteY3" fmla="*/ 88106 h 176212"/>
                  <a:gd name="connsiteX4" fmla="*/ 88106 w 176212"/>
                  <a:gd name="connsiteY4" fmla="*/ 176213 h 176212"/>
                  <a:gd name="connsiteX5" fmla="*/ 88106 w 176212"/>
                  <a:gd name="connsiteY5" fmla="*/ 14192 h 176212"/>
                  <a:gd name="connsiteX6" fmla="*/ 14288 w 176212"/>
                  <a:gd name="connsiteY6" fmla="*/ 88011 h 176212"/>
                  <a:gd name="connsiteX7" fmla="*/ 88106 w 176212"/>
                  <a:gd name="connsiteY7" fmla="*/ 161830 h 176212"/>
                  <a:gd name="connsiteX8" fmla="*/ 161925 w 176212"/>
                  <a:gd name="connsiteY8" fmla="*/ 88011 h 176212"/>
                  <a:gd name="connsiteX9" fmla="*/ 88106 w 176212"/>
                  <a:gd name="connsiteY9" fmla="*/ 14192 h 1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6212" h="176212">
                    <a:moveTo>
                      <a:pt x="88106" y="176213"/>
                    </a:moveTo>
                    <a:cubicBezTo>
                      <a:pt x="39529" y="176213"/>
                      <a:pt x="0" y="136684"/>
                      <a:pt x="0" y="88106"/>
                    </a:cubicBezTo>
                    <a:cubicBezTo>
                      <a:pt x="0" y="39529"/>
                      <a:pt x="39529" y="0"/>
                      <a:pt x="88106" y="0"/>
                    </a:cubicBezTo>
                    <a:cubicBezTo>
                      <a:pt x="136684" y="0"/>
                      <a:pt x="176212" y="39529"/>
                      <a:pt x="176212" y="88106"/>
                    </a:cubicBezTo>
                    <a:cubicBezTo>
                      <a:pt x="176212" y="136684"/>
                      <a:pt x="136684" y="176213"/>
                      <a:pt x="88106" y="176213"/>
                    </a:cubicBezTo>
                    <a:close/>
                    <a:moveTo>
                      <a:pt x="88106" y="14192"/>
                    </a:moveTo>
                    <a:cubicBezTo>
                      <a:pt x="47339" y="14192"/>
                      <a:pt x="14288" y="47339"/>
                      <a:pt x="14288" y="88011"/>
                    </a:cubicBezTo>
                    <a:cubicBezTo>
                      <a:pt x="14288" y="128683"/>
                      <a:pt x="47434" y="161830"/>
                      <a:pt x="88106" y="161830"/>
                    </a:cubicBezTo>
                    <a:cubicBezTo>
                      <a:pt x="128778" y="161830"/>
                      <a:pt x="161925" y="128683"/>
                      <a:pt x="161925" y="88011"/>
                    </a:cubicBezTo>
                    <a:cubicBezTo>
                      <a:pt x="161925" y="47339"/>
                      <a:pt x="128873" y="14192"/>
                      <a:pt x="88106" y="1419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0" name="Freihandform: Form 4291">
                <a:extLst>
                  <a:ext uri="{FF2B5EF4-FFF2-40B4-BE49-F238E27FC236}">
                    <a16:creationId xmlns:a16="http://schemas.microsoft.com/office/drawing/2014/main" id="{2125B678-5357-2CFE-A724-E1943A13554D}"/>
                  </a:ext>
                </a:extLst>
              </p:cNvPr>
              <p:cNvSpPr/>
              <p:nvPr/>
            </p:nvSpPr>
            <p:spPr>
              <a:xfrm>
                <a:off x="6039706" y="3306190"/>
                <a:ext cx="61182" cy="176244"/>
              </a:xfrm>
              <a:custGeom>
                <a:avLst/>
                <a:gdLst>
                  <a:gd name="connsiteX0" fmla="*/ 54007 w 61182"/>
                  <a:gd name="connsiteY0" fmla="*/ 176244 h 176244"/>
                  <a:gd name="connsiteX1" fmla="*/ 50387 w 61182"/>
                  <a:gd name="connsiteY1" fmla="*/ 175292 h 176244"/>
                  <a:gd name="connsiteX2" fmla="*/ 0 w 61182"/>
                  <a:gd name="connsiteY2" fmla="*/ 88138 h 176244"/>
                  <a:gd name="connsiteX3" fmla="*/ 50387 w 61182"/>
                  <a:gd name="connsiteY3" fmla="*/ 984 h 176244"/>
                  <a:gd name="connsiteX4" fmla="*/ 60198 w 61182"/>
                  <a:gd name="connsiteY4" fmla="*/ 3556 h 176244"/>
                  <a:gd name="connsiteX5" fmla="*/ 57626 w 61182"/>
                  <a:gd name="connsiteY5" fmla="*/ 13272 h 176244"/>
                  <a:gd name="connsiteX6" fmla="*/ 14383 w 61182"/>
                  <a:gd name="connsiteY6" fmla="*/ 88043 h 176244"/>
                  <a:gd name="connsiteX7" fmla="*/ 57626 w 61182"/>
                  <a:gd name="connsiteY7" fmla="*/ 162814 h 176244"/>
                  <a:gd name="connsiteX8" fmla="*/ 60198 w 61182"/>
                  <a:gd name="connsiteY8" fmla="*/ 172530 h 176244"/>
                  <a:gd name="connsiteX9" fmla="*/ 54007 w 61182"/>
                  <a:gd name="connsiteY9" fmla="*/ 176244 h 176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244">
                    <a:moveTo>
                      <a:pt x="54007" y="176244"/>
                    </a:moveTo>
                    <a:cubicBezTo>
                      <a:pt x="52768" y="176244"/>
                      <a:pt x="51530" y="175959"/>
                      <a:pt x="50387" y="175292"/>
                    </a:cubicBezTo>
                    <a:cubicBezTo>
                      <a:pt x="19336" y="157290"/>
                      <a:pt x="0" y="123857"/>
                      <a:pt x="0" y="88138"/>
                    </a:cubicBezTo>
                    <a:cubicBezTo>
                      <a:pt x="0" y="52419"/>
                      <a:pt x="19336" y="18987"/>
                      <a:pt x="50387" y="984"/>
                    </a:cubicBezTo>
                    <a:cubicBezTo>
                      <a:pt x="53816" y="-1016"/>
                      <a:pt x="58198" y="127"/>
                      <a:pt x="60198" y="3556"/>
                    </a:cubicBezTo>
                    <a:cubicBezTo>
                      <a:pt x="62198" y="6890"/>
                      <a:pt x="61055" y="11271"/>
                      <a:pt x="57626" y="13272"/>
                    </a:cubicBezTo>
                    <a:cubicBezTo>
                      <a:pt x="30956" y="28702"/>
                      <a:pt x="14383" y="57372"/>
                      <a:pt x="14383" y="88043"/>
                    </a:cubicBezTo>
                    <a:cubicBezTo>
                      <a:pt x="14383" y="118713"/>
                      <a:pt x="30956" y="147384"/>
                      <a:pt x="57626" y="162814"/>
                    </a:cubicBezTo>
                    <a:cubicBezTo>
                      <a:pt x="61055" y="164814"/>
                      <a:pt x="62198" y="169196"/>
                      <a:pt x="60198" y="172530"/>
                    </a:cubicBezTo>
                    <a:cubicBezTo>
                      <a:pt x="58865" y="175006"/>
                      <a:pt x="56483" y="176244"/>
                      <a:pt x="54007" y="17624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1" name="Freihandform: Form 4292">
                <a:extLst>
                  <a:ext uri="{FF2B5EF4-FFF2-40B4-BE49-F238E27FC236}">
                    <a16:creationId xmlns:a16="http://schemas.microsoft.com/office/drawing/2014/main" id="{9A9FF5B0-31B0-25CD-C460-3AD78CC73AAF}"/>
                  </a:ext>
                </a:extLst>
              </p:cNvPr>
              <p:cNvSpPr/>
              <p:nvPr/>
            </p:nvSpPr>
            <p:spPr>
              <a:xfrm>
                <a:off x="6086538" y="3306381"/>
                <a:ext cx="61182" cy="176053"/>
              </a:xfrm>
              <a:custGeom>
                <a:avLst/>
                <a:gdLst>
                  <a:gd name="connsiteX0" fmla="*/ 7176 w 61182"/>
                  <a:gd name="connsiteY0" fmla="*/ 176054 h 176053"/>
                  <a:gd name="connsiteX1" fmla="*/ 984 w 61182"/>
                  <a:gd name="connsiteY1" fmla="*/ 172530 h 176053"/>
                  <a:gd name="connsiteX2" fmla="*/ 3556 w 61182"/>
                  <a:gd name="connsiteY2" fmla="*/ 162814 h 176053"/>
                  <a:gd name="connsiteX3" fmla="*/ 46800 w 61182"/>
                  <a:gd name="connsiteY3" fmla="*/ 88043 h 176053"/>
                  <a:gd name="connsiteX4" fmla="*/ 3556 w 61182"/>
                  <a:gd name="connsiteY4" fmla="*/ 13272 h 176053"/>
                  <a:gd name="connsiteX5" fmla="*/ 984 w 61182"/>
                  <a:gd name="connsiteY5" fmla="*/ 3556 h 176053"/>
                  <a:gd name="connsiteX6" fmla="*/ 10795 w 61182"/>
                  <a:gd name="connsiteY6" fmla="*/ 984 h 176053"/>
                  <a:gd name="connsiteX7" fmla="*/ 61182 w 61182"/>
                  <a:gd name="connsiteY7" fmla="*/ 88138 h 176053"/>
                  <a:gd name="connsiteX8" fmla="*/ 10795 w 61182"/>
                  <a:gd name="connsiteY8" fmla="*/ 175292 h 176053"/>
                  <a:gd name="connsiteX9" fmla="*/ 7176 w 61182"/>
                  <a:gd name="connsiteY9" fmla="*/ 176054 h 176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053">
                    <a:moveTo>
                      <a:pt x="7176" y="176054"/>
                    </a:moveTo>
                    <a:cubicBezTo>
                      <a:pt x="4699" y="176054"/>
                      <a:pt x="2318" y="174816"/>
                      <a:pt x="984" y="172530"/>
                    </a:cubicBezTo>
                    <a:cubicBezTo>
                      <a:pt x="-1016" y="169101"/>
                      <a:pt x="222" y="164719"/>
                      <a:pt x="3556" y="162814"/>
                    </a:cubicBezTo>
                    <a:cubicBezTo>
                      <a:pt x="30226" y="147384"/>
                      <a:pt x="46800" y="118713"/>
                      <a:pt x="46800" y="88043"/>
                    </a:cubicBezTo>
                    <a:cubicBezTo>
                      <a:pt x="46800" y="57372"/>
                      <a:pt x="30226" y="28702"/>
                      <a:pt x="3556" y="13272"/>
                    </a:cubicBezTo>
                    <a:cubicBezTo>
                      <a:pt x="127" y="11271"/>
                      <a:pt x="-1016" y="6890"/>
                      <a:pt x="984" y="3556"/>
                    </a:cubicBezTo>
                    <a:cubicBezTo>
                      <a:pt x="2984" y="127"/>
                      <a:pt x="7366" y="-1016"/>
                      <a:pt x="10795" y="984"/>
                    </a:cubicBezTo>
                    <a:cubicBezTo>
                      <a:pt x="41846" y="18987"/>
                      <a:pt x="61182" y="52419"/>
                      <a:pt x="61182" y="88138"/>
                    </a:cubicBezTo>
                    <a:cubicBezTo>
                      <a:pt x="61182" y="123857"/>
                      <a:pt x="41846" y="157290"/>
                      <a:pt x="10795" y="175292"/>
                    </a:cubicBezTo>
                    <a:cubicBezTo>
                      <a:pt x="9652" y="175768"/>
                      <a:pt x="8414" y="176054"/>
                      <a:pt x="7176" y="17605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2" name="Freihandform: Form 4293">
                <a:extLst>
                  <a:ext uri="{FF2B5EF4-FFF2-40B4-BE49-F238E27FC236}">
                    <a16:creationId xmlns:a16="http://schemas.microsoft.com/office/drawing/2014/main" id="{4EDEF7CA-49B4-92AE-9192-F64D1208F3A8}"/>
                  </a:ext>
                </a:extLst>
              </p:cNvPr>
              <p:cNvSpPr/>
              <p:nvPr/>
            </p:nvSpPr>
            <p:spPr>
              <a:xfrm>
                <a:off x="6027373" y="3331799"/>
                <a:ext cx="132830" cy="35478"/>
              </a:xfrm>
              <a:custGeom>
                <a:avLst/>
                <a:gdLst>
                  <a:gd name="connsiteX0" fmla="*/ 66340 w 132830"/>
                  <a:gd name="connsiteY0" fmla="*/ 35479 h 35478"/>
                  <a:gd name="connsiteX1" fmla="*/ 2618 w 132830"/>
                  <a:gd name="connsiteY1" fmla="*/ 12714 h 35478"/>
                  <a:gd name="connsiteX2" fmla="*/ 1665 w 132830"/>
                  <a:gd name="connsiteY2" fmla="*/ 2618 h 35478"/>
                  <a:gd name="connsiteX3" fmla="*/ 11762 w 132830"/>
                  <a:gd name="connsiteY3" fmla="*/ 1665 h 35478"/>
                  <a:gd name="connsiteX4" fmla="*/ 66435 w 132830"/>
                  <a:gd name="connsiteY4" fmla="*/ 21191 h 35478"/>
                  <a:gd name="connsiteX5" fmla="*/ 121109 w 132830"/>
                  <a:gd name="connsiteY5" fmla="*/ 1665 h 35478"/>
                  <a:gd name="connsiteX6" fmla="*/ 131205 w 132830"/>
                  <a:gd name="connsiteY6" fmla="*/ 2618 h 35478"/>
                  <a:gd name="connsiteX7" fmla="*/ 130253 w 132830"/>
                  <a:gd name="connsiteY7" fmla="*/ 12714 h 35478"/>
                  <a:gd name="connsiteX8" fmla="*/ 66340 w 132830"/>
                  <a:gd name="connsiteY8" fmla="*/ 35479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2830" h="35478">
                    <a:moveTo>
                      <a:pt x="66340" y="35479"/>
                    </a:moveTo>
                    <a:cubicBezTo>
                      <a:pt x="43194" y="35479"/>
                      <a:pt x="20525" y="27383"/>
                      <a:pt x="2618" y="12714"/>
                    </a:cubicBezTo>
                    <a:cubicBezTo>
                      <a:pt x="-430" y="10238"/>
                      <a:pt x="-907" y="5666"/>
                      <a:pt x="1665" y="2618"/>
                    </a:cubicBezTo>
                    <a:cubicBezTo>
                      <a:pt x="4142" y="-430"/>
                      <a:pt x="8714" y="-907"/>
                      <a:pt x="11762" y="1665"/>
                    </a:cubicBezTo>
                    <a:cubicBezTo>
                      <a:pt x="27097" y="14238"/>
                      <a:pt x="46528" y="21191"/>
                      <a:pt x="66435" y="21191"/>
                    </a:cubicBezTo>
                    <a:cubicBezTo>
                      <a:pt x="86342" y="21191"/>
                      <a:pt x="105678" y="14238"/>
                      <a:pt x="121109" y="1665"/>
                    </a:cubicBezTo>
                    <a:cubicBezTo>
                      <a:pt x="124157" y="-811"/>
                      <a:pt x="128633" y="-430"/>
                      <a:pt x="131205" y="2618"/>
                    </a:cubicBezTo>
                    <a:cubicBezTo>
                      <a:pt x="133682" y="5666"/>
                      <a:pt x="133301" y="10142"/>
                      <a:pt x="130253" y="12714"/>
                    </a:cubicBezTo>
                    <a:cubicBezTo>
                      <a:pt x="112155" y="27383"/>
                      <a:pt x="89486" y="35479"/>
                      <a:pt x="66340" y="35479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3" name="Freihandform: Form 4294">
                <a:extLst>
                  <a:ext uri="{FF2B5EF4-FFF2-40B4-BE49-F238E27FC236}">
                    <a16:creationId xmlns:a16="http://schemas.microsoft.com/office/drawing/2014/main" id="{1BF976DD-77A3-9823-7E85-625CC6B8E13A}"/>
                  </a:ext>
                </a:extLst>
              </p:cNvPr>
              <p:cNvSpPr/>
              <p:nvPr/>
            </p:nvSpPr>
            <p:spPr>
              <a:xfrm>
                <a:off x="6027413" y="3421284"/>
                <a:ext cx="132640" cy="35478"/>
              </a:xfrm>
              <a:custGeom>
                <a:avLst/>
                <a:gdLst>
                  <a:gd name="connsiteX0" fmla="*/ 7150 w 132640"/>
                  <a:gd name="connsiteY0" fmla="*/ 35433 h 35478"/>
                  <a:gd name="connsiteX1" fmla="*/ 1626 w 132640"/>
                  <a:gd name="connsiteY1" fmla="*/ 32861 h 35478"/>
                  <a:gd name="connsiteX2" fmla="*/ 2578 w 132640"/>
                  <a:gd name="connsiteY2" fmla="*/ 22765 h 35478"/>
                  <a:gd name="connsiteX3" fmla="*/ 66300 w 132640"/>
                  <a:gd name="connsiteY3" fmla="*/ 0 h 35478"/>
                  <a:gd name="connsiteX4" fmla="*/ 130023 w 132640"/>
                  <a:gd name="connsiteY4" fmla="*/ 22765 h 35478"/>
                  <a:gd name="connsiteX5" fmla="*/ 130975 w 132640"/>
                  <a:gd name="connsiteY5" fmla="*/ 32861 h 35478"/>
                  <a:gd name="connsiteX6" fmla="*/ 120879 w 132640"/>
                  <a:gd name="connsiteY6" fmla="*/ 33814 h 35478"/>
                  <a:gd name="connsiteX7" fmla="*/ 66205 w 132640"/>
                  <a:gd name="connsiteY7" fmla="*/ 14288 h 35478"/>
                  <a:gd name="connsiteX8" fmla="*/ 11532 w 132640"/>
                  <a:gd name="connsiteY8" fmla="*/ 33814 h 35478"/>
                  <a:gd name="connsiteX9" fmla="*/ 7150 w 132640"/>
                  <a:gd name="connsiteY9" fmla="*/ 35433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2640" h="35478">
                    <a:moveTo>
                      <a:pt x="7150" y="35433"/>
                    </a:moveTo>
                    <a:cubicBezTo>
                      <a:pt x="5055" y="35433"/>
                      <a:pt x="3054" y="34576"/>
                      <a:pt x="1626" y="32861"/>
                    </a:cubicBezTo>
                    <a:cubicBezTo>
                      <a:pt x="-851" y="29813"/>
                      <a:pt x="-470" y="25336"/>
                      <a:pt x="2578" y="22765"/>
                    </a:cubicBezTo>
                    <a:cubicBezTo>
                      <a:pt x="20485" y="8096"/>
                      <a:pt x="43059" y="0"/>
                      <a:pt x="66300" y="0"/>
                    </a:cubicBezTo>
                    <a:cubicBezTo>
                      <a:pt x="89541" y="0"/>
                      <a:pt x="112116" y="8096"/>
                      <a:pt x="130023" y="22765"/>
                    </a:cubicBezTo>
                    <a:cubicBezTo>
                      <a:pt x="133071" y="25241"/>
                      <a:pt x="133547" y="29718"/>
                      <a:pt x="130975" y="32861"/>
                    </a:cubicBezTo>
                    <a:cubicBezTo>
                      <a:pt x="128499" y="35909"/>
                      <a:pt x="123927" y="36385"/>
                      <a:pt x="120879" y="33814"/>
                    </a:cubicBezTo>
                    <a:cubicBezTo>
                      <a:pt x="105543" y="21241"/>
                      <a:pt x="86112" y="14288"/>
                      <a:pt x="66205" y="14288"/>
                    </a:cubicBezTo>
                    <a:cubicBezTo>
                      <a:pt x="46298" y="14288"/>
                      <a:pt x="26962" y="21241"/>
                      <a:pt x="11532" y="33814"/>
                    </a:cubicBezTo>
                    <a:cubicBezTo>
                      <a:pt x="10389" y="34957"/>
                      <a:pt x="8769" y="35433"/>
                      <a:pt x="7150" y="3543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4" name="Freihandform: Form 4295">
                <a:extLst>
                  <a:ext uri="{FF2B5EF4-FFF2-40B4-BE49-F238E27FC236}">
                    <a16:creationId xmlns:a16="http://schemas.microsoft.com/office/drawing/2014/main" id="{899B13C9-4F4E-5A6E-B427-AB91E1C9618F}"/>
                  </a:ext>
                </a:extLst>
              </p:cNvPr>
              <p:cNvSpPr/>
              <p:nvPr/>
            </p:nvSpPr>
            <p:spPr>
              <a:xfrm>
                <a:off x="6086569" y="3306127"/>
                <a:ext cx="14287" cy="176307"/>
              </a:xfrm>
              <a:custGeom>
                <a:avLst/>
                <a:gdLst>
                  <a:gd name="connsiteX0" fmla="*/ 7144 w 14287"/>
                  <a:gd name="connsiteY0" fmla="*/ 176308 h 176307"/>
                  <a:gd name="connsiteX1" fmla="*/ 0 w 14287"/>
                  <a:gd name="connsiteY1" fmla="*/ 169164 h 176307"/>
                  <a:gd name="connsiteX2" fmla="*/ 0 w 14287"/>
                  <a:gd name="connsiteY2" fmla="*/ 7144 h 176307"/>
                  <a:gd name="connsiteX3" fmla="*/ 7144 w 14287"/>
                  <a:gd name="connsiteY3" fmla="*/ 0 h 176307"/>
                  <a:gd name="connsiteX4" fmla="*/ 14288 w 14287"/>
                  <a:gd name="connsiteY4" fmla="*/ 7144 h 176307"/>
                  <a:gd name="connsiteX5" fmla="*/ 14288 w 14287"/>
                  <a:gd name="connsiteY5" fmla="*/ 169164 h 176307"/>
                  <a:gd name="connsiteX6" fmla="*/ 7144 w 14287"/>
                  <a:gd name="connsiteY6" fmla="*/ 176308 h 176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76307">
                    <a:moveTo>
                      <a:pt x="7144" y="176308"/>
                    </a:moveTo>
                    <a:cubicBezTo>
                      <a:pt x="3239" y="176308"/>
                      <a:pt x="0" y="173069"/>
                      <a:pt x="0" y="16916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69164"/>
                    </a:lnTo>
                    <a:cubicBezTo>
                      <a:pt x="14288" y="173069"/>
                      <a:pt x="11144" y="176308"/>
                      <a:pt x="7144" y="17630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5" name="Freihandform: Form 4296">
                <a:extLst>
                  <a:ext uri="{FF2B5EF4-FFF2-40B4-BE49-F238E27FC236}">
                    <a16:creationId xmlns:a16="http://schemas.microsoft.com/office/drawing/2014/main" id="{303D75B9-7364-A81A-6880-A75269B65AA7}"/>
                  </a:ext>
                </a:extLst>
              </p:cNvPr>
              <p:cNvSpPr/>
              <p:nvPr/>
            </p:nvSpPr>
            <p:spPr>
              <a:xfrm>
                <a:off x="6005607" y="3387185"/>
                <a:ext cx="176307" cy="14287"/>
              </a:xfrm>
              <a:custGeom>
                <a:avLst/>
                <a:gdLst>
                  <a:gd name="connsiteX0" fmla="*/ 169164 w 176307"/>
                  <a:gd name="connsiteY0" fmla="*/ 14288 h 14287"/>
                  <a:gd name="connsiteX1" fmla="*/ 7144 w 176307"/>
                  <a:gd name="connsiteY1" fmla="*/ 14288 h 14287"/>
                  <a:gd name="connsiteX2" fmla="*/ 0 w 176307"/>
                  <a:gd name="connsiteY2" fmla="*/ 7144 h 14287"/>
                  <a:gd name="connsiteX3" fmla="*/ 7144 w 176307"/>
                  <a:gd name="connsiteY3" fmla="*/ 0 h 14287"/>
                  <a:gd name="connsiteX4" fmla="*/ 169164 w 176307"/>
                  <a:gd name="connsiteY4" fmla="*/ 0 h 14287"/>
                  <a:gd name="connsiteX5" fmla="*/ 176308 w 176307"/>
                  <a:gd name="connsiteY5" fmla="*/ 7144 h 14287"/>
                  <a:gd name="connsiteX6" fmla="*/ 169164 w 17630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6307" h="14287">
                    <a:moveTo>
                      <a:pt x="16916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69164" y="0"/>
                    </a:lnTo>
                    <a:cubicBezTo>
                      <a:pt x="173069" y="0"/>
                      <a:pt x="176308" y="3239"/>
                      <a:pt x="176308" y="7144"/>
                    </a:cubicBezTo>
                    <a:cubicBezTo>
                      <a:pt x="176308" y="11049"/>
                      <a:pt x="173069" y="14288"/>
                      <a:pt x="169164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</p:grpSp>
      </p:grpSp>
      <p:sp>
        <p:nvSpPr>
          <p:cNvPr id="166" name="TextBox 165">
            <a:extLst>
              <a:ext uri="{FF2B5EF4-FFF2-40B4-BE49-F238E27FC236}">
                <a16:creationId xmlns:a16="http://schemas.microsoft.com/office/drawing/2014/main" id="{E2091F0C-EBA8-0AB7-2C96-DCF40B2192F0}"/>
              </a:ext>
            </a:extLst>
          </p:cNvPr>
          <p:cNvSpPr txBox="1"/>
          <p:nvPr/>
        </p:nvSpPr>
        <p:spPr>
          <a:xfrm>
            <a:off x="8933837" y="5113955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Network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Elements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5BA10B0B-9C51-11D1-8C2E-F03EADB95D11}"/>
              </a:ext>
            </a:extLst>
          </p:cNvPr>
          <p:cNvSpPr txBox="1"/>
          <p:nvPr/>
        </p:nvSpPr>
        <p:spPr>
          <a:xfrm>
            <a:off x="6848731" y="3069200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FDC172EB-9D42-6E0F-D790-056334E8DE04}"/>
              </a:ext>
            </a:extLst>
          </p:cNvPr>
          <p:cNvSpPr txBox="1"/>
          <p:nvPr/>
        </p:nvSpPr>
        <p:spPr>
          <a:xfrm>
            <a:off x="8686542" y="1039643"/>
            <a:ext cx="1357143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s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ABF1D955-42CB-9B4E-3D07-5673D900AD40}"/>
              </a:ext>
            </a:extLst>
          </p:cNvPr>
          <p:cNvSpPr txBox="1"/>
          <p:nvPr/>
        </p:nvSpPr>
        <p:spPr>
          <a:xfrm>
            <a:off x="4094651" y="2211273"/>
            <a:ext cx="2038655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Northbound Interface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73D9091E-C862-6B74-99C4-EF3C7B09812F}"/>
              </a:ext>
            </a:extLst>
          </p:cNvPr>
          <p:cNvSpPr txBox="1"/>
          <p:nvPr/>
        </p:nvSpPr>
        <p:spPr>
          <a:xfrm>
            <a:off x="4094652" y="4237867"/>
            <a:ext cx="2038978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Southbound Interface</a:t>
            </a: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E3CFE02C-3B84-AF21-9F30-9E085858C583}"/>
              </a:ext>
            </a:extLst>
          </p:cNvPr>
          <p:cNvSpPr/>
          <p:nvPr/>
        </p:nvSpPr>
        <p:spPr>
          <a:xfrm>
            <a:off x="6450832" y="2179386"/>
            <a:ext cx="1292541" cy="424297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accent1">
                    <a:lumMod val="75000"/>
                  </a:schemeClr>
                </a:solidFill>
              </a:rPr>
              <a:t>REST API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380F24D4-D161-D543-C3DD-0285A9C95F30}"/>
              </a:ext>
            </a:extLst>
          </p:cNvPr>
          <p:cNvSpPr/>
          <p:nvPr/>
        </p:nvSpPr>
        <p:spPr>
          <a:xfrm>
            <a:off x="6445200" y="4194996"/>
            <a:ext cx="2648582" cy="424297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accent1">
                    <a:lumMod val="75000"/>
                  </a:schemeClr>
                </a:solidFill>
              </a:rPr>
              <a:t>OpenFlow, BGP, NetConf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FD72DA95-EE2E-D89E-1371-98AF7548616E}"/>
              </a:ext>
            </a:extLst>
          </p:cNvPr>
          <p:cNvSpPr/>
          <p:nvPr/>
        </p:nvSpPr>
        <p:spPr>
          <a:xfrm>
            <a:off x="2382715" y="2917581"/>
            <a:ext cx="789142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grpSp>
        <p:nvGrpSpPr>
          <p:cNvPr id="12" name="Grafik 23">
            <a:extLst>
              <a:ext uri="{FF2B5EF4-FFF2-40B4-BE49-F238E27FC236}">
                <a16:creationId xmlns:a16="http://schemas.microsoft.com/office/drawing/2014/main" id="{56418EAC-6DD5-EB30-A9DF-DD451CB1557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593436" y="3154460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73" name="Grafik 23">
              <a:extLst>
                <a:ext uri="{FF2B5EF4-FFF2-40B4-BE49-F238E27FC236}">
                  <a16:creationId xmlns:a16="http://schemas.microsoft.com/office/drawing/2014/main" id="{44FC9635-A65F-60A1-C88A-6A68BF7A81AB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74" name="Grafik 23">
              <a:extLst>
                <a:ext uri="{FF2B5EF4-FFF2-40B4-BE49-F238E27FC236}">
                  <a16:creationId xmlns:a16="http://schemas.microsoft.com/office/drawing/2014/main" id="{7F2DAA02-7CA0-BD2D-4E73-5344B5BB6299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75" name="Grafik 23">
              <a:extLst>
                <a:ext uri="{FF2B5EF4-FFF2-40B4-BE49-F238E27FC236}">
                  <a16:creationId xmlns:a16="http://schemas.microsoft.com/office/drawing/2014/main" id="{C4EDC8C1-EB73-7980-46A7-61608FA096D8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76" name="Grafik 23">
              <a:extLst>
                <a:ext uri="{FF2B5EF4-FFF2-40B4-BE49-F238E27FC236}">
                  <a16:creationId xmlns:a16="http://schemas.microsoft.com/office/drawing/2014/main" id="{9144F994-8774-6716-031F-584C0E1787AE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77" name="Grafik 23">
              <a:extLst>
                <a:ext uri="{FF2B5EF4-FFF2-40B4-BE49-F238E27FC236}">
                  <a16:creationId xmlns:a16="http://schemas.microsoft.com/office/drawing/2014/main" id="{E9EF7738-470B-6706-CB86-A8D380E10213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78" name="Grafik 23">
              <a:extLst>
                <a:ext uri="{FF2B5EF4-FFF2-40B4-BE49-F238E27FC236}">
                  <a16:creationId xmlns:a16="http://schemas.microsoft.com/office/drawing/2014/main" id="{19012020-2FD1-AE3A-0728-7EF1811E41B5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79" name="Grafik 23">
                <a:extLst>
                  <a:ext uri="{FF2B5EF4-FFF2-40B4-BE49-F238E27FC236}">
                    <a16:creationId xmlns:a16="http://schemas.microsoft.com/office/drawing/2014/main" id="{4DE538E6-4E2D-ACBD-5836-191685539E08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80" name="Grafik 23">
                <a:extLst>
                  <a:ext uri="{FF2B5EF4-FFF2-40B4-BE49-F238E27FC236}">
                    <a16:creationId xmlns:a16="http://schemas.microsoft.com/office/drawing/2014/main" id="{90FA5FF9-3FDF-18E3-B2F7-373B8CE68013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81" name="Grafik 23">
                <a:extLst>
                  <a:ext uri="{FF2B5EF4-FFF2-40B4-BE49-F238E27FC236}">
                    <a16:creationId xmlns:a16="http://schemas.microsoft.com/office/drawing/2014/main" id="{1C65DFDA-390E-8209-4084-2F15F36872D2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82" name="Grafik 23">
                <a:extLst>
                  <a:ext uri="{FF2B5EF4-FFF2-40B4-BE49-F238E27FC236}">
                    <a16:creationId xmlns:a16="http://schemas.microsoft.com/office/drawing/2014/main" id="{71EB4ABF-71E8-2C15-41C2-3F7BEA574E49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sp>
        <p:nvSpPr>
          <p:cNvPr id="184" name="Rectangle: Rounded Corners 183">
            <a:extLst>
              <a:ext uri="{FF2B5EF4-FFF2-40B4-BE49-F238E27FC236}">
                <a16:creationId xmlns:a16="http://schemas.microsoft.com/office/drawing/2014/main" id="{A800694F-5755-F436-7FE2-4BB38832F1BB}"/>
              </a:ext>
            </a:extLst>
          </p:cNvPr>
          <p:cNvSpPr/>
          <p:nvPr/>
        </p:nvSpPr>
        <p:spPr>
          <a:xfrm>
            <a:off x="9207495" y="2917581"/>
            <a:ext cx="789142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grpSp>
        <p:nvGrpSpPr>
          <p:cNvPr id="185" name="Grafik 23">
            <a:extLst>
              <a:ext uri="{FF2B5EF4-FFF2-40B4-BE49-F238E27FC236}">
                <a16:creationId xmlns:a16="http://schemas.microsoft.com/office/drawing/2014/main" id="{72C78D53-FE88-EB83-2C1F-FF4C38767A15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418216" y="3154460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86" name="Grafik 23">
              <a:extLst>
                <a:ext uri="{FF2B5EF4-FFF2-40B4-BE49-F238E27FC236}">
                  <a16:creationId xmlns:a16="http://schemas.microsoft.com/office/drawing/2014/main" id="{7BDFCA2B-92B2-5DC4-9BC0-2B2D25B9E41E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87" name="Grafik 23">
              <a:extLst>
                <a:ext uri="{FF2B5EF4-FFF2-40B4-BE49-F238E27FC236}">
                  <a16:creationId xmlns:a16="http://schemas.microsoft.com/office/drawing/2014/main" id="{E78A07DE-8FC1-E2AC-FC3E-0D7F3EFB0ECC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88" name="Grafik 23">
              <a:extLst>
                <a:ext uri="{FF2B5EF4-FFF2-40B4-BE49-F238E27FC236}">
                  <a16:creationId xmlns:a16="http://schemas.microsoft.com/office/drawing/2014/main" id="{1B877673-A0C4-972C-8231-F854BEF3ECC2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89" name="Grafik 23">
              <a:extLst>
                <a:ext uri="{FF2B5EF4-FFF2-40B4-BE49-F238E27FC236}">
                  <a16:creationId xmlns:a16="http://schemas.microsoft.com/office/drawing/2014/main" id="{1A9DDAAA-6D50-658F-14F1-5EA695231D74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90" name="Grafik 23">
              <a:extLst>
                <a:ext uri="{FF2B5EF4-FFF2-40B4-BE49-F238E27FC236}">
                  <a16:creationId xmlns:a16="http://schemas.microsoft.com/office/drawing/2014/main" id="{456C2C58-6EC3-9731-FFF6-CDCAC438161B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91" name="Grafik 23">
              <a:extLst>
                <a:ext uri="{FF2B5EF4-FFF2-40B4-BE49-F238E27FC236}">
                  <a16:creationId xmlns:a16="http://schemas.microsoft.com/office/drawing/2014/main" id="{84C6EAF1-79F8-C339-8BF6-35CB6D617C67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92" name="Grafik 23">
                <a:extLst>
                  <a:ext uri="{FF2B5EF4-FFF2-40B4-BE49-F238E27FC236}">
                    <a16:creationId xmlns:a16="http://schemas.microsoft.com/office/drawing/2014/main" id="{4696CBE6-111B-681A-539A-647979EAE0A7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93" name="Grafik 23">
                <a:extLst>
                  <a:ext uri="{FF2B5EF4-FFF2-40B4-BE49-F238E27FC236}">
                    <a16:creationId xmlns:a16="http://schemas.microsoft.com/office/drawing/2014/main" id="{10AE62B4-B786-95CB-6D9F-7BA782D96BFE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94" name="Grafik 23">
                <a:extLst>
                  <a:ext uri="{FF2B5EF4-FFF2-40B4-BE49-F238E27FC236}">
                    <a16:creationId xmlns:a16="http://schemas.microsoft.com/office/drawing/2014/main" id="{D39D3134-ADA2-F26F-DD2D-0606F87FFE46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95" name="Grafik 23">
                <a:extLst>
                  <a:ext uri="{FF2B5EF4-FFF2-40B4-BE49-F238E27FC236}">
                    <a16:creationId xmlns:a16="http://schemas.microsoft.com/office/drawing/2014/main" id="{5F9E9572-5A9E-43A8-5EB4-5CD63537AC4C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cxnSp>
        <p:nvCxnSpPr>
          <p:cNvPr id="199" name="Straight Arrow Connector 198">
            <a:extLst>
              <a:ext uri="{FF2B5EF4-FFF2-40B4-BE49-F238E27FC236}">
                <a16:creationId xmlns:a16="http://schemas.microsoft.com/office/drawing/2014/main" id="{93BA99A2-0E6D-267D-E302-D25B8422B3CC}"/>
              </a:ext>
            </a:extLst>
          </p:cNvPr>
          <p:cNvCxnSpPr>
            <a:cxnSpLocks/>
            <a:stCxn id="6" idx="3"/>
            <a:endCxn id="184" idx="1"/>
          </p:cNvCxnSpPr>
          <p:nvPr/>
        </p:nvCxnSpPr>
        <p:spPr>
          <a:xfrm>
            <a:off x="7945177" y="3392366"/>
            <a:ext cx="1262318" cy="0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Straight Arrow Connector 206">
            <a:extLst>
              <a:ext uri="{FF2B5EF4-FFF2-40B4-BE49-F238E27FC236}">
                <a16:creationId xmlns:a16="http://schemas.microsoft.com/office/drawing/2014/main" id="{883FA306-D3DB-EAF2-7C6B-1BD3F32402A8}"/>
              </a:ext>
            </a:extLst>
          </p:cNvPr>
          <p:cNvCxnSpPr>
            <a:cxnSpLocks/>
            <a:stCxn id="11" idx="3"/>
            <a:endCxn id="6" idx="1"/>
          </p:cNvCxnSpPr>
          <p:nvPr/>
        </p:nvCxnSpPr>
        <p:spPr>
          <a:xfrm>
            <a:off x="3171857" y="3392366"/>
            <a:ext cx="1262317" cy="0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0" name="Grafik 36">
            <a:extLst>
              <a:ext uri="{FF2B5EF4-FFF2-40B4-BE49-F238E27FC236}">
                <a16:creationId xmlns:a16="http://schemas.microsoft.com/office/drawing/2014/main" id="{167EC2CB-52F7-286F-62F8-771737083405}"/>
              </a:ext>
            </a:extLst>
          </p:cNvPr>
          <p:cNvGrpSpPr/>
          <p:nvPr/>
        </p:nvGrpSpPr>
        <p:grpSpPr bwMode="gray">
          <a:xfrm>
            <a:off x="7088396" y="5277223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11" name="Grafik 36">
              <a:extLst>
                <a:ext uri="{FF2B5EF4-FFF2-40B4-BE49-F238E27FC236}">
                  <a16:creationId xmlns:a16="http://schemas.microsoft.com/office/drawing/2014/main" id="{6493AC03-A8AC-5876-BD1E-F2DFB20AE20A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33" name="Grafik 36">
                <a:extLst>
                  <a:ext uri="{FF2B5EF4-FFF2-40B4-BE49-F238E27FC236}">
                    <a16:creationId xmlns:a16="http://schemas.microsoft.com/office/drawing/2014/main" id="{81A33930-C214-CA47-69BA-4C4B25606975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4" name="Grafik 36">
                <a:extLst>
                  <a:ext uri="{FF2B5EF4-FFF2-40B4-BE49-F238E27FC236}">
                    <a16:creationId xmlns:a16="http://schemas.microsoft.com/office/drawing/2014/main" id="{C2978BEB-18EA-4EB6-78F8-8EEAF466BC6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5" name="Grafik 36">
                <a:extLst>
                  <a:ext uri="{FF2B5EF4-FFF2-40B4-BE49-F238E27FC236}">
                    <a16:creationId xmlns:a16="http://schemas.microsoft.com/office/drawing/2014/main" id="{7DB8C01E-E28A-130A-0944-6DA60C9FCED9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6" name="Grafik 36">
                <a:extLst>
                  <a:ext uri="{FF2B5EF4-FFF2-40B4-BE49-F238E27FC236}">
                    <a16:creationId xmlns:a16="http://schemas.microsoft.com/office/drawing/2014/main" id="{5E69AA24-9128-3142-5BF6-8EE6E38298BE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7" name="Grafik 36">
                <a:extLst>
                  <a:ext uri="{FF2B5EF4-FFF2-40B4-BE49-F238E27FC236}">
                    <a16:creationId xmlns:a16="http://schemas.microsoft.com/office/drawing/2014/main" id="{FB55BB3D-D3FE-7EDA-C8E8-5B002460FE61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12" name="Grafik 36">
              <a:extLst>
                <a:ext uri="{FF2B5EF4-FFF2-40B4-BE49-F238E27FC236}">
                  <a16:creationId xmlns:a16="http://schemas.microsoft.com/office/drawing/2014/main" id="{A43AAD96-8F24-2908-8607-AAB372204B97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13" name="Grafik 36">
                <a:extLst>
                  <a:ext uri="{FF2B5EF4-FFF2-40B4-BE49-F238E27FC236}">
                    <a16:creationId xmlns:a16="http://schemas.microsoft.com/office/drawing/2014/main" id="{ACBF298F-878E-9DE3-9120-11179D351E12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24" name="Grafik 36">
                  <a:extLst>
                    <a:ext uri="{FF2B5EF4-FFF2-40B4-BE49-F238E27FC236}">
                      <a16:creationId xmlns:a16="http://schemas.microsoft.com/office/drawing/2014/main" id="{8E66DBFF-C02D-C98C-E5DF-0AE1645754A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30" name="Grafik 36">
                    <a:extLst>
                      <a:ext uri="{FF2B5EF4-FFF2-40B4-BE49-F238E27FC236}">
                        <a16:creationId xmlns:a16="http://schemas.microsoft.com/office/drawing/2014/main" id="{8C804196-ADD2-7E11-402F-40787860365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1" name="Grafik 36">
                    <a:extLst>
                      <a:ext uri="{FF2B5EF4-FFF2-40B4-BE49-F238E27FC236}">
                        <a16:creationId xmlns:a16="http://schemas.microsoft.com/office/drawing/2014/main" id="{73311D99-FE5F-45A7-8D30-EF81043E137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2" name="Grafik 36">
                    <a:extLst>
                      <a:ext uri="{FF2B5EF4-FFF2-40B4-BE49-F238E27FC236}">
                        <a16:creationId xmlns:a16="http://schemas.microsoft.com/office/drawing/2014/main" id="{19421A74-9A38-39DC-BAD2-737350022F3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25" name="Grafik 36">
                  <a:extLst>
                    <a:ext uri="{FF2B5EF4-FFF2-40B4-BE49-F238E27FC236}">
                      <a16:creationId xmlns:a16="http://schemas.microsoft.com/office/drawing/2014/main" id="{BAD1249D-F47A-2950-C932-C0FD0108F4B5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226" name="Grafik 36">
                  <a:extLst>
                    <a:ext uri="{FF2B5EF4-FFF2-40B4-BE49-F238E27FC236}">
                      <a16:creationId xmlns:a16="http://schemas.microsoft.com/office/drawing/2014/main" id="{DFF45C9B-B47C-3616-14F2-ED3FE5E82CC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27" name="Grafik 36">
                    <a:extLst>
                      <a:ext uri="{FF2B5EF4-FFF2-40B4-BE49-F238E27FC236}">
                        <a16:creationId xmlns:a16="http://schemas.microsoft.com/office/drawing/2014/main" id="{57146013-5385-DDE4-1806-03F2B56E9F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8" name="Grafik 36">
                    <a:extLst>
                      <a:ext uri="{FF2B5EF4-FFF2-40B4-BE49-F238E27FC236}">
                        <a16:creationId xmlns:a16="http://schemas.microsoft.com/office/drawing/2014/main" id="{E3255D03-3278-DF97-E046-85780C2EEA0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9" name="Grafik 36">
                    <a:extLst>
                      <a:ext uri="{FF2B5EF4-FFF2-40B4-BE49-F238E27FC236}">
                        <a16:creationId xmlns:a16="http://schemas.microsoft.com/office/drawing/2014/main" id="{5377EA4B-597F-E827-4D72-A55A71DCDD7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214" name="Grafik 36">
                <a:extLst>
                  <a:ext uri="{FF2B5EF4-FFF2-40B4-BE49-F238E27FC236}">
                    <a16:creationId xmlns:a16="http://schemas.microsoft.com/office/drawing/2014/main" id="{A3F6274D-F1C0-DBB7-ECBE-30F2895053A4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15" name="Grafik 36">
                  <a:extLst>
                    <a:ext uri="{FF2B5EF4-FFF2-40B4-BE49-F238E27FC236}">
                      <a16:creationId xmlns:a16="http://schemas.microsoft.com/office/drawing/2014/main" id="{261E608E-CB5D-CD76-3FEE-A9827DDBEB6E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21" name="Grafik 36">
                    <a:extLst>
                      <a:ext uri="{FF2B5EF4-FFF2-40B4-BE49-F238E27FC236}">
                        <a16:creationId xmlns:a16="http://schemas.microsoft.com/office/drawing/2014/main" id="{7684921D-8CB3-39F1-9E6C-C6E3EA5DB5C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2" name="Grafik 36">
                    <a:extLst>
                      <a:ext uri="{FF2B5EF4-FFF2-40B4-BE49-F238E27FC236}">
                        <a16:creationId xmlns:a16="http://schemas.microsoft.com/office/drawing/2014/main" id="{A71FBA24-7C36-EA6F-2A31-7BDE6FDA393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3" name="Grafik 36">
                    <a:extLst>
                      <a:ext uri="{FF2B5EF4-FFF2-40B4-BE49-F238E27FC236}">
                        <a16:creationId xmlns:a16="http://schemas.microsoft.com/office/drawing/2014/main" id="{1A33D8C6-3550-C8CF-B7E5-E13FA598494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16" name="Grafik 36">
                  <a:extLst>
                    <a:ext uri="{FF2B5EF4-FFF2-40B4-BE49-F238E27FC236}">
                      <a16:creationId xmlns:a16="http://schemas.microsoft.com/office/drawing/2014/main" id="{26BEF3DB-D7FB-836F-29C0-4F616BA7DD6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17" name="Grafik 36">
                  <a:extLst>
                    <a:ext uri="{FF2B5EF4-FFF2-40B4-BE49-F238E27FC236}">
                      <a16:creationId xmlns:a16="http://schemas.microsoft.com/office/drawing/2014/main" id="{97176BC4-E2EF-49B4-0911-3B10B08F344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18" name="Grafik 36">
                    <a:extLst>
                      <a:ext uri="{FF2B5EF4-FFF2-40B4-BE49-F238E27FC236}">
                        <a16:creationId xmlns:a16="http://schemas.microsoft.com/office/drawing/2014/main" id="{82788B9E-422B-F1AF-9F0E-D8F7D400B2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9" name="Grafik 36">
                    <a:extLst>
                      <a:ext uri="{FF2B5EF4-FFF2-40B4-BE49-F238E27FC236}">
                        <a16:creationId xmlns:a16="http://schemas.microsoft.com/office/drawing/2014/main" id="{981031A5-791D-D610-41B7-52D5BA54D0B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0" name="Grafik 36">
                    <a:extLst>
                      <a:ext uri="{FF2B5EF4-FFF2-40B4-BE49-F238E27FC236}">
                        <a16:creationId xmlns:a16="http://schemas.microsoft.com/office/drawing/2014/main" id="{E26E9507-8D97-B6D9-794E-02D04611565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238" name="Grafik 36">
            <a:extLst>
              <a:ext uri="{FF2B5EF4-FFF2-40B4-BE49-F238E27FC236}">
                <a16:creationId xmlns:a16="http://schemas.microsoft.com/office/drawing/2014/main" id="{6EB931C9-B5B0-067F-E59C-1D6882589F8B}"/>
              </a:ext>
            </a:extLst>
          </p:cNvPr>
          <p:cNvGrpSpPr/>
          <p:nvPr/>
        </p:nvGrpSpPr>
        <p:grpSpPr bwMode="gray">
          <a:xfrm>
            <a:off x="8431386" y="5277223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39" name="Grafik 36">
              <a:extLst>
                <a:ext uri="{FF2B5EF4-FFF2-40B4-BE49-F238E27FC236}">
                  <a16:creationId xmlns:a16="http://schemas.microsoft.com/office/drawing/2014/main" id="{094AA19E-D173-F8FB-8F89-0AD3D25A1DB1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61" name="Grafik 36">
                <a:extLst>
                  <a:ext uri="{FF2B5EF4-FFF2-40B4-BE49-F238E27FC236}">
                    <a16:creationId xmlns:a16="http://schemas.microsoft.com/office/drawing/2014/main" id="{E4D69159-68AC-CEF7-C375-6CC2274943B7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2" name="Grafik 36">
                <a:extLst>
                  <a:ext uri="{FF2B5EF4-FFF2-40B4-BE49-F238E27FC236}">
                    <a16:creationId xmlns:a16="http://schemas.microsoft.com/office/drawing/2014/main" id="{4D182599-031C-0B45-07FD-4C9F893F2C5D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3" name="Grafik 36">
                <a:extLst>
                  <a:ext uri="{FF2B5EF4-FFF2-40B4-BE49-F238E27FC236}">
                    <a16:creationId xmlns:a16="http://schemas.microsoft.com/office/drawing/2014/main" id="{8853D9DC-0C23-015C-4F60-107BDBB4922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4" name="Grafik 36">
                <a:extLst>
                  <a:ext uri="{FF2B5EF4-FFF2-40B4-BE49-F238E27FC236}">
                    <a16:creationId xmlns:a16="http://schemas.microsoft.com/office/drawing/2014/main" id="{497DFACF-C8E6-C1F5-8878-5002EDFD286E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5" name="Grafik 36">
                <a:extLst>
                  <a:ext uri="{FF2B5EF4-FFF2-40B4-BE49-F238E27FC236}">
                    <a16:creationId xmlns:a16="http://schemas.microsoft.com/office/drawing/2014/main" id="{6271DED1-0802-0FE8-F46E-B891A156DB3F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40" name="Grafik 36">
              <a:extLst>
                <a:ext uri="{FF2B5EF4-FFF2-40B4-BE49-F238E27FC236}">
                  <a16:creationId xmlns:a16="http://schemas.microsoft.com/office/drawing/2014/main" id="{FA516BDE-0D04-E744-3EEB-38FF4DFF56B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41" name="Grafik 36">
                <a:extLst>
                  <a:ext uri="{FF2B5EF4-FFF2-40B4-BE49-F238E27FC236}">
                    <a16:creationId xmlns:a16="http://schemas.microsoft.com/office/drawing/2014/main" id="{46E63E89-3AD2-8B63-310F-835A57A2C46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52" name="Grafik 36">
                  <a:extLst>
                    <a:ext uri="{FF2B5EF4-FFF2-40B4-BE49-F238E27FC236}">
                      <a16:creationId xmlns:a16="http://schemas.microsoft.com/office/drawing/2014/main" id="{4B2E56BF-C48F-9973-8961-7E16F7A1023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58" name="Grafik 36">
                    <a:extLst>
                      <a:ext uri="{FF2B5EF4-FFF2-40B4-BE49-F238E27FC236}">
                        <a16:creationId xmlns:a16="http://schemas.microsoft.com/office/drawing/2014/main" id="{2BFD67E6-F0EC-A70B-E609-3A01D25804F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9" name="Grafik 36">
                    <a:extLst>
                      <a:ext uri="{FF2B5EF4-FFF2-40B4-BE49-F238E27FC236}">
                        <a16:creationId xmlns:a16="http://schemas.microsoft.com/office/drawing/2014/main" id="{4CC469A6-9C82-4673-E8A5-714CD29267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60" name="Grafik 36">
                    <a:extLst>
                      <a:ext uri="{FF2B5EF4-FFF2-40B4-BE49-F238E27FC236}">
                        <a16:creationId xmlns:a16="http://schemas.microsoft.com/office/drawing/2014/main" id="{3E2088F5-62A4-63B9-A2FB-4880F3B41C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53" name="Grafik 36">
                  <a:extLst>
                    <a:ext uri="{FF2B5EF4-FFF2-40B4-BE49-F238E27FC236}">
                      <a16:creationId xmlns:a16="http://schemas.microsoft.com/office/drawing/2014/main" id="{23D8C233-4E61-34A0-B35D-63C9755E74E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254" name="Grafik 36">
                  <a:extLst>
                    <a:ext uri="{FF2B5EF4-FFF2-40B4-BE49-F238E27FC236}">
                      <a16:creationId xmlns:a16="http://schemas.microsoft.com/office/drawing/2014/main" id="{46488BA8-7803-2BC8-96C2-DCAAC833CE3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55" name="Grafik 36">
                    <a:extLst>
                      <a:ext uri="{FF2B5EF4-FFF2-40B4-BE49-F238E27FC236}">
                        <a16:creationId xmlns:a16="http://schemas.microsoft.com/office/drawing/2014/main" id="{AE97C0EC-46A8-9D49-A47B-809ADE81A6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6" name="Grafik 36">
                    <a:extLst>
                      <a:ext uri="{FF2B5EF4-FFF2-40B4-BE49-F238E27FC236}">
                        <a16:creationId xmlns:a16="http://schemas.microsoft.com/office/drawing/2014/main" id="{2B3D9178-448D-6319-BA23-6CBBB3C3EA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7" name="Grafik 36">
                    <a:extLst>
                      <a:ext uri="{FF2B5EF4-FFF2-40B4-BE49-F238E27FC236}">
                        <a16:creationId xmlns:a16="http://schemas.microsoft.com/office/drawing/2014/main" id="{7377A9AF-0848-1F0F-F746-E2B1D1EF16F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242" name="Grafik 36">
                <a:extLst>
                  <a:ext uri="{FF2B5EF4-FFF2-40B4-BE49-F238E27FC236}">
                    <a16:creationId xmlns:a16="http://schemas.microsoft.com/office/drawing/2014/main" id="{C931086F-A97F-7CC9-461A-77CBF793320B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43" name="Grafik 36">
                  <a:extLst>
                    <a:ext uri="{FF2B5EF4-FFF2-40B4-BE49-F238E27FC236}">
                      <a16:creationId xmlns:a16="http://schemas.microsoft.com/office/drawing/2014/main" id="{E2E8BDAC-3ED0-5235-61AE-100D759CB0AB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49" name="Grafik 36">
                    <a:extLst>
                      <a:ext uri="{FF2B5EF4-FFF2-40B4-BE49-F238E27FC236}">
                        <a16:creationId xmlns:a16="http://schemas.microsoft.com/office/drawing/2014/main" id="{C18D96E7-4D59-7136-7CD2-6E54395470B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0" name="Grafik 36">
                    <a:extLst>
                      <a:ext uri="{FF2B5EF4-FFF2-40B4-BE49-F238E27FC236}">
                        <a16:creationId xmlns:a16="http://schemas.microsoft.com/office/drawing/2014/main" id="{D5B9125E-6754-0EA5-67CC-4023CBCE639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1" name="Grafik 36">
                    <a:extLst>
                      <a:ext uri="{FF2B5EF4-FFF2-40B4-BE49-F238E27FC236}">
                        <a16:creationId xmlns:a16="http://schemas.microsoft.com/office/drawing/2014/main" id="{FBBBD07E-5F98-D524-1A7A-EC3B055115E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44" name="Grafik 36">
                  <a:extLst>
                    <a:ext uri="{FF2B5EF4-FFF2-40B4-BE49-F238E27FC236}">
                      <a16:creationId xmlns:a16="http://schemas.microsoft.com/office/drawing/2014/main" id="{39681891-37EB-4A5A-3B88-879CBDDD9838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45" name="Grafik 36">
                  <a:extLst>
                    <a:ext uri="{FF2B5EF4-FFF2-40B4-BE49-F238E27FC236}">
                      <a16:creationId xmlns:a16="http://schemas.microsoft.com/office/drawing/2014/main" id="{C4399F55-EF9C-AB86-96AA-CB4ADA84AF8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46" name="Grafik 36">
                    <a:extLst>
                      <a:ext uri="{FF2B5EF4-FFF2-40B4-BE49-F238E27FC236}">
                        <a16:creationId xmlns:a16="http://schemas.microsoft.com/office/drawing/2014/main" id="{27A47CC0-EB9A-00ED-A2AB-16B6BD90BF0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7" name="Grafik 36">
                    <a:extLst>
                      <a:ext uri="{FF2B5EF4-FFF2-40B4-BE49-F238E27FC236}">
                        <a16:creationId xmlns:a16="http://schemas.microsoft.com/office/drawing/2014/main" id="{09CD3D77-BC8B-C450-98BA-9E804781E6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8" name="Grafik 36">
                    <a:extLst>
                      <a:ext uri="{FF2B5EF4-FFF2-40B4-BE49-F238E27FC236}">
                        <a16:creationId xmlns:a16="http://schemas.microsoft.com/office/drawing/2014/main" id="{071DA07E-03B9-4075-1B16-1AC5A927DD2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sp>
        <p:nvSpPr>
          <p:cNvPr id="267" name="TextBox 266">
            <a:extLst>
              <a:ext uri="{FF2B5EF4-FFF2-40B4-BE49-F238E27FC236}">
                <a16:creationId xmlns:a16="http://schemas.microsoft.com/office/drawing/2014/main" id="{C66ED517-480F-2378-D256-FE6E4364033D}"/>
              </a:ext>
            </a:extLst>
          </p:cNvPr>
          <p:cNvSpPr txBox="1"/>
          <p:nvPr/>
        </p:nvSpPr>
        <p:spPr>
          <a:xfrm>
            <a:off x="3285012" y="3102971"/>
            <a:ext cx="1087698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Eastbound Interface</a:t>
            </a:r>
          </a:p>
        </p:txBody>
      </p:sp>
      <p:sp>
        <p:nvSpPr>
          <p:cNvPr id="269" name="TextBox 268">
            <a:extLst>
              <a:ext uri="{FF2B5EF4-FFF2-40B4-BE49-F238E27FC236}">
                <a16:creationId xmlns:a16="http://schemas.microsoft.com/office/drawing/2014/main" id="{C6C4251D-AA03-B84C-69F7-F5D2976E5B60}"/>
              </a:ext>
            </a:extLst>
          </p:cNvPr>
          <p:cNvSpPr txBox="1"/>
          <p:nvPr/>
        </p:nvSpPr>
        <p:spPr>
          <a:xfrm>
            <a:off x="8025365" y="3084397"/>
            <a:ext cx="1143600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Westbound Interface</a:t>
            </a:r>
          </a:p>
        </p:txBody>
      </p:sp>
    </p:spTree>
    <p:extLst>
      <p:ext uri="{BB962C8B-B14F-4D97-AF65-F5344CB8AC3E}">
        <p14:creationId xmlns:p14="http://schemas.microsoft.com/office/powerpoint/2010/main" val="323800348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7180D7-B8F1-B52E-D501-55A9A007C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09" name="Grafik 36">
            <a:extLst>
              <a:ext uri="{FF2B5EF4-FFF2-40B4-BE49-F238E27FC236}">
                <a16:creationId xmlns:a16="http://schemas.microsoft.com/office/drawing/2014/main" id="{B36CE248-2FDC-926F-A540-75427B7425C2}"/>
              </a:ext>
            </a:extLst>
          </p:cNvPr>
          <p:cNvGrpSpPr/>
          <p:nvPr/>
        </p:nvGrpSpPr>
        <p:grpSpPr bwMode="gray">
          <a:xfrm>
            <a:off x="3458638" y="3786206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10" name="Grafik 36">
              <a:extLst>
                <a:ext uri="{FF2B5EF4-FFF2-40B4-BE49-F238E27FC236}">
                  <a16:creationId xmlns:a16="http://schemas.microsoft.com/office/drawing/2014/main" id="{47EEBEC7-8A13-B158-9D38-6739F66E6210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32" name="Grafik 36">
                <a:extLst>
                  <a:ext uri="{FF2B5EF4-FFF2-40B4-BE49-F238E27FC236}">
                    <a16:creationId xmlns:a16="http://schemas.microsoft.com/office/drawing/2014/main" id="{D7B8C09A-959A-4E4E-0C47-8DA8199D0BF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3" name="Grafik 36">
                <a:extLst>
                  <a:ext uri="{FF2B5EF4-FFF2-40B4-BE49-F238E27FC236}">
                    <a16:creationId xmlns:a16="http://schemas.microsoft.com/office/drawing/2014/main" id="{E5206A4E-1178-817B-5ADA-493449EBCF8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4" name="Grafik 36">
                <a:extLst>
                  <a:ext uri="{FF2B5EF4-FFF2-40B4-BE49-F238E27FC236}">
                    <a16:creationId xmlns:a16="http://schemas.microsoft.com/office/drawing/2014/main" id="{916DEC2C-5E43-6687-727C-690A5B1A4775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5" name="Grafik 36">
                <a:extLst>
                  <a:ext uri="{FF2B5EF4-FFF2-40B4-BE49-F238E27FC236}">
                    <a16:creationId xmlns:a16="http://schemas.microsoft.com/office/drawing/2014/main" id="{E75EB4B7-034A-702B-24E8-9C0A69B5132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6" name="Grafik 36">
                <a:extLst>
                  <a:ext uri="{FF2B5EF4-FFF2-40B4-BE49-F238E27FC236}">
                    <a16:creationId xmlns:a16="http://schemas.microsoft.com/office/drawing/2014/main" id="{8BBD5FE2-35FB-B67A-8398-E5C38526767D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11" name="Grafik 36">
              <a:extLst>
                <a:ext uri="{FF2B5EF4-FFF2-40B4-BE49-F238E27FC236}">
                  <a16:creationId xmlns:a16="http://schemas.microsoft.com/office/drawing/2014/main" id="{569D9EAA-7E2E-15E9-8540-858049EFB230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12" name="Grafik 36">
                <a:extLst>
                  <a:ext uri="{FF2B5EF4-FFF2-40B4-BE49-F238E27FC236}">
                    <a16:creationId xmlns:a16="http://schemas.microsoft.com/office/drawing/2014/main" id="{CB7DB215-3B8C-FE30-D00E-C9D2BF39167A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23" name="Grafik 36">
                  <a:extLst>
                    <a:ext uri="{FF2B5EF4-FFF2-40B4-BE49-F238E27FC236}">
                      <a16:creationId xmlns:a16="http://schemas.microsoft.com/office/drawing/2014/main" id="{6F452E90-59D5-0FDD-C08A-13B16A2C3888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29" name="Grafik 36">
                    <a:extLst>
                      <a:ext uri="{FF2B5EF4-FFF2-40B4-BE49-F238E27FC236}">
                        <a16:creationId xmlns:a16="http://schemas.microsoft.com/office/drawing/2014/main" id="{5DD29359-F620-C2A4-152F-CBE712A4065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0" name="Grafik 36">
                    <a:extLst>
                      <a:ext uri="{FF2B5EF4-FFF2-40B4-BE49-F238E27FC236}">
                        <a16:creationId xmlns:a16="http://schemas.microsoft.com/office/drawing/2014/main" id="{4352BBE6-B8B3-16E2-57A9-D376177463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1" name="Grafik 36">
                    <a:extLst>
                      <a:ext uri="{FF2B5EF4-FFF2-40B4-BE49-F238E27FC236}">
                        <a16:creationId xmlns:a16="http://schemas.microsoft.com/office/drawing/2014/main" id="{660B335B-BDEE-F8BC-9CD8-F561094E41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24" name="Grafik 36">
                  <a:extLst>
                    <a:ext uri="{FF2B5EF4-FFF2-40B4-BE49-F238E27FC236}">
                      <a16:creationId xmlns:a16="http://schemas.microsoft.com/office/drawing/2014/main" id="{9378E510-3D86-CB05-D238-B69AC167F3F4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225" name="Grafik 36">
                  <a:extLst>
                    <a:ext uri="{FF2B5EF4-FFF2-40B4-BE49-F238E27FC236}">
                      <a16:creationId xmlns:a16="http://schemas.microsoft.com/office/drawing/2014/main" id="{15EE2A72-C9FD-F91B-CF63-3ABC090AF00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26" name="Grafik 36">
                    <a:extLst>
                      <a:ext uri="{FF2B5EF4-FFF2-40B4-BE49-F238E27FC236}">
                        <a16:creationId xmlns:a16="http://schemas.microsoft.com/office/drawing/2014/main" id="{30532DA6-40D1-9C07-83B6-B74A8FFA113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7" name="Grafik 36">
                    <a:extLst>
                      <a:ext uri="{FF2B5EF4-FFF2-40B4-BE49-F238E27FC236}">
                        <a16:creationId xmlns:a16="http://schemas.microsoft.com/office/drawing/2014/main" id="{B41E290B-1820-855B-77D4-66D94A0FB20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8" name="Grafik 36">
                    <a:extLst>
                      <a:ext uri="{FF2B5EF4-FFF2-40B4-BE49-F238E27FC236}">
                        <a16:creationId xmlns:a16="http://schemas.microsoft.com/office/drawing/2014/main" id="{7054D80A-5837-6DD7-EF43-314296C90CA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213" name="Grafik 36">
                <a:extLst>
                  <a:ext uri="{FF2B5EF4-FFF2-40B4-BE49-F238E27FC236}">
                    <a16:creationId xmlns:a16="http://schemas.microsoft.com/office/drawing/2014/main" id="{E664AC79-4960-0F48-D36F-FD93BB7CFD0D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14" name="Grafik 36">
                  <a:extLst>
                    <a:ext uri="{FF2B5EF4-FFF2-40B4-BE49-F238E27FC236}">
                      <a16:creationId xmlns:a16="http://schemas.microsoft.com/office/drawing/2014/main" id="{0C116CC4-7565-139E-5985-904C13F5F71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20" name="Grafik 36">
                    <a:extLst>
                      <a:ext uri="{FF2B5EF4-FFF2-40B4-BE49-F238E27FC236}">
                        <a16:creationId xmlns:a16="http://schemas.microsoft.com/office/drawing/2014/main" id="{53BC0858-B907-D8DC-0610-CB552EE60E6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1" name="Grafik 36">
                    <a:extLst>
                      <a:ext uri="{FF2B5EF4-FFF2-40B4-BE49-F238E27FC236}">
                        <a16:creationId xmlns:a16="http://schemas.microsoft.com/office/drawing/2014/main" id="{7A49A812-AD7D-95EE-7BC4-B5C6437787E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2" name="Grafik 36">
                    <a:extLst>
                      <a:ext uri="{FF2B5EF4-FFF2-40B4-BE49-F238E27FC236}">
                        <a16:creationId xmlns:a16="http://schemas.microsoft.com/office/drawing/2014/main" id="{46EBB1CC-942F-C22D-4306-825AC20E8EC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15" name="Grafik 36">
                  <a:extLst>
                    <a:ext uri="{FF2B5EF4-FFF2-40B4-BE49-F238E27FC236}">
                      <a16:creationId xmlns:a16="http://schemas.microsoft.com/office/drawing/2014/main" id="{9847C69D-B5A8-131A-CF18-DE7B115914D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16" name="Grafik 36">
                  <a:extLst>
                    <a:ext uri="{FF2B5EF4-FFF2-40B4-BE49-F238E27FC236}">
                      <a16:creationId xmlns:a16="http://schemas.microsoft.com/office/drawing/2014/main" id="{9F84AAD5-9764-72EB-2F32-5AAB885D165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17" name="Grafik 36">
                    <a:extLst>
                      <a:ext uri="{FF2B5EF4-FFF2-40B4-BE49-F238E27FC236}">
                        <a16:creationId xmlns:a16="http://schemas.microsoft.com/office/drawing/2014/main" id="{33F15449-1A3A-0709-70B3-BC948532A7E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8" name="Grafik 36">
                    <a:extLst>
                      <a:ext uri="{FF2B5EF4-FFF2-40B4-BE49-F238E27FC236}">
                        <a16:creationId xmlns:a16="http://schemas.microsoft.com/office/drawing/2014/main" id="{C3344AB9-2D89-63BD-B8AB-922D3C150C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9" name="Grafik 36">
                    <a:extLst>
                      <a:ext uri="{FF2B5EF4-FFF2-40B4-BE49-F238E27FC236}">
                        <a16:creationId xmlns:a16="http://schemas.microsoft.com/office/drawing/2014/main" id="{F8058BBB-FCB4-4301-8DEC-D59901C340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2" name="Grafik 27">
            <a:extLst>
              <a:ext uri="{FF2B5EF4-FFF2-40B4-BE49-F238E27FC236}">
                <a16:creationId xmlns:a16="http://schemas.microsoft.com/office/drawing/2014/main" id="{8DE78359-08A3-8E16-254E-3B91579C7E9C}"/>
              </a:ext>
            </a:extLst>
          </p:cNvPr>
          <p:cNvGrpSpPr/>
          <p:nvPr/>
        </p:nvGrpSpPr>
        <p:grpSpPr bwMode="gray">
          <a:xfrm>
            <a:off x="3458674" y="3468532"/>
            <a:ext cx="374400" cy="374400"/>
            <a:chOff x="5843587" y="3176587"/>
            <a:chExt cx="500253" cy="500253"/>
          </a:xfrm>
          <a:solidFill>
            <a:schemeClr val="accent2">
              <a:lumMod val="75000"/>
            </a:schemeClr>
          </a:solidFill>
        </p:grpSpPr>
        <p:grpSp>
          <p:nvGrpSpPr>
            <p:cNvPr id="3" name="Grafik 27">
              <a:extLst>
                <a:ext uri="{FF2B5EF4-FFF2-40B4-BE49-F238E27FC236}">
                  <a16:creationId xmlns:a16="http://schemas.microsoft.com/office/drawing/2014/main" id="{49821D22-464F-B145-EC2A-FCA35CBBB64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04" name="Grafik 27">
                <a:extLst>
                  <a:ext uri="{FF2B5EF4-FFF2-40B4-BE49-F238E27FC236}">
                    <a16:creationId xmlns:a16="http://schemas.microsoft.com/office/drawing/2014/main" id="{07D58A3C-825C-71FA-57D2-5A03639689DD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5" name="Grafik 27">
                <a:extLst>
                  <a:ext uri="{FF2B5EF4-FFF2-40B4-BE49-F238E27FC236}">
                    <a16:creationId xmlns:a16="http://schemas.microsoft.com/office/drawing/2014/main" id="{5AC5EFA1-F650-99F9-548B-83C145218B49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6" name="Grafik 27">
                <a:extLst>
                  <a:ext uri="{FF2B5EF4-FFF2-40B4-BE49-F238E27FC236}">
                    <a16:creationId xmlns:a16="http://schemas.microsoft.com/office/drawing/2014/main" id="{CA849DB5-18C4-540E-234F-3A245CECA918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7" name="Grafik 27">
                <a:extLst>
                  <a:ext uri="{FF2B5EF4-FFF2-40B4-BE49-F238E27FC236}">
                    <a16:creationId xmlns:a16="http://schemas.microsoft.com/office/drawing/2014/main" id="{89898601-8586-79AC-6C4B-9B015B688C4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8" name="Grafik 27">
                <a:extLst>
                  <a:ext uri="{FF2B5EF4-FFF2-40B4-BE49-F238E27FC236}">
                    <a16:creationId xmlns:a16="http://schemas.microsoft.com/office/drawing/2014/main" id="{CD7B2F0F-F938-2BF6-C56D-5E9834060126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" name="Grafik 27">
              <a:extLst>
                <a:ext uri="{FF2B5EF4-FFF2-40B4-BE49-F238E27FC236}">
                  <a16:creationId xmlns:a16="http://schemas.microsoft.com/office/drawing/2014/main" id="{66FE673C-424B-AD6B-A8A7-42AA52A9ED0B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11" name="Grafik 27">
                <a:extLst>
                  <a:ext uri="{FF2B5EF4-FFF2-40B4-BE49-F238E27FC236}">
                    <a16:creationId xmlns:a16="http://schemas.microsoft.com/office/drawing/2014/main" id="{569108C6-EF62-0E09-5D08-AD9E9AA64866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201" name="Grafik 27">
                  <a:extLst>
                    <a:ext uri="{FF2B5EF4-FFF2-40B4-BE49-F238E27FC236}">
                      <a16:creationId xmlns:a16="http://schemas.microsoft.com/office/drawing/2014/main" id="{CBCACD51-BECE-4F16-D988-B896D1C06836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2" name="Grafik 27">
                  <a:extLst>
                    <a:ext uri="{FF2B5EF4-FFF2-40B4-BE49-F238E27FC236}">
                      <a16:creationId xmlns:a16="http://schemas.microsoft.com/office/drawing/2014/main" id="{A0E8879D-107E-A772-FEDE-BFBAE8971C58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3" name="Grafik 27">
                  <a:extLst>
                    <a:ext uri="{FF2B5EF4-FFF2-40B4-BE49-F238E27FC236}">
                      <a16:creationId xmlns:a16="http://schemas.microsoft.com/office/drawing/2014/main" id="{6DC71FB6-8D67-D5C3-76A4-DD1C027DE323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2" name="Grafik 27">
                <a:extLst>
                  <a:ext uri="{FF2B5EF4-FFF2-40B4-BE49-F238E27FC236}">
                    <a16:creationId xmlns:a16="http://schemas.microsoft.com/office/drawing/2014/main" id="{25EFD31B-C4E9-E6C8-32B0-3AAED4DE6308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198" name="Grafik 27">
                  <a:extLst>
                    <a:ext uri="{FF2B5EF4-FFF2-40B4-BE49-F238E27FC236}">
                      <a16:creationId xmlns:a16="http://schemas.microsoft.com/office/drawing/2014/main" id="{DBAA44D1-C25D-1FD7-1AA8-D81B78CE5485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9" name="Grafik 27">
                  <a:extLst>
                    <a:ext uri="{FF2B5EF4-FFF2-40B4-BE49-F238E27FC236}">
                      <a16:creationId xmlns:a16="http://schemas.microsoft.com/office/drawing/2014/main" id="{A1176DAF-5C77-AA5B-A3EB-118433D91E3F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0" name="Grafik 27">
                  <a:extLst>
                    <a:ext uri="{FF2B5EF4-FFF2-40B4-BE49-F238E27FC236}">
                      <a16:creationId xmlns:a16="http://schemas.microsoft.com/office/drawing/2014/main" id="{0F807136-F118-0073-BEB5-2B6E2370D4B6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3" name="Grafik 27">
                <a:extLst>
                  <a:ext uri="{FF2B5EF4-FFF2-40B4-BE49-F238E27FC236}">
                    <a16:creationId xmlns:a16="http://schemas.microsoft.com/office/drawing/2014/main" id="{56B01DA1-70EB-C62D-4F34-1F4F7C212FF1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195" name="Grafik 27">
                  <a:extLst>
                    <a:ext uri="{FF2B5EF4-FFF2-40B4-BE49-F238E27FC236}">
                      <a16:creationId xmlns:a16="http://schemas.microsoft.com/office/drawing/2014/main" id="{E310A356-5F30-34B1-62A2-99F0C72308D4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6" name="Grafik 27">
                  <a:extLst>
                    <a:ext uri="{FF2B5EF4-FFF2-40B4-BE49-F238E27FC236}">
                      <a16:creationId xmlns:a16="http://schemas.microsoft.com/office/drawing/2014/main" id="{72ADB149-1157-4193-C4CF-1EAE2EB0B481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7" name="Grafik 27">
                  <a:extLst>
                    <a:ext uri="{FF2B5EF4-FFF2-40B4-BE49-F238E27FC236}">
                      <a16:creationId xmlns:a16="http://schemas.microsoft.com/office/drawing/2014/main" id="{6AEE983C-B56F-ABBF-F5F5-361995C5EAD9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4" name="Grafik 27">
                <a:extLst>
                  <a:ext uri="{FF2B5EF4-FFF2-40B4-BE49-F238E27FC236}">
                    <a16:creationId xmlns:a16="http://schemas.microsoft.com/office/drawing/2014/main" id="{087871C5-5A05-E653-4128-B2A50E31656B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192" name="Grafik 27">
                  <a:extLst>
                    <a:ext uri="{FF2B5EF4-FFF2-40B4-BE49-F238E27FC236}">
                      <a16:creationId xmlns:a16="http://schemas.microsoft.com/office/drawing/2014/main" id="{3EA7C069-D337-BF85-2314-1E2CD7799BF7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" name="Grafik 27">
                  <a:extLst>
                    <a:ext uri="{FF2B5EF4-FFF2-40B4-BE49-F238E27FC236}">
                      <a16:creationId xmlns:a16="http://schemas.microsoft.com/office/drawing/2014/main" id="{83633504-568D-2F90-E651-7347784C187C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" name="Grafik 27">
                  <a:extLst>
                    <a:ext uri="{FF2B5EF4-FFF2-40B4-BE49-F238E27FC236}">
                      <a16:creationId xmlns:a16="http://schemas.microsoft.com/office/drawing/2014/main" id="{30C8E9F5-41CF-543A-22C9-56B75C15E396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5" name="Grafik 27">
                <a:extLst>
                  <a:ext uri="{FF2B5EF4-FFF2-40B4-BE49-F238E27FC236}">
                    <a16:creationId xmlns:a16="http://schemas.microsoft.com/office/drawing/2014/main" id="{292192B3-CD81-B562-EBC9-AB363FD970EA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189" name="Grafik 27">
                  <a:extLst>
                    <a:ext uri="{FF2B5EF4-FFF2-40B4-BE49-F238E27FC236}">
                      <a16:creationId xmlns:a16="http://schemas.microsoft.com/office/drawing/2014/main" id="{1F2E2966-BB70-A29F-DC3B-536A54DF09E6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0" name="Grafik 27">
                  <a:extLst>
                    <a:ext uri="{FF2B5EF4-FFF2-40B4-BE49-F238E27FC236}">
                      <a16:creationId xmlns:a16="http://schemas.microsoft.com/office/drawing/2014/main" id="{FCDA02B2-0C58-97FE-DC42-FAEEBA444D0B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1" name="Grafik 27">
                  <a:extLst>
                    <a:ext uri="{FF2B5EF4-FFF2-40B4-BE49-F238E27FC236}">
                      <a16:creationId xmlns:a16="http://schemas.microsoft.com/office/drawing/2014/main" id="{1F0677E8-88D4-6377-831D-81FAA6ACC17F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6" name="Grafik 27">
                <a:extLst>
                  <a:ext uri="{FF2B5EF4-FFF2-40B4-BE49-F238E27FC236}">
                    <a16:creationId xmlns:a16="http://schemas.microsoft.com/office/drawing/2014/main" id="{2C72B61D-B40C-7F5A-ED1F-061FC655049E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186" name="Grafik 27">
                  <a:extLst>
                    <a:ext uri="{FF2B5EF4-FFF2-40B4-BE49-F238E27FC236}">
                      <a16:creationId xmlns:a16="http://schemas.microsoft.com/office/drawing/2014/main" id="{B66C3283-7778-252A-7DBD-0D6D7BC25B9C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7" name="Grafik 27">
                  <a:extLst>
                    <a:ext uri="{FF2B5EF4-FFF2-40B4-BE49-F238E27FC236}">
                      <a16:creationId xmlns:a16="http://schemas.microsoft.com/office/drawing/2014/main" id="{46579B85-018C-9CFD-E04D-81E9BA84A919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8" name="Grafik 27">
                  <a:extLst>
                    <a:ext uri="{FF2B5EF4-FFF2-40B4-BE49-F238E27FC236}">
                      <a16:creationId xmlns:a16="http://schemas.microsoft.com/office/drawing/2014/main" id="{D60CDE28-3B8F-1BEA-E97F-66C19BB2775E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7" name="Grafik 27">
                <a:extLst>
                  <a:ext uri="{FF2B5EF4-FFF2-40B4-BE49-F238E27FC236}">
                    <a16:creationId xmlns:a16="http://schemas.microsoft.com/office/drawing/2014/main" id="{9EF704D9-BD94-5B3D-9B7A-D5BDB6C3E961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183" name="Grafik 27">
                  <a:extLst>
                    <a:ext uri="{FF2B5EF4-FFF2-40B4-BE49-F238E27FC236}">
                      <a16:creationId xmlns:a16="http://schemas.microsoft.com/office/drawing/2014/main" id="{36E234DB-5E4E-9E95-7373-F6014644AEB9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4" name="Grafik 27">
                  <a:extLst>
                    <a:ext uri="{FF2B5EF4-FFF2-40B4-BE49-F238E27FC236}">
                      <a16:creationId xmlns:a16="http://schemas.microsoft.com/office/drawing/2014/main" id="{13978B6B-8BE7-2D8C-92BD-7243E7CA8CCB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5" name="Grafik 27">
                  <a:extLst>
                    <a:ext uri="{FF2B5EF4-FFF2-40B4-BE49-F238E27FC236}">
                      <a16:creationId xmlns:a16="http://schemas.microsoft.com/office/drawing/2014/main" id="{975743AC-9747-5829-7772-7F87727059F7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8" name="Grafik 27">
                <a:extLst>
                  <a:ext uri="{FF2B5EF4-FFF2-40B4-BE49-F238E27FC236}">
                    <a16:creationId xmlns:a16="http://schemas.microsoft.com/office/drawing/2014/main" id="{92661FE7-75BD-2518-ACA2-EE69B9173646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180" name="Grafik 27">
                  <a:extLst>
                    <a:ext uri="{FF2B5EF4-FFF2-40B4-BE49-F238E27FC236}">
                      <a16:creationId xmlns:a16="http://schemas.microsoft.com/office/drawing/2014/main" id="{9A585230-9296-33E2-2A26-5BE8758DBE5E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1" name="Grafik 27">
                  <a:extLst>
                    <a:ext uri="{FF2B5EF4-FFF2-40B4-BE49-F238E27FC236}">
                      <a16:creationId xmlns:a16="http://schemas.microsoft.com/office/drawing/2014/main" id="{8B1DF5E0-8C75-265C-BA5B-34EDCD6C8A0D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2" name="Grafik 27">
                  <a:extLst>
                    <a:ext uri="{FF2B5EF4-FFF2-40B4-BE49-F238E27FC236}">
                      <a16:creationId xmlns:a16="http://schemas.microsoft.com/office/drawing/2014/main" id="{0E71EE22-8B23-2711-8644-AA7F419C3523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79" name="Grafik 27">
                <a:extLst>
                  <a:ext uri="{FF2B5EF4-FFF2-40B4-BE49-F238E27FC236}">
                    <a16:creationId xmlns:a16="http://schemas.microsoft.com/office/drawing/2014/main" id="{8FC498B2-40DF-B179-F98E-DD07D654F2F8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37" name="Grafik 36">
            <a:extLst>
              <a:ext uri="{FF2B5EF4-FFF2-40B4-BE49-F238E27FC236}">
                <a16:creationId xmlns:a16="http://schemas.microsoft.com/office/drawing/2014/main" id="{8B7EF7A5-3CD9-E65B-1BBF-3FCFA330B4D9}"/>
              </a:ext>
            </a:extLst>
          </p:cNvPr>
          <p:cNvGrpSpPr/>
          <p:nvPr/>
        </p:nvGrpSpPr>
        <p:grpSpPr bwMode="gray">
          <a:xfrm>
            <a:off x="4299430" y="4812991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38" name="Grafik 36">
              <a:extLst>
                <a:ext uri="{FF2B5EF4-FFF2-40B4-BE49-F238E27FC236}">
                  <a16:creationId xmlns:a16="http://schemas.microsoft.com/office/drawing/2014/main" id="{A301D632-61FA-7E46-6EDA-C87A6515764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60" name="Grafik 36">
                <a:extLst>
                  <a:ext uri="{FF2B5EF4-FFF2-40B4-BE49-F238E27FC236}">
                    <a16:creationId xmlns:a16="http://schemas.microsoft.com/office/drawing/2014/main" id="{DC13F159-D6F3-CF87-D911-2EBE9EA79EB9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1" name="Grafik 36">
                <a:extLst>
                  <a:ext uri="{FF2B5EF4-FFF2-40B4-BE49-F238E27FC236}">
                    <a16:creationId xmlns:a16="http://schemas.microsoft.com/office/drawing/2014/main" id="{6B9300D6-009F-673A-C97E-1557D184D602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2" name="Grafik 36">
                <a:extLst>
                  <a:ext uri="{FF2B5EF4-FFF2-40B4-BE49-F238E27FC236}">
                    <a16:creationId xmlns:a16="http://schemas.microsoft.com/office/drawing/2014/main" id="{9F20FFF9-AF66-99B8-9CEA-3126A5E00AFE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3" name="Grafik 36">
                <a:extLst>
                  <a:ext uri="{FF2B5EF4-FFF2-40B4-BE49-F238E27FC236}">
                    <a16:creationId xmlns:a16="http://schemas.microsoft.com/office/drawing/2014/main" id="{395C6E29-30A4-F28A-3924-0FD87CEDC56C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4" name="Grafik 36">
                <a:extLst>
                  <a:ext uri="{FF2B5EF4-FFF2-40B4-BE49-F238E27FC236}">
                    <a16:creationId xmlns:a16="http://schemas.microsoft.com/office/drawing/2014/main" id="{E80E76E3-3F88-A84B-95D4-BF6991DDEBDD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39" name="Grafik 36">
              <a:extLst>
                <a:ext uri="{FF2B5EF4-FFF2-40B4-BE49-F238E27FC236}">
                  <a16:creationId xmlns:a16="http://schemas.microsoft.com/office/drawing/2014/main" id="{891B25C7-D5DD-C5E1-CABC-1C81505918A9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40" name="Grafik 36">
                <a:extLst>
                  <a:ext uri="{FF2B5EF4-FFF2-40B4-BE49-F238E27FC236}">
                    <a16:creationId xmlns:a16="http://schemas.microsoft.com/office/drawing/2014/main" id="{E82BF1DC-1634-992D-EDAC-12441A85936B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51" name="Grafik 36">
                  <a:extLst>
                    <a:ext uri="{FF2B5EF4-FFF2-40B4-BE49-F238E27FC236}">
                      <a16:creationId xmlns:a16="http://schemas.microsoft.com/office/drawing/2014/main" id="{36417644-EA50-E89A-D9CC-C1439F1ECA9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57" name="Grafik 36">
                    <a:extLst>
                      <a:ext uri="{FF2B5EF4-FFF2-40B4-BE49-F238E27FC236}">
                        <a16:creationId xmlns:a16="http://schemas.microsoft.com/office/drawing/2014/main" id="{1CD231EB-A288-4177-19FE-316CAFB4C7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8" name="Grafik 36">
                    <a:extLst>
                      <a:ext uri="{FF2B5EF4-FFF2-40B4-BE49-F238E27FC236}">
                        <a16:creationId xmlns:a16="http://schemas.microsoft.com/office/drawing/2014/main" id="{7B1E2D89-E386-D676-2A20-4907F5AD2A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9" name="Grafik 36">
                    <a:extLst>
                      <a:ext uri="{FF2B5EF4-FFF2-40B4-BE49-F238E27FC236}">
                        <a16:creationId xmlns:a16="http://schemas.microsoft.com/office/drawing/2014/main" id="{B9AE82C4-8DA0-62CF-682D-A76678C889B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52" name="Grafik 36">
                  <a:extLst>
                    <a:ext uri="{FF2B5EF4-FFF2-40B4-BE49-F238E27FC236}">
                      <a16:creationId xmlns:a16="http://schemas.microsoft.com/office/drawing/2014/main" id="{0C8A2CB8-49B0-F931-4343-F5E84227A239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253" name="Grafik 36">
                  <a:extLst>
                    <a:ext uri="{FF2B5EF4-FFF2-40B4-BE49-F238E27FC236}">
                      <a16:creationId xmlns:a16="http://schemas.microsoft.com/office/drawing/2014/main" id="{BC4227D3-E956-8353-4AEB-AEEAC21B91B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54" name="Grafik 36">
                    <a:extLst>
                      <a:ext uri="{FF2B5EF4-FFF2-40B4-BE49-F238E27FC236}">
                        <a16:creationId xmlns:a16="http://schemas.microsoft.com/office/drawing/2014/main" id="{774E4629-317B-168A-C79A-510195AC52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5" name="Grafik 36">
                    <a:extLst>
                      <a:ext uri="{FF2B5EF4-FFF2-40B4-BE49-F238E27FC236}">
                        <a16:creationId xmlns:a16="http://schemas.microsoft.com/office/drawing/2014/main" id="{966D1ABA-72AF-D1AB-7929-D47BC9AB234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6" name="Grafik 36">
                    <a:extLst>
                      <a:ext uri="{FF2B5EF4-FFF2-40B4-BE49-F238E27FC236}">
                        <a16:creationId xmlns:a16="http://schemas.microsoft.com/office/drawing/2014/main" id="{A5CE6F6E-57FF-5AD8-0D6A-758C47382E9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241" name="Grafik 36">
                <a:extLst>
                  <a:ext uri="{FF2B5EF4-FFF2-40B4-BE49-F238E27FC236}">
                    <a16:creationId xmlns:a16="http://schemas.microsoft.com/office/drawing/2014/main" id="{6C307B75-7500-CC85-C292-746AAA572E7A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42" name="Grafik 36">
                  <a:extLst>
                    <a:ext uri="{FF2B5EF4-FFF2-40B4-BE49-F238E27FC236}">
                      <a16:creationId xmlns:a16="http://schemas.microsoft.com/office/drawing/2014/main" id="{D9EE3371-41D4-AEAC-9058-E11B11E59042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48" name="Grafik 36">
                    <a:extLst>
                      <a:ext uri="{FF2B5EF4-FFF2-40B4-BE49-F238E27FC236}">
                        <a16:creationId xmlns:a16="http://schemas.microsoft.com/office/drawing/2014/main" id="{45FDEE37-46A9-D4B8-0B78-E89640F5721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9" name="Grafik 36">
                    <a:extLst>
                      <a:ext uri="{FF2B5EF4-FFF2-40B4-BE49-F238E27FC236}">
                        <a16:creationId xmlns:a16="http://schemas.microsoft.com/office/drawing/2014/main" id="{E0C42670-0383-60B6-9E7A-899ECC2190C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0" name="Grafik 36">
                    <a:extLst>
                      <a:ext uri="{FF2B5EF4-FFF2-40B4-BE49-F238E27FC236}">
                        <a16:creationId xmlns:a16="http://schemas.microsoft.com/office/drawing/2014/main" id="{7DA20B06-9DFA-3EF1-B834-7B53A342BCB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43" name="Grafik 36">
                  <a:extLst>
                    <a:ext uri="{FF2B5EF4-FFF2-40B4-BE49-F238E27FC236}">
                      <a16:creationId xmlns:a16="http://schemas.microsoft.com/office/drawing/2014/main" id="{CC54BC15-0E51-6671-D594-29DF229F2CA3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44" name="Grafik 36">
                  <a:extLst>
                    <a:ext uri="{FF2B5EF4-FFF2-40B4-BE49-F238E27FC236}">
                      <a16:creationId xmlns:a16="http://schemas.microsoft.com/office/drawing/2014/main" id="{C027C108-7DCD-38FC-0EDB-04AD52112CA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45" name="Grafik 36">
                    <a:extLst>
                      <a:ext uri="{FF2B5EF4-FFF2-40B4-BE49-F238E27FC236}">
                        <a16:creationId xmlns:a16="http://schemas.microsoft.com/office/drawing/2014/main" id="{C84C64A5-FDB2-51DA-FBFE-BAF38DE8AB0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6" name="Grafik 36">
                    <a:extLst>
                      <a:ext uri="{FF2B5EF4-FFF2-40B4-BE49-F238E27FC236}">
                        <a16:creationId xmlns:a16="http://schemas.microsoft.com/office/drawing/2014/main" id="{9F234365-9E70-1152-2C96-75E61B0895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7" name="Grafik 36">
                    <a:extLst>
                      <a:ext uri="{FF2B5EF4-FFF2-40B4-BE49-F238E27FC236}">
                        <a16:creationId xmlns:a16="http://schemas.microsoft.com/office/drawing/2014/main" id="{256A231F-E4D3-079A-5DE4-6EA6A38F762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265" name="Grafik 27">
            <a:extLst>
              <a:ext uri="{FF2B5EF4-FFF2-40B4-BE49-F238E27FC236}">
                <a16:creationId xmlns:a16="http://schemas.microsoft.com/office/drawing/2014/main" id="{6738104C-F949-7410-B0E6-F01BF871CD80}"/>
              </a:ext>
            </a:extLst>
          </p:cNvPr>
          <p:cNvGrpSpPr/>
          <p:nvPr/>
        </p:nvGrpSpPr>
        <p:grpSpPr bwMode="gray">
          <a:xfrm>
            <a:off x="4299147" y="4493443"/>
            <a:ext cx="374400" cy="374400"/>
            <a:chOff x="5843587" y="3176587"/>
            <a:chExt cx="500253" cy="500253"/>
          </a:xfrm>
          <a:solidFill>
            <a:schemeClr val="accent2">
              <a:lumMod val="75000"/>
            </a:schemeClr>
          </a:solidFill>
        </p:grpSpPr>
        <p:grpSp>
          <p:nvGrpSpPr>
            <p:cNvPr id="266" name="Grafik 27">
              <a:extLst>
                <a:ext uri="{FF2B5EF4-FFF2-40B4-BE49-F238E27FC236}">
                  <a16:creationId xmlns:a16="http://schemas.microsoft.com/office/drawing/2014/main" id="{B137D22E-EB0C-94BB-6B23-B432B329C4AA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01" name="Grafik 27">
                <a:extLst>
                  <a:ext uri="{FF2B5EF4-FFF2-40B4-BE49-F238E27FC236}">
                    <a16:creationId xmlns:a16="http://schemas.microsoft.com/office/drawing/2014/main" id="{69005F9B-F280-A3E0-04E2-586514C485D2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2" name="Grafik 27">
                <a:extLst>
                  <a:ext uri="{FF2B5EF4-FFF2-40B4-BE49-F238E27FC236}">
                    <a16:creationId xmlns:a16="http://schemas.microsoft.com/office/drawing/2014/main" id="{0BCD9E24-B1C3-246F-93E4-27FEF3A8AB2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3" name="Grafik 27">
                <a:extLst>
                  <a:ext uri="{FF2B5EF4-FFF2-40B4-BE49-F238E27FC236}">
                    <a16:creationId xmlns:a16="http://schemas.microsoft.com/office/drawing/2014/main" id="{8C253B3F-58E7-98C5-4EC5-32EE5B149C02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4" name="Grafik 27">
                <a:extLst>
                  <a:ext uri="{FF2B5EF4-FFF2-40B4-BE49-F238E27FC236}">
                    <a16:creationId xmlns:a16="http://schemas.microsoft.com/office/drawing/2014/main" id="{8B1720E2-ACF5-6137-A6AA-C815EF9AEDA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5" name="Grafik 27">
                <a:extLst>
                  <a:ext uri="{FF2B5EF4-FFF2-40B4-BE49-F238E27FC236}">
                    <a16:creationId xmlns:a16="http://schemas.microsoft.com/office/drawing/2014/main" id="{78D95705-E1C5-C6F6-A14A-B75F263E8DC6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67" name="Grafik 27">
              <a:extLst>
                <a:ext uri="{FF2B5EF4-FFF2-40B4-BE49-F238E27FC236}">
                  <a16:creationId xmlns:a16="http://schemas.microsoft.com/office/drawing/2014/main" id="{8986FF42-C080-913D-91E7-68AC659C886E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268" name="Grafik 27">
                <a:extLst>
                  <a:ext uri="{FF2B5EF4-FFF2-40B4-BE49-F238E27FC236}">
                    <a16:creationId xmlns:a16="http://schemas.microsoft.com/office/drawing/2014/main" id="{72E600D9-AD8E-1B25-23C0-648D5DD89F40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298" name="Grafik 27">
                  <a:extLst>
                    <a:ext uri="{FF2B5EF4-FFF2-40B4-BE49-F238E27FC236}">
                      <a16:creationId xmlns:a16="http://schemas.microsoft.com/office/drawing/2014/main" id="{8866988D-BDEA-71BB-2D61-EC5BC0B154E2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9" name="Grafik 27">
                  <a:extLst>
                    <a:ext uri="{FF2B5EF4-FFF2-40B4-BE49-F238E27FC236}">
                      <a16:creationId xmlns:a16="http://schemas.microsoft.com/office/drawing/2014/main" id="{06605CC1-4F27-70FA-138D-6E0996E8177B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00" name="Grafik 27">
                  <a:extLst>
                    <a:ext uri="{FF2B5EF4-FFF2-40B4-BE49-F238E27FC236}">
                      <a16:creationId xmlns:a16="http://schemas.microsoft.com/office/drawing/2014/main" id="{95DDDF20-C7FE-7913-EC0B-E0AAB14450FD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69" name="Grafik 27">
                <a:extLst>
                  <a:ext uri="{FF2B5EF4-FFF2-40B4-BE49-F238E27FC236}">
                    <a16:creationId xmlns:a16="http://schemas.microsoft.com/office/drawing/2014/main" id="{E596E4AE-5A6D-79D9-1E6A-4C329E478162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295" name="Grafik 27">
                  <a:extLst>
                    <a:ext uri="{FF2B5EF4-FFF2-40B4-BE49-F238E27FC236}">
                      <a16:creationId xmlns:a16="http://schemas.microsoft.com/office/drawing/2014/main" id="{69E286C1-48C2-F592-57F3-57E5D584985B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6" name="Grafik 27">
                  <a:extLst>
                    <a:ext uri="{FF2B5EF4-FFF2-40B4-BE49-F238E27FC236}">
                      <a16:creationId xmlns:a16="http://schemas.microsoft.com/office/drawing/2014/main" id="{26F3B877-01C1-06FC-F741-E3A7D5D65F5B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7" name="Grafik 27">
                  <a:extLst>
                    <a:ext uri="{FF2B5EF4-FFF2-40B4-BE49-F238E27FC236}">
                      <a16:creationId xmlns:a16="http://schemas.microsoft.com/office/drawing/2014/main" id="{828A07D4-9B59-AFAD-1734-9F09789A1CB6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0" name="Grafik 27">
                <a:extLst>
                  <a:ext uri="{FF2B5EF4-FFF2-40B4-BE49-F238E27FC236}">
                    <a16:creationId xmlns:a16="http://schemas.microsoft.com/office/drawing/2014/main" id="{B2C6FB66-ADB6-FABB-0FCD-6FA2BCA5B09A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292" name="Grafik 27">
                  <a:extLst>
                    <a:ext uri="{FF2B5EF4-FFF2-40B4-BE49-F238E27FC236}">
                      <a16:creationId xmlns:a16="http://schemas.microsoft.com/office/drawing/2014/main" id="{989E1D38-75BA-267B-DDFC-A0097012B772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3" name="Grafik 27">
                  <a:extLst>
                    <a:ext uri="{FF2B5EF4-FFF2-40B4-BE49-F238E27FC236}">
                      <a16:creationId xmlns:a16="http://schemas.microsoft.com/office/drawing/2014/main" id="{1027D3F6-0BFD-D0B2-E695-3F44A7070317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4" name="Grafik 27">
                  <a:extLst>
                    <a:ext uri="{FF2B5EF4-FFF2-40B4-BE49-F238E27FC236}">
                      <a16:creationId xmlns:a16="http://schemas.microsoft.com/office/drawing/2014/main" id="{79436988-690A-0DC9-6D71-7A4224737D60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1" name="Grafik 27">
                <a:extLst>
                  <a:ext uri="{FF2B5EF4-FFF2-40B4-BE49-F238E27FC236}">
                    <a16:creationId xmlns:a16="http://schemas.microsoft.com/office/drawing/2014/main" id="{01194F65-13CA-B418-6A0B-FF9395751F72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289" name="Grafik 27">
                  <a:extLst>
                    <a:ext uri="{FF2B5EF4-FFF2-40B4-BE49-F238E27FC236}">
                      <a16:creationId xmlns:a16="http://schemas.microsoft.com/office/drawing/2014/main" id="{10C0B3BB-0C37-1268-8380-5107F7AC1B43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0" name="Grafik 27">
                  <a:extLst>
                    <a:ext uri="{FF2B5EF4-FFF2-40B4-BE49-F238E27FC236}">
                      <a16:creationId xmlns:a16="http://schemas.microsoft.com/office/drawing/2014/main" id="{54DDA51E-E620-4354-A86E-E1374B8BC938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1" name="Grafik 27">
                  <a:extLst>
                    <a:ext uri="{FF2B5EF4-FFF2-40B4-BE49-F238E27FC236}">
                      <a16:creationId xmlns:a16="http://schemas.microsoft.com/office/drawing/2014/main" id="{ABEFEFE4-7DEB-C538-3FAB-70611DC3A333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2" name="Grafik 27">
                <a:extLst>
                  <a:ext uri="{FF2B5EF4-FFF2-40B4-BE49-F238E27FC236}">
                    <a16:creationId xmlns:a16="http://schemas.microsoft.com/office/drawing/2014/main" id="{95C7198D-1BCC-CBF7-1E08-8E8F95211218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286" name="Grafik 27">
                  <a:extLst>
                    <a:ext uri="{FF2B5EF4-FFF2-40B4-BE49-F238E27FC236}">
                      <a16:creationId xmlns:a16="http://schemas.microsoft.com/office/drawing/2014/main" id="{E3C210DF-DC03-97A6-21E6-237262D2E01D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7" name="Grafik 27">
                  <a:extLst>
                    <a:ext uri="{FF2B5EF4-FFF2-40B4-BE49-F238E27FC236}">
                      <a16:creationId xmlns:a16="http://schemas.microsoft.com/office/drawing/2014/main" id="{928563A1-126F-BD0A-007D-F6F860C57794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8" name="Grafik 27">
                  <a:extLst>
                    <a:ext uri="{FF2B5EF4-FFF2-40B4-BE49-F238E27FC236}">
                      <a16:creationId xmlns:a16="http://schemas.microsoft.com/office/drawing/2014/main" id="{847B8F30-1F4C-DB17-488D-2B3066398E89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3" name="Grafik 27">
                <a:extLst>
                  <a:ext uri="{FF2B5EF4-FFF2-40B4-BE49-F238E27FC236}">
                    <a16:creationId xmlns:a16="http://schemas.microsoft.com/office/drawing/2014/main" id="{5F877C0A-485D-93DA-2EE8-60310057AA73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283" name="Grafik 27">
                  <a:extLst>
                    <a:ext uri="{FF2B5EF4-FFF2-40B4-BE49-F238E27FC236}">
                      <a16:creationId xmlns:a16="http://schemas.microsoft.com/office/drawing/2014/main" id="{5E4A65A5-455E-3363-8728-6AF3A6553269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4" name="Grafik 27">
                  <a:extLst>
                    <a:ext uri="{FF2B5EF4-FFF2-40B4-BE49-F238E27FC236}">
                      <a16:creationId xmlns:a16="http://schemas.microsoft.com/office/drawing/2014/main" id="{EC5BBAD7-D5BB-C611-152C-F595713D9D79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5" name="Grafik 27">
                  <a:extLst>
                    <a:ext uri="{FF2B5EF4-FFF2-40B4-BE49-F238E27FC236}">
                      <a16:creationId xmlns:a16="http://schemas.microsoft.com/office/drawing/2014/main" id="{5532D8A8-1BD2-A5F3-A476-83C4E04E44C9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4" name="Grafik 27">
                <a:extLst>
                  <a:ext uri="{FF2B5EF4-FFF2-40B4-BE49-F238E27FC236}">
                    <a16:creationId xmlns:a16="http://schemas.microsoft.com/office/drawing/2014/main" id="{188D08B0-C117-7D24-5E14-D2F06DAAB48C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280" name="Grafik 27">
                  <a:extLst>
                    <a:ext uri="{FF2B5EF4-FFF2-40B4-BE49-F238E27FC236}">
                      <a16:creationId xmlns:a16="http://schemas.microsoft.com/office/drawing/2014/main" id="{C63AC603-0282-96C8-50B8-0A84A36054ED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1" name="Grafik 27">
                  <a:extLst>
                    <a:ext uri="{FF2B5EF4-FFF2-40B4-BE49-F238E27FC236}">
                      <a16:creationId xmlns:a16="http://schemas.microsoft.com/office/drawing/2014/main" id="{3AF50263-1546-A2D4-36F2-2BA50806682B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2" name="Grafik 27">
                  <a:extLst>
                    <a:ext uri="{FF2B5EF4-FFF2-40B4-BE49-F238E27FC236}">
                      <a16:creationId xmlns:a16="http://schemas.microsoft.com/office/drawing/2014/main" id="{C9E7F73E-A223-904C-6EC5-94BFB84A601C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5" name="Grafik 27">
                <a:extLst>
                  <a:ext uri="{FF2B5EF4-FFF2-40B4-BE49-F238E27FC236}">
                    <a16:creationId xmlns:a16="http://schemas.microsoft.com/office/drawing/2014/main" id="{EC80B672-AEF9-FC1C-460F-D04CC2608577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277" name="Grafik 27">
                  <a:extLst>
                    <a:ext uri="{FF2B5EF4-FFF2-40B4-BE49-F238E27FC236}">
                      <a16:creationId xmlns:a16="http://schemas.microsoft.com/office/drawing/2014/main" id="{508BFBFB-0C08-F1B8-3390-727DA4C9B17A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78" name="Grafik 27">
                  <a:extLst>
                    <a:ext uri="{FF2B5EF4-FFF2-40B4-BE49-F238E27FC236}">
                      <a16:creationId xmlns:a16="http://schemas.microsoft.com/office/drawing/2014/main" id="{E74F0A7F-6239-FB8C-5841-948596787075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79" name="Grafik 27">
                  <a:extLst>
                    <a:ext uri="{FF2B5EF4-FFF2-40B4-BE49-F238E27FC236}">
                      <a16:creationId xmlns:a16="http://schemas.microsoft.com/office/drawing/2014/main" id="{34F842D8-7B4E-FF91-0192-FACEB5C00AD8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276" name="Grafik 27">
                <a:extLst>
                  <a:ext uri="{FF2B5EF4-FFF2-40B4-BE49-F238E27FC236}">
                    <a16:creationId xmlns:a16="http://schemas.microsoft.com/office/drawing/2014/main" id="{C17E3318-25C5-335F-EFFF-D636994FC75A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306" name="Grafik 36">
            <a:extLst>
              <a:ext uri="{FF2B5EF4-FFF2-40B4-BE49-F238E27FC236}">
                <a16:creationId xmlns:a16="http://schemas.microsoft.com/office/drawing/2014/main" id="{82AA1D7D-E366-6EF6-A4E6-8F04E03C9D7F}"/>
              </a:ext>
            </a:extLst>
          </p:cNvPr>
          <p:cNvGrpSpPr/>
          <p:nvPr/>
        </p:nvGrpSpPr>
        <p:grpSpPr bwMode="gray">
          <a:xfrm>
            <a:off x="5186468" y="3783781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307" name="Grafik 36">
              <a:extLst>
                <a:ext uri="{FF2B5EF4-FFF2-40B4-BE49-F238E27FC236}">
                  <a16:creationId xmlns:a16="http://schemas.microsoft.com/office/drawing/2014/main" id="{41C679DB-2BBF-12E8-A0C5-D47E9E55308B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29" name="Grafik 36">
                <a:extLst>
                  <a:ext uri="{FF2B5EF4-FFF2-40B4-BE49-F238E27FC236}">
                    <a16:creationId xmlns:a16="http://schemas.microsoft.com/office/drawing/2014/main" id="{AFA119B1-C932-86A8-02AC-FC05D66828E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0" name="Grafik 36">
                <a:extLst>
                  <a:ext uri="{FF2B5EF4-FFF2-40B4-BE49-F238E27FC236}">
                    <a16:creationId xmlns:a16="http://schemas.microsoft.com/office/drawing/2014/main" id="{83EC886F-28EC-7717-AA3A-CBCB6E3FD543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31" name="Grafik 36">
                <a:extLst>
                  <a:ext uri="{FF2B5EF4-FFF2-40B4-BE49-F238E27FC236}">
                    <a16:creationId xmlns:a16="http://schemas.microsoft.com/office/drawing/2014/main" id="{4534AF5A-5919-98E2-9CB7-1C578A22537A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2" name="Grafik 36">
                <a:extLst>
                  <a:ext uri="{FF2B5EF4-FFF2-40B4-BE49-F238E27FC236}">
                    <a16:creationId xmlns:a16="http://schemas.microsoft.com/office/drawing/2014/main" id="{340B0888-6F79-0344-7D24-05DDD8C603D8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3" name="Grafik 36">
                <a:extLst>
                  <a:ext uri="{FF2B5EF4-FFF2-40B4-BE49-F238E27FC236}">
                    <a16:creationId xmlns:a16="http://schemas.microsoft.com/office/drawing/2014/main" id="{64BF3B43-3FF5-3313-2152-A5D6DD28CED3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08" name="Grafik 36">
              <a:extLst>
                <a:ext uri="{FF2B5EF4-FFF2-40B4-BE49-F238E27FC236}">
                  <a16:creationId xmlns:a16="http://schemas.microsoft.com/office/drawing/2014/main" id="{7920621D-1D26-898D-2885-AC7E211666A6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309" name="Grafik 36">
                <a:extLst>
                  <a:ext uri="{FF2B5EF4-FFF2-40B4-BE49-F238E27FC236}">
                    <a16:creationId xmlns:a16="http://schemas.microsoft.com/office/drawing/2014/main" id="{F871ADDB-2BAB-9773-A0C9-936BD4934F2E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320" name="Grafik 36">
                  <a:extLst>
                    <a:ext uri="{FF2B5EF4-FFF2-40B4-BE49-F238E27FC236}">
                      <a16:creationId xmlns:a16="http://schemas.microsoft.com/office/drawing/2014/main" id="{74D536CE-6F51-B2A6-7F72-D3EEF60DAC4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326" name="Grafik 36">
                    <a:extLst>
                      <a:ext uri="{FF2B5EF4-FFF2-40B4-BE49-F238E27FC236}">
                        <a16:creationId xmlns:a16="http://schemas.microsoft.com/office/drawing/2014/main" id="{50CAB513-2114-5CCC-FED7-C26B7DFDC1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7" name="Grafik 36">
                    <a:extLst>
                      <a:ext uri="{FF2B5EF4-FFF2-40B4-BE49-F238E27FC236}">
                        <a16:creationId xmlns:a16="http://schemas.microsoft.com/office/drawing/2014/main" id="{477B2473-1907-EBF8-0157-DC3D98E2F0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8" name="Grafik 36">
                    <a:extLst>
                      <a:ext uri="{FF2B5EF4-FFF2-40B4-BE49-F238E27FC236}">
                        <a16:creationId xmlns:a16="http://schemas.microsoft.com/office/drawing/2014/main" id="{27441F7A-614A-6223-1F18-EAD78EF020C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21" name="Grafik 36">
                  <a:extLst>
                    <a:ext uri="{FF2B5EF4-FFF2-40B4-BE49-F238E27FC236}">
                      <a16:creationId xmlns:a16="http://schemas.microsoft.com/office/drawing/2014/main" id="{22152904-301C-B7E3-706D-B0F813A9F147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322" name="Grafik 36">
                  <a:extLst>
                    <a:ext uri="{FF2B5EF4-FFF2-40B4-BE49-F238E27FC236}">
                      <a16:creationId xmlns:a16="http://schemas.microsoft.com/office/drawing/2014/main" id="{0B09753F-2A62-4158-D18B-FB0EA004036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323" name="Grafik 36">
                    <a:extLst>
                      <a:ext uri="{FF2B5EF4-FFF2-40B4-BE49-F238E27FC236}">
                        <a16:creationId xmlns:a16="http://schemas.microsoft.com/office/drawing/2014/main" id="{F6D03CC6-7B30-5AB0-E290-0F6ECE04E12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4" name="Grafik 36">
                    <a:extLst>
                      <a:ext uri="{FF2B5EF4-FFF2-40B4-BE49-F238E27FC236}">
                        <a16:creationId xmlns:a16="http://schemas.microsoft.com/office/drawing/2014/main" id="{6F10FDE2-B65D-A00B-E485-1160C552FC7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5" name="Grafik 36">
                    <a:extLst>
                      <a:ext uri="{FF2B5EF4-FFF2-40B4-BE49-F238E27FC236}">
                        <a16:creationId xmlns:a16="http://schemas.microsoft.com/office/drawing/2014/main" id="{FDE799BD-FB05-DC2E-49FC-4E06EEAF49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310" name="Grafik 36">
                <a:extLst>
                  <a:ext uri="{FF2B5EF4-FFF2-40B4-BE49-F238E27FC236}">
                    <a16:creationId xmlns:a16="http://schemas.microsoft.com/office/drawing/2014/main" id="{217DE8B5-B79E-27C3-DECB-C4DB7276D573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311" name="Grafik 36">
                  <a:extLst>
                    <a:ext uri="{FF2B5EF4-FFF2-40B4-BE49-F238E27FC236}">
                      <a16:creationId xmlns:a16="http://schemas.microsoft.com/office/drawing/2014/main" id="{C01A1FB9-BBC9-A732-867F-F0E52E34BA9F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317" name="Grafik 36">
                    <a:extLst>
                      <a:ext uri="{FF2B5EF4-FFF2-40B4-BE49-F238E27FC236}">
                        <a16:creationId xmlns:a16="http://schemas.microsoft.com/office/drawing/2014/main" id="{5ED8C192-206F-4E2E-C5E2-950D14E2202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8" name="Grafik 36">
                    <a:extLst>
                      <a:ext uri="{FF2B5EF4-FFF2-40B4-BE49-F238E27FC236}">
                        <a16:creationId xmlns:a16="http://schemas.microsoft.com/office/drawing/2014/main" id="{319DFD32-F98B-A1E9-369F-74D0E1822E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9" name="Grafik 36">
                    <a:extLst>
                      <a:ext uri="{FF2B5EF4-FFF2-40B4-BE49-F238E27FC236}">
                        <a16:creationId xmlns:a16="http://schemas.microsoft.com/office/drawing/2014/main" id="{132B42D7-D02E-4D40-6A9F-AF0347F8866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12" name="Grafik 36">
                  <a:extLst>
                    <a:ext uri="{FF2B5EF4-FFF2-40B4-BE49-F238E27FC236}">
                      <a16:creationId xmlns:a16="http://schemas.microsoft.com/office/drawing/2014/main" id="{08C0C139-F13B-F528-1ACD-D5AB4A263E57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13" name="Grafik 36">
                  <a:extLst>
                    <a:ext uri="{FF2B5EF4-FFF2-40B4-BE49-F238E27FC236}">
                      <a16:creationId xmlns:a16="http://schemas.microsoft.com/office/drawing/2014/main" id="{18AAEB47-5FF4-113F-E693-6983557653E9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314" name="Grafik 36">
                    <a:extLst>
                      <a:ext uri="{FF2B5EF4-FFF2-40B4-BE49-F238E27FC236}">
                        <a16:creationId xmlns:a16="http://schemas.microsoft.com/office/drawing/2014/main" id="{C73FC66B-3808-1533-16B6-BB8AD6C7F00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5" name="Grafik 36">
                    <a:extLst>
                      <a:ext uri="{FF2B5EF4-FFF2-40B4-BE49-F238E27FC236}">
                        <a16:creationId xmlns:a16="http://schemas.microsoft.com/office/drawing/2014/main" id="{DEF00B5B-7011-E7F2-3378-448BC916AF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6" name="Grafik 36">
                    <a:extLst>
                      <a:ext uri="{FF2B5EF4-FFF2-40B4-BE49-F238E27FC236}">
                        <a16:creationId xmlns:a16="http://schemas.microsoft.com/office/drawing/2014/main" id="{640C4613-115C-A4F9-6BDD-EE88558204A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334" name="Grafik 27">
            <a:extLst>
              <a:ext uri="{FF2B5EF4-FFF2-40B4-BE49-F238E27FC236}">
                <a16:creationId xmlns:a16="http://schemas.microsoft.com/office/drawing/2014/main" id="{48ADEFA2-84F6-B6F7-91EE-6C862A8F813C}"/>
              </a:ext>
            </a:extLst>
          </p:cNvPr>
          <p:cNvGrpSpPr/>
          <p:nvPr/>
        </p:nvGrpSpPr>
        <p:grpSpPr bwMode="gray">
          <a:xfrm>
            <a:off x="5186449" y="3463943"/>
            <a:ext cx="374400" cy="374400"/>
            <a:chOff x="5843587" y="3176587"/>
            <a:chExt cx="500253" cy="500253"/>
          </a:xfrm>
          <a:solidFill>
            <a:schemeClr val="accent2">
              <a:lumMod val="75000"/>
            </a:schemeClr>
          </a:solidFill>
        </p:grpSpPr>
        <p:grpSp>
          <p:nvGrpSpPr>
            <p:cNvPr id="335" name="Grafik 27">
              <a:extLst>
                <a:ext uri="{FF2B5EF4-FFF2-40B4-BE49-F238E27FC236}">
                  <a16:creationId xmlns:a16="http://schemas.microsoft.com/office/drawing/2014/main" id="{C847B8E7-2AEC-1C01-00A6-84752E069DD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70" name="Grafik 27">
                <a:extLst>
                  <a:ext uri="{FF2B5EF4-FFF2-40B4-BE49-F238E27FC236}">
                    <a16:creationId xmlns:a16="http://schemas.microsoft.com/office/drawing/2014/main" id="{C8C221E5-408E-5777-0925-CE69F3A4728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1" name="Grafik 27">
                <a:extLst>
                  <a:ext uri="{FF2B5EF4-FFF2-40B4-BE49-F238E27FC236}">
                    <a16:creationId xmlns:a16="http://schemas.microsoft.com/office/drawing/2014/main" id="{12C0F638-A58D-28BE-7A92-66551077E6C4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2" name="Grafik 27">
                <a:extLst>
                  <a:ext uri="{FF2B5EF4-FFF2-40B4-BE49-F238E27FC236}">
                    <a16:creationId xmlns:a16="http://schemas.microsoft.com/office/drawing/2014/main" id="{B61BE592-612B-FCA4-6DDC-0B9AFAFD12B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3" name="Grafik 27">
                <a:extLst>
                  <a:ext uri="{FF2B5EF4-FFF2-40B4-BE49-F238E27FC236}">
                    <a16:creationId xmlns:a16="http://schemas.microsoft.com/office/drawing/2014/main" id="{6B802EAA-5A90-8664-1247-2CC12643534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4" name="Grafik 27">
                <a:extLst>
                  <a:ext uri="{FF2B5EF4-FFF2-40B4-BE49-F238E27FC236}">
                    <a16:creationId xmlns:a16="http://schemas.microsoft.com/office/drawing/2014/main" id="{85435D17-7378-7FF3-D4CF-E837ECD6A5ED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36" name="Grafik 27">
              <a:extLst>
                <a:ext uri="{FF2B5EF4-FFF2-40B4-BE49-F238E27FC236}">
                  <a16:creationId xmlns:a16="http://schemas.microsoft.com/office/drawing/2014/main" id="{C4F264BC-1B79-62A6-DD1D-7DFBB817BB99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337" name="Grafik 27">
                <a:extLst>
                  <a:ext uri="{FF2B5EF4-FFF2-40B4-BE49-F238E27FC236}">
                    <a16:creationId xmlns:a16="http://schemas.microsoft.com/office/drawing/2014/main" id="{7586B60F-4ACE-BC31-945C-FEE84189DA5C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367" name="Grafik 27">
                  <a:extLst>
                    <a:ext uri="{FF2B5EF4-FFF2-40B4-BE49-F238E27FC236}">
                      <a16:creationId xmlns:a16="http://schemas.microsoft.com/office/drawing/2014/main" id="{380780DA-3D1C-B8FD-F71F-05E09CC11407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8" name="Grafik 27">
                  <a:extLst>
                    <a:ext uri="{FF2B5EF4-FFF2-40B4-BE49-F238E27FC236}">
                      <a16:creationId xmlns:a16="http://schemas.microsoft.com/office/drawing/2014/main" id="{7E7D50A6-E53D-DF3B-90E3-F386EDFE699A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9" name="Grafik 27">
                  <a:extLst>
                    <a:ext uri="{FF2B5EF4-FFF2-40B4-BE49-F238E27FC236}">
                      <a16:creationId xmlns:a16="http://schemas.microsoft.com/office/drawing/2014/main" id="{FC887141-585A-B0C7-CFDB-77BD1204EBD3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38" name="Grafik 27">
                <a:extLst>
                  <a:ext uri="{FF2B5EF4-FFF2-40B4-BE49-F238E27FC236}">
                    <a16:creationId xmlns:a16="http://schemas.microsoft.com/office/drawing/2014/main" id="{6E457260-29B1-A4B7-FF62-238215C7F7DF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364" name="Grafik 27">
                  <a:extLst>
                    <a:ext uri="{FF2B5EF4-FFF2-40B4-BE49-F238E27FC236}">
                      <a16:creationId xmlns:a16="http://schemas.microsoft.com/office/drawing/2014/main" id="{8F3D7FB2-4E9C-8E7B-550D-45D64AB24559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5" name="Grafik 27">
                  <a:extLst>
                    <a:ext uri="{FF2B5EF4-FFF2-40B4-BE49-F238E27FC236}">
                      <a16:creationId xmlns:a16="http://schemas.microsoft.com/office/drawing/2014/main" id="{90909C92-F79C-8228-6819-FF8C86BC4655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6" name="Grafik 27">
                  <a:extLst>
                    <a:ext uri="{FF2B5EF4-FFF2-40B4-BE49-F238E27FC236}">
                      <a16:creationId xmlns:a16="http://schemas.microsoft.com/office/drawing/2014/main" id="{CF39D747-28D1-B39C-B3A2-99D47CF9E58E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39" name="Grafik 27">
                <a:extLst>
                  <a:ext uri="{FF2B5EF4-FFF2-40B4-BE49-F238E27FC236}">
                    <a16:creationId xmlns:a16="http://schemas.microsoft.com/office/drawing/2014/main" id="{1DCDAAAB-5BEB-6D62-DE66-EFE160A2B88C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361" name="Grafik 27">
                  <a:extLst>
                    <a:ext uri="{FF2B5EF4-FFF2-40B4-BE49-F238E27FC236}">
                      <a16:creationId xmlns:a16="http://schemas.microsoft.com/office/drawing/2014/main" id="{FB8B7DF1-5C7F-73F5-93A7-63AAEDA0C9A4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2" name="Grafik 27">
                  <a:extLst>
                    <a:ext uri="{FF2B5EF4-FFF2-40B4-BE49-F238E27FC236}">
                      <a16:creationId xmlns:a16="http://schemas.microsoft.com/office/drawing/2014/main" id="{C8BFFAD9-47AE-3AE1-5CF3-38B0FF3EAF1D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3" name="Grafik 27">
                  <a:extLst>
                    <a:ext uri="{FF2B5EF4-FFF2-40B4-BE49-F238E27FC236}">
                      <a16:creationId xmlns:a16="http://schemas.microsoft.com/office/drawing/2014/main" id="{36830885-32CE-C401-77E5-BC2AC99DC67E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0" name="Grafik 27">
                <a:extLst>
                  <a:ext uri="{FF2B5EF4-FFF2-40B4-BE49-F238E27FC236}">
                    <a16:creationId xmlns:a16="http://schemas.microsoft.com/office/drawing/2014/main" id="{C43DE101-C1F8-5DBF-0308-4A0864666C22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358" name="Grafik 27">
                  <a:extLst>
                    <a:ext uri="{FF2B5EF4-FFF2-40B4-BE49-F238E27FC236}">
                      <a16:creationId xmlns:a16="http://schemas.microsoft.com/office/drawing/2014/main" id="{87FECA6F-C1FD-E305-4E61-042FFE4D6DDE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9" name="Grafik 27">
                  <a:extLst>
                    <a:ext uri="{FF2B5EF4-FFF2-40B4-BE49-F238E27FC236}">
                      <a16:creationId xmlns:a16="http://schemas.microsoft.com/office/drawing/2014/main" id="{B9DCDB2E-962F-BA6A-20CD-38934098BDF6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0" name="Grafik 27">
                  <a:extLst>
                    <a:ext uri="{FF2B5EF4-FFF2-40B4-BE49-F238E27FC236}">
                      <a16:creationId xmlns:a16="http://schemas.microsoft.com/office/drawing/2014/main" id="{C88CE011-2B5F-0D57-2B7D-CBF226D6EDCC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1" name="Grafik 27">
                <a:extLst>
                  <a:ext uri="{FF2B5EF4-FFF2-40B4-BE49-F238E27FC236}">
                    <a16:creationId xmlns:a16="http://schemas.microsoft.com/office/drawing/2014/main" id="{A5CDE49E-4E14-2B2F-D888-52082B0625FA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355" name="Grafik 27">
                  <a:extLst>
                    <a:ext uri="{FF2B5EF4-FFF2-40B4-BE49-F238E27FC236}">
                      <a16:creationId xmlns:a16="http://schemas.microsoft.com/office/drawing/2014/main" id="{5C24AC72-43EC-E280-9680-698F24313F32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6" name="Grafik 27">
                  <a:extLst>
                    <a:ext uri="{FF2B5EF4-FFF2-40B4-BE49-F238E27FC236}">
                      <a16:creationId xmlns:a16="http://schemas.microsoft.com/office/drawing/2014/main" id="{7EB841E8-9EBB-7622-2D1E-4AD5748BA67E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7" name="Grafik 27">
                  <a:extLst>
                    <a:ext uri="{FF2B5EF4-FFF2-40B4-BE49-F238E27FC236}">
                      <a16:creationId xmlns:a16="http://schemas.microsoft.com/office/drawing/2014/main" id="{6668FDA4-DD48-38E9-8FC9-048247296D4D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2" name="Grafik 27">
                <a:extLst>
                  <a:ext uri="{FF2B5EF4-FFF2-40B4-BE49-F238E27FC236}">
                    <a16:creationId xmlns:a16="http://schemas.microsoft.com/office/drawing/2014/main" id="{DA55C806-06D9-F02E-8C7E-74A835FF02C6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352" name="Grafik 27">
                  <a:extLst>
                    <a:ext uri="{FF2B5EF4-FFF2-40B4-BE49-F238E27FC236}">
                      <a16:creationId xmlns:a16="http://schemas.microsoft.com/office/drawing/2014/main" id="{9992C800-896C-AEFC-AF3B-8F47E8EB7B7A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3" name="Grafik 27">
                  <a:extLst>
                    <a:ext uri="{FF2B5EF4-FFF2-40B4-BE49-F238E27FC236}">
                      <a16:creationId xmlns:a16="http://schemas.microsoft.com/office/drawing/2014/main" id="{55FF476B-9E0B-6E76-26E1-EB1FC0F6FD37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4" name="Grafik 27">
                  <a:extLst>
                    <a:ext uri="{FF2B5EF4-FFF2-40B4-BE49-F238E27FC236}">
                      <a16:creationId xmlns:a16="http://schemas.microsoft.com/office/drawing/2014/main" id="{78F5BE3B-C55E-2F0B-9D18-06699E1CE6C4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3" name="Grafik 27">
                <a:extLst>
                  <a:ext uri="{FF2B5EF4-FFF2-40B4-BE49-F238E27FC236}">
                    <a16:creationId xmlns:a16="http://schemas.microsoft.com/office/drawing/2014/main" id="{8B488DAF-3BA7-BB6A-F8B1-9C3C9E7AECD7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349" name="Grafik 27">
                  <a:extLst>
                    <a:ext uri="{FF2B5EF4-FFF2-40B4-BE49-F238E27FC236}">
                      <a16:creationId xmlns:a16="http://schemas.microsoft.com/office/drawing/2014/main" id="{2EE3FBBA-F2ED-AE6E-8D73-E44DBC894872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0" name="Grafik 27">
                  <a:extLst>
                    <a:ext uri="{FF2B5EF4-FFF2-40B4-BE49-F238E27FC236}">
                      <a16:creationId xmlns:a16="http://schemas.microsoft.com/office/drawing/2014/main" id="{2D57F0B8-AB8D-8116-E630-C913F4B58C80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1" name="Grafik 27">
                  <a:extLst>
                    <a:ext uri="{FF2B5EF4-FFF2-40B4-BE49-F238E27FC236}">
                      <a16:creationId xmlns:a16="http://schemas.microsoft.com/office/drawing/2014/main" id="{753CEC5B-CEF8-8532-458B-6E4D005029EF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4" name="Grafik 27">
                <a:extLst>
                  <a:ext uri="{FF2B5EF4-FFF2-40B4-BE49-F238E27FC236}">
                    <a16:creationId xmlns:a16="http://schemas.microsoft.com/office/drawing/2014/main" id="{D16A9292-48CF-E356-56BA-B22C51673C88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346" name="Grafik 27">
                  <a:extLst>
                    <a:ext uri="{FF2B5EF4-FFF2-40B4-BE49-F238E27FC236}">
                      <a16:creationId xmlns:a16="http://schemas.microsoft.com/office/drawing/2014/main" id="{152F6A14-B3BB-3953-EBA3-609A5BFDB44F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7" name="Grafik 27">
                  <a:extLst>
                    <a:ext uri="{FF2B5EF4-FFF2-40B4-BE49-F238E27FC236}">
                      <a16:creationId xmlns:a16="http://schemas.microsoft.com/office/drawing/2014/main" id="{1B425B3F-83B0-996D-E661-930B0E75C6F2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8" name="Grafik 27">
                  <a:extLst>
                    <a:ext uri="{FF2B5EF4-FFF2-40B4-BE49-F238E27FC236}">
                      <a16:creationId xmlns:a16="http://schemas.microsoft.com/office/drawing/2014/main" id="{5EE22166-90FC-BD8C-718F-EC2EC2318CCF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345" name="Grafik 27">
                <a:extLst>
                  <a:ext uri="{FF2B5EF4-FFF2-40B4-BE49-F238E27FC236}">
                    <a16:creationId xmlns:a16="http://schemas.microsoft.com/office/drawing/2014/main" id="{BE7ECB86-3BC8-FA05-64F9-9806ABFBECA6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cxnSp>
        <p:nvCxnSpPr>
          <p:cNvPr id="376" name="Straight Connector 375">
            <a:extLst>
              <a:ext uri="{FF2B5EF4-FFF2-40B4-BE49-F238E27FC236}">
                <a16:creationId xmlns:a16="http://schemas.microsoft.com/office/drawing/2014/main" id="{620718CF-6F3C-305E-9965-651910C8C334}"/>
              </a:ext>
            </a:extLst>
          </p:cNvPr>
          <p:cNvCxnSpPr>
            <a:cxnSpLocks/>
          </p:cNvCxnSpPr>
          <p:nvPr/>
        </p:nvCxnSpPr>
        <p:spPr>
          <a:xfrm>
            <a:off x="3833019" y="3969768"/>
            <a:ext cx="1353430" cy="0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9" name="Straight Connector 378">
            <a:extLst>
              <a:ext uri="{FF2B5EF4-FFF2-40B4-BE49-F238E27FC236}">
                <a16:creationId xmlns:a16="http://schemas.microsoft.com/office/drawing/2014/main" id="{8F47A5C5-81B6-B41F-6BA8-E7E2CDC51BCD}"/>
              </a:ext>
            </a:extLst>
          </p:cNvPr>
          <p:cNvCxnSpPr>
            <a:cxnSpLocks/>
          </p:cNvCxnSpPr>
          <p:nvPr/>
        </p:nvCxnSpPr>
        <p:spPr>
          <a:xfrm>
            <a:off x="3621393" y="4154782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5" name="Straight Connector 384">
            <a:extLst>
              <a:ext uri="{FF2B5EF4-FFF2-40B4-BE49-F238E27FC236}">
                <a16:creationId xmlns:a16="http://schemas.microsoft.com/office/drawing/2014/main" id="{1DE39DDE-D045-2B09-21BC-9156ADB64097}"/>
              </a:ext>
            </a:extLst>
          </p:cNvPr>
          <p:cNvCxnSpPr>
            <a:cxnSpLocks/>
          </p:cNvCxnSpPr>
          <p:nvPr/>
        </p:nvCxnSpPr>
        <p:spPr>
          <a:xfrm flipV="1">
            <a:off x="4666975" y="4156723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7" name="Grafik 36">
            <a:extLst>
              <a:ext uri="{FF2B5EF4-FFF2-40B4-BE49-F238E27FC236}">
                <a16:creationId xmlns:a16="http://schemas.microsoft.com/office/drawing/2014/main" id="{F3B32AB5-93DD-5C2D-5882-40A9A82DEEBF}"/>
              </a:ext>
            </a:extLst>
          </p:cNvPr>
          <p:cNvGrpSpPr/>
          <p:nvPr/>
        </p:nvGrpSpPr>
        <p:grpSpPr bwMode="gray">
          <a:xfrm>
            <a:off x="6241816" y="3794457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388" name="Grafik 36">
              <a:extLst>
                <a:ext uri="{FF2B5EF4-FFF2-40B4-BE49-F238E27FC236}">
                  <a16:creationId xmlns:a16="http://schemas.microsoft.com/office/drawing/2014/main" id="{A4AA2A28-D7E8-2770-919F-8AF3B180377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410" name="Grafik 36">
                <a:extLst>
                  <a:ext uri="{FF2B5EF4-FFF2-40B4-BE49-F238E27FC236}">
                    <a16:creationId xmlns:a16="http://schemas.microsoft.com/office/drawing/2014/main" id="{A7BE938E-8F9D-B0F9-26BB-41FDB40F0EA4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1" name="Grafik 36">
                <a:extLst>
                  <a:ext uri="{FF2B5EF4-FFF2-40B4-BE49-F238E27FC236}">
                    <a16:creationId xmlns:a16="http://schemas.microsoft.com/office/drawing/2014/main" id="{C932CF17-54D1-4BAE-BD06-62209BE3C55D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412" name="Grafik 36">
                <a:extLst>
                  <a:ext uri="{FF2B5EF4-FFF2-40B4-BE49-F238E27FC236}">
                    <a16:creationId xmlns:a16="http://schemas.microsoft.com/office/drawing/2014/main" id="{4573DB6B-0576-6A8F-1B17-14E159117037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3" name="Grafik 36">
                <a:extLst>
                  <a:ext uri="{FF2B5EF4-FFF2-40B4-BE49-F238E27FC236}">
                    <a16:creationId xmlns:a16="http://schemas.microsoft.com/office/drawing/2014/main" id="{9475AEE6-DECE-971C-3808-6EBFA49A6223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4" name="Grafik 36">
                <a:extLst>
                  <a:ext uri="{FF2B5EF4-FFF2-40B4-BE49-F238E27FC236}">
                    <a16:creationId xmlns:a16="http://schemas.microsoft.com/office/drawing/2014/main" id="{54671AFE-2630-4CA9-067C-57AB28787C58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89" name="Grafik 36">
              <a:extLst>
                <a:ext uri="{FF2B5EF4-FFF2-40B4-BE49-F238E27FC236}">
                  <a16:creationId xmlns:a16="http://schemas.microsoft.com/office/drawing/2014/main" id="{2A4C9F0F-CDE3-15D0-B87F-5B7FF5370E4A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390" name="Grafik 36">
                <a:extLst>
                  <a:ext uri="{FF2B5EF4-FFF2-40B4-BE49-F238E27FC236}">
                    <a16:creationId xmlns:a16="http://schemas.microsoft.com/office/drawing/2014/main" id="{6C6234BC-CD58-2F56-A1C7-CC5AC309E7E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401" name="Grafik 36">
                  <a:extLst>
                    <a:ext uri="{FF2B5EF4-FFF2-40B4-BE49-F238E27FC236}">
                      <a16:creationId xmlns:a16="http://schemas.microsoft.com/office/drawing/2014/main" id="{1F00251B-72ED-1B7B-1DE3-C0C9EAFEEC8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407" name="Grafik 36">
                    <a:extLst>
                      <a:ext uri="{FF2B5EF4-FFF2-40B4-BE49-F238E27FC236}">
                        <a16:creationId xmlns:a16="http://schemas.microsoft.com/office/drawing/2014/main" id="{CDD5A252-2392-744C-71FF-F6C6AC3F8D1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8" name="Grafik 36">
                    <a:extLst>
                      <a:ext uri="{FF2B5EF4-FFF2-40B4-BE49-F238E27FC236}">
                        <a16:creationId xmlns:a16="http://schemas.microsoft.com/office/drawing/2014/main" id="{B64B04AD-8AFC-E511-BD1A-55FE623CA42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9" name="Grafik 36">
                    <a:extLst>
                      <a:ext uri="{FF2B5EF4-FFF2-40B4-BE49-F238E27FC236}">
                        <a16:creationId xmlns:a16="http://schemas.microsoft.com/office/drawing/2014/main" id="{71CE2F6F-AE50-07B0-FC16-AF714FF3136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402" name="Grafik 36">
                  <a:extLst>
                    <a:ext uri="{FF2B5EF4-FFF2-40B4-BE49-F238E27FC236}">
                      <a16:creationId xmlns:a16="http://schemas.microsoft.com/office/drawing/2014/main" id="{063140A4-405B-D8A1-33A4-4BB010971BC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403" name="Grafik 36">
                  <a:extLst>
                    <a:ext uri="{FF2B5EF4-FFF2-40B4-BE49-F238E27FC236}">
                      <a16:creationId xmlns:a16="http://schemas.microsoft.com/office/drawing/2014/main" id="{26936A8D-23B8-78B7-C944-A1D96B591E1F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404" name="Grafik 36">
                    <a:extLst>
                      <a:ext uri="{FF2B5EF4-FFF2-40B4-BE49-F238E27FC236}">
                        <a16:creationId xmlns:a16="http://schemas.microsoft.com/office/drawing/2014/main" id="{E8C7918B-4FFA-CDB1-FB6E-ECDB93E2CB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5" name="Grafik 36">
                    <a:extLst>
                      <a:ext uri="{FF2B5EF4-FFF2-40B4-BE49-F238E27FC236}">
                        <a16:creationId xmlns:a16="http://schemas.microsoft.com/office/drawing/2014/main" id="{2E2EC5F7-4C9C-AEC0-27E9-AC49006139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6" name="Grafik 36">
                    <a:extLst>
                      <a:ext uri="{FF2B5EF4-FFF2-40B4-BE49-F238E27FC236}">
                        <a16:creationId xmlns:a16="http://schemas.microsoft.com/office/drawing/2014/main" id="{74AE9DFA-5F63-23C5-CA68-ED348271AD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391" name="Grafik 36">
                <a:extLst>
                  <a:ext uri="{FF2B5EF4-FFF2-40B4-BE49-F238E27FC236}">
                    <a16:creationId xmlns:a16="http://schemas.microsoft.com/office/drawing/2014/main" id="{496CB0ED-19BC-B063-DF4E-42653F36B0F3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392" name="Grafik 36">
                  <a:extLst>
                    <a:ext uri="{FF2B5EF4-FFF2-40B4-BE49-F238E27FC236}">
                      <a16:creationId xmlns:a16="http://schemas.microsoft.com/office/drawing/2014/main" id="{E1D93D7E-781B-3E16-A858-FAED0A7FB885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398" name="Grafik 36">
                    <a:extLst>
                      <a:ext uri="{FF2B5EF4-FFF2-40B4-BE49-F238E27FC236}">
                        <a16:creationId xmlns:a16="http://schemas.microsoft.com/office/drawing/2014/main" id="{9C82A856-AB08-741A-E642-11A9CCAE14D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9" name="Grafik 36">
                    <a:extLst>
                      <a:ext uri="{FF2B5EF4-FFF2-40B4-BE49-F238E27FC236}">
                        <a16:creationId xmlns:a16="http://schemas.microsoft.com/office/drawing/2014/main" id="{56409378-24D4-2CB0-519B-A395434910C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0" name="Grafik 36">
                    <a:extLst>
                      <a:ext uri="{FF2B5EF4-FFF2-40B4-BE49-F238E27FC236}">
                        <a16:creationId xmlns:a16="http://schemas.microsoft.com/office/drawing/2014/main" id="{666C0213-F30E-56CC-57F9-56C24FBACA3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93" name="Grafik 36">
                  <a:extLst>
                    <a:ext uri="{FF2B5EF4-FFF2-40B4-BE49-F238E27FC236}">
                      <a16:creationId xmlns:a16="http://schemas.microsoft.com/office/drawing/2014/main" id="{142D439B-6B50-8BAC-742E-B0E0EC968CA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94" name="Grafik 36">
                  <a:extLst>
                    <a:ext uri="{FF2B5EF4-FFF2-40B4-BE49-F238E27FC236}">
                      <a16:creationId xmlns:a16="http://schemas.microsoft.com/office/drawing/2014/main" id="{B3B104A9-541B-12C8-63F5-F4AA63128A2B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395" name="Grafik 36">
                    <a:extLst>
                      <a:ext uri="{FF2B5EF4-FFF2-40B4-BE49-F238E27FC236}">
                        <a16:creationId xmlns:a16="http://schemas.microsoft.com/office/drawing/2014/main" id="{34BE0D00-0BFD-FD02-D6AD-2EF8224A2DC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6" name="Grafik 36">
                    <a:extLst>
                      <a:ext uri="{FF2B5EF4-FFF2-40B4-BE49-F238E27FC236}">
                        <a16:creationId xmlns:a16="http://schemas.microsoft.com/office/drawing/2014/main" id="{0E4D644D-3094-1FDC-130A-4D44E4F509D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7" name="Grafik 36">
                    <a:extLst>
                      <a:ext uri="{FF2B5EF4-FFF2-40B4-BE49-F238E27FC236}">
                        <a16:creationId xmlns:a16="http://schemas.microsoft.com/office/drawing/2014/main" id="{3CEEF22C-D8A4-6DC3-9711-49C5C2AC5CF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415" name="Grafik 27">
            <a:extLst>
              <a:ext uri="{FF2B5EF4-FFF2-40B4-BE49-F238E27FC236}">
                <a16:creationId xmlns:a16="http://schemas.microsoft.com/office/drawing/2014/main" id="{149F263A-963E-8BF0-8FBC-563AD053CD94}"/>
              </a:ext>
            </a:extLst>
          </p:cNvPr>
          <p:cNvGrpSpPr/>
          <p:nvPr/>
        </p:nvGrpSpPr>
        <p:grpSpPr bwMode="gray">
          <a:xfrm>
            <a:off x="7095192" y="2704692"/>
            <a:ext cx="374400" cy="374400"/>
            <a:chOff x="5843587" y="3176587"/>
            <a:chExt cx="500253" cy="500253"/>
          </a:xfrm>
          <a:solidFill>
            <a:schemeClr val="accent2">
              <a:lumMod val="75000"/>
            </a:schemeClr>
          </a:solidFill>
        </p:grpSpPr>
        <p:grpSp>
          <p:nvGrpSpPr>
            <p:cNvPr id="416" name="Grafik 27">
              <a:extLst>
                <a:ext uri="{FF2B5EF4-FFF2-40B4-BE49-F238E27FC236}">
                  <a16:creationId xmlns:a16="http://schemas.microsoft.com/office/drawing/2014/main" id="{E3404ACA-42BB-950E-2653-26778EFA25C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451" name="Grafik 27">
                <a:extLst>
                  <a:ext uri="{FF2B5EF4-FFF2-40B4-BE49-F238E27FC236}">
                    <a16:creationId xmlns:a16="http://schemas.microsoft.com/office/drawing/2014/main" id="{E67B6078-9B98-8FAB-F2E4-6FA25669E85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2" name="Grafik 27">
                <a:extLst>
                  <a:ext uri="{FF2B5EF4-FFF2-40B4-BE49-F238E27FC236}">
                    <a16:creationId xmlns:a16="http://schemas.microsoft.com/office/drawing/2014/main" id="{0F496CBA-F227-A7FF-862B-6333FBEEC14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3" name="Grafik 27">
                <a:extLst>
                  <a:ext uri="{FF2B5EF4-FFF2-40B4-BE49-F238E27FC236}">
                    <a16:creationId xmlns:a16="http://schemas.microsoft.com/office/drawing/2014/main" id="{A2CEF5A0-5753-C945-B5B3-8414EB3B43A3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4" name="Grafik 27">
                <a:extLst>
                  <a:ext uri="{FF2B5EF4-FFF2-40B4-BE49-F238E27FC236}">
                    <a16:creationId xmlns:a16="http://schemas.microsoft.com/office/drawing/2014/main" id="{96B88EF9-4F0C-93F3-53E0-C3787C3C11AA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5" name="Grafik 27">
                <a:extLst>
                  <a:ext uri="{FF2B5EF4-FFF2-40B4-BE49-F238E27FC236}">
                    <a16:creationId xmlns:a16="http://schemas.microsoft.com/office/drawing/2014/main" id="{7945FB83-0621-768B-43CA-3FEE8068CE96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17" name="Grafik 27">
              <a:extLst>
                <a:ext uri="{FF2B5EF4-FFF2-40B4-BE49-F238E27FC236}">
                  <a16:creationId xmlns:a16="http://schemas.microsoft.com/office/drawing/2014/main" id="{BCE259CA-8DB8-5114-33F9-935B06CB0B58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418" name="Grafik 27">
                <a:extLst>
                  <a:ext uri="{FF2B5EF4-FFF2-40B4-BE49-F238E27FC236}">
                    <a16:creationId xmlns:a16="http://schemas.microsoft.com/office/drawing/2014/main" id="{6E72E3E1-4CAD-21F0-23A4-9B92949965F7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448" name="Grafik 27">
                  <a:extLst>
                    <a:ext uri="{FF2B5EF4-FFF2-40B4-BE49-F238E27FC236}">
                      <a16:creationId xmlns:a16="http://schemas.microsoft.com/office/drawing/2014/main" id="{B2AE1ADA-8B35-CE5C-C44C-1BD31992EC7F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9" name="Grafik 27">
                  <a:extLst>
                    <a:ext uri="{FF2B5EF4-FFF2-40B4-BE49-F238E27FC236}">
                      <a16:creationId xmlns:a16="http://schemas.microsoft.com/office/drawing/2014/main" id="{C9C3C517-537E-BDB4-7C96-7E3F56425E9A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50" name="Grafik 27">
                  <a:extLst>
                    <a:ext uri="{FF2B5EF4-FFF2-40B4-BE49-F238E27FC236}">
                      <a16:creationId xmlns:a16="http://schemas.microsoft.com/office/drawing/2014/main" id="{17573FD6-D0C0-47B3-D3D7-083E7DC934DA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19" name="Grafik 27">
                <a:extLst>
                  <a:ext uri="{FF2B5EF4-FFF2-40B4-BE49-F238E27FC236}">
                    <a16:creationId xmlns:a16="http://schemas.microsoft.com/office/drawing/2014/main" id="{5AB0F8FA-4A46-486C-5FE9-C4EFCA1EBF5D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445" name="Grafik 27">
                  <a:extLst>
                    <a:ext uri="{FF2B5EF4-FFF2-40B4-BE49-F238E27FC236}">
                      <a16:creationId xmlns:a16="http://schemas.microsoft.com/office/drawing/2014/main" id="{DBF44413-7881-2765-970C-373BE55B699C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6" name="Grafik 27">
                  <a:extLst>
                    <a:ext uri="{FF2B5EF4-FFF2-40B4-BE49-F238E27FC236}">
                      <a16:creationId xmlns:a16="http://schemas.microsoft.com/office/drawing/2014/main" id="{17155D24-5C8F-3424-38D3-6A66C3AB8AB8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7" name="Grafik 27">
                  <a:extLst>
                    <a:ext uri="{FF2B5EF4-FFF2-40B4-BE49-F238E27FC236}">
                      <a16:creationId xmlns:a16="http://schemas.microsoft.com/office/drawing/2014/main" id="{2C21AC20-BCBC-CDF1-6870-8C3855483CE5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0" name="Grafik 27">
                <a:extLst>
                  <a:ext uri="{FF2B5EF4-FFF2-40B4-BE49-F238E27FC236}">
                    <a16:creationId xmlns:a16="http://schemas.microsoft.com/office/drawing/2014/main" id="{729391D5-2685-04A2-FC33-30AC14200389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442" name="Grafik 27">
                  <a:extLst>
                    <a:ext uri="{FF2B5EF4-FFF2-40B4-BE49-F238E27FC236}">
                      <a16:creationId xmlns:a16="http://schemas.microsoft.com/office/drawing/2014/main" id="{6C8E1DAF-BD56-8AC3-5A02-C9D12E08D016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3" name="Grafik 27">
                  <a:extLst>
                    <a:ext uri="{FF2B5EF4-FFF2-40B4-BE49-F238E27FC236}">
                      <a16:creationId xmlns:a16="http://schemas.microsoft.com/office/drawing/2014/main" id="{7C881157-C895-B42B-88A9-22B4D374C264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4" name="Grafik 27">
                  <a:extLst>
                    <a:ext uri="{FF2B5EF4-FFF2-40B4-BE49-F238E27FC236}">
                      <a16:creationId xmlns:a16="http://schemas.microsoft.com/office/drawing/2014/main" id="{D1A7C684-6D08-F7AF-B929-18C67E939ADF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1" name="Grafik 27">
                <a:extLst>
                  <a:ext uri="{FF2B5EF4-FFF2-40B4-BE49-F238E27FC236}">
                    <a16:creationId xmlns:a16="http://schemas.microsoft.com/office/drawing/2014/main" id="{CC6E973B-4AEB-EB32-E454-FC4FB5762652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439" name="Grafik 27">
                  <a:extLst>
                    <a:ext uri="{FF2B5EF4-FFF2-40B4-BE49-F238E27FC236}">
                      <a16:creationId xmlns:a16="http://schemas.microsoft.com/office/drawing/2014/main" id="{B1AAE580-7A32-2B48-A61A-8521E863975E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0" name="Grafik 27">
                  <a:extLst>
                    <a:ext uri="{FF2B5EF4-FFF2-40B4-BE49-F238E27FC236}">
                      <a16:creationId xmlns:a16="http://schemas.microsoft.com/office/drawing/2014/main" id="{83C1FA86-4174-A17B-F2E3-6CA3EFED17DA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1" name="Grafik 27">
                  <a:extLst>
                    <a:ext uri="{FF2B5EF4-FFF2-40B4-BE49-F238E27FC236}">
                      <a16:creationId xmlns:a16="http://schemas.microsoft.com/office/drawing/2014/main" id="{81775054-3D30-DA4D-2156-0C8F5869AAD6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2" name="Grafik 27">
                <a:extLst>
                  <a:ext uri="{FF2B5EF4-FFF2-40B4-BE49-F238E27FC236}">
                    <a16:creationId xmlns:a16="http://schemas.microsoft.com/office/drawing/2014/main" id="{3EAC7316-0098-33F4-793C-B69C40056A79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436" name="Grafik 27">
                  <a:extLst>
                    <a:ext uri="{FF2B5EF4-FFF2-40B4-BE49-F238E27FC236}">
                      <a16:creationId xmlns:a16="http://schemas.microsoft.com/office/drawing/2014/main" id="{332DBFAE-59B6-F436-7D06-F693E861F272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7" name="Grafik 27">
                  <a:extLst>
                    <a:ext uri="{FF2B5EF4-FFF2-40B4-BE49-F238E27FC236}">
                      <a16:creationId xmlns:a16="http://schemas.microsoft.com/office/drawing/2014/main" id="{980500EA-DA69-54D1-7705-E8216C11081A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8" name="Grafik 27">
                  <a:extLst>
                    <a:ext uri="{FF2B5EF4-FFF2-40B4-BE49-F238E27FC236}">
                      <a16:creationId xmlns:a16="http://schemas.microsoft.com/office/drawing/2014/main" id="{1F717291-5C93-5B00-7427-CCAE067D0722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3" name="Grafik 27">
                <a:extLst>
                  <a:ext uri="{FF2B5EF4-FFF2-40B4-BE49-F238E27FC236}">
                    <a16:creationId xmlns:a16="http://schemas.microsoft.com/office/drawing/2014/main" id="{42D5AAC0-E8A4-3F99-50FE-4E3E334497DB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433" name="Grafik 27">
                  <a:extLst>
                    <a:ext uri="{FF2B5EF4-FFF2-40B4-BE49-F238E27FC236}">
                      <a16:creationId xmlns:a16="http://schemas.microsoft.com/office/drawing/2014/main" id="{FEED395C-B1E7-FDC7-0A6E-8A641BE4786C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4" name="Grafik 27">
                  <a:extLst>
                    <a:ext uri="{FF2B5EF4-FFF2-40B4-BE49-F238E27FC236}">
                      <a16:creationId xmlns:a16="http://schemas.microsoft.com/office/drawing/2014/main" id="{9F31E1DF-6356-E127-B8AA-51E4F74B6D5D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5" name="Grafik 27">
                  <a:extLst>
                    <a:ext uri="{FF2B5EF4-FFF2-40B4-BE49-F238E27FC236}">
                      <a16:creationId xmlns:a16="http://schemas.microsoft.com/office/drawing/2014/main" id="{4DBFA5D0-5B97-1034-51F4-F5AC546486EF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4" name="Grafik 27">
                <a:extLst>
                  <a:ext uri="{FF2B5EF4-FFF2-40B4-BE49-F238E27FC236}">
                    <a16:creationId xmlns:a16="http://schemas.microsoft.com/office/drawing/2014/main" id="{4F852C5F-39C7-0B40-0B00-9C45120D8803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430" name="Grafik 27">
                  <a:extLst>
                    <a:ext uri="{FF2B5EF4-FFF2-40B4-BE49-F238E27FC236}">
                      <a16:creationId xmlns:a16="http://schemas.microsoft.com/office/drawing/2014/main" id="{F4F2DA1E-C493-454F-5EC1-76104DB17C38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1" name="Grafik 27">
                  <a:extLst>
                    <a:ext uri="{FF2B5EF4-FFF2-40B4-BE49-F238E27FC236}">
                      <a16:creationId xmlns:a16="http://schemas.microsoft.com/office/drawing/2014/main" id="{D7713565-AA6A-BE38-4EBC-59D0E08F1188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2" name="Grafik 27">
                  <a:extLst>
                    <a:ext uri="{FF2B5EF4-FFF2-40B4-BE49-F238E27FC236}">
                      <a16:creationId xmlns:a16="http://schemas.microsoft.com/office/drawing/2014/main" id="{4FEC2FEB-A965-D26B-78D5-AB5E8F98EAD3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5" name="Grafik 27">
                <a:extLst>
                  <a:ext uri="{FF2B5EF4-FFF2-40B4-BE49-F238E27FC236}">
                    <a16:creationId xmlns:a16="http://schemas.microsoft.com/office/drawing/2014/main" id="{13E349D2-6782-FDBF-6BD5-998C8475C994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427" name="Grafik 27">
                  <a:extLst>
                    <a:ext uri="{FF2B5EF4-FFF2-40B4-BE49-F238E27FC236}">
                      <a16:creationId xmlns:a16="http://schemas.microsoft.com/office/drawing/2014/main" id="{5E010809-D4A4-BF81-844A-6F97FC70F25C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8" name="Grafik 27">
                  <a:extLst>
                    <a:ext uri="{FF2B5EF4-FFF2-40B4-BE49-F238E27FC236}">
                      <a16:creationId xmlns:a16="http://schemas.microsoft.com/office/drawing/2014/main" id="{3A072357-CBB9-F981-0E51-F5F7DE3DB6D6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9" name="Grafik 27">
                  <a:extLst>
                    <a:ext uri="{FF2B5EF4-FFF2-40B4-BE49-F238E27FC236}">
                      <a16:creationId xmlns:a16="http://schemas.microsoft.com/office/drawing/2014/main" id="{7DDC3BA2-C721-B9B8-D310-114D5A62CF23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26" name="Grafik 27">
                <a:extLst>
                  <a:ext uri="{FF2B5EF4-FFF2-40B4-BE49-F238E27FC236}">
                    <a16:creationId xmlns:a16="http://schemas.microsoft.com/office/drawing/2014/main" id="{CBCFE7EA-892A-F8A1-6802-A400EC34224E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456" name="Grafik 36">
            <a:extLst>
              <a:ext uri="{FF2B5EF4-FFF2-40B4-BE49-F238E27FC236}">
                <a16:creationId xmlns:a16="http://schemas.microsoft.com/office/drawing/2014/main" id="{B918C36A-0859-CFF1-A581-3FB893290E53}"/>
              </a:ext>
            </a:extLst>
          </p:cNvPr>
          <p:cNvGrpSpPr/>
          <p:nvPr/>
        </p:nvGrpSpPr>
        <p:grpSpPr bwMode="gray">
          <a:xfrm>
            <a:off x="7082608" y="4821242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457" name="Grafik 36">
              <a:extLst>
                <a:ext uri="{FF2B5EF4-FFF2-40B4-BE49-F238E27FC236}">
                  <a16:creationId xmlns:a16="http://schemas.microsoft.com/office/drawing/2014/main" id="{9E586C93-C3D5-F08C-95A6-E7F889047FF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479" name="Grafik 36">
                <a:extLst>
                  <a:ext uri="{FF2B5EF4-FFF2-40B4-BE49-F238E27FC236}">
                    <a16:creationId xmlns:a16="http://schemas.microsoft.com/office/drawing/2014/main" id="{771B8008-1905-81FE-8144-B07E11AA93F6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0" name="Grafik 36">
                <a:extLst>
                  <a:ext uri="{FF2B5EF4-FFF2-40B4-BE49-F238E27FC236}">
                    <a16:creationId xmlns:a16="http://schemas.microsoft.com/office/drawing/2014/main" id="{09607CDA-01AE-2EDD-EE24-1AC9EC30693D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481" name="Grafik 36">
                <a:extLst>
                  <a:ext uri="{FF2B5EF4-FFF2-40B4-BE49-F238E27FC236}">
                    <a16:creationId xmlns:a16="http://schemas.microsoft.com/office/drawing/2014/main" id="{2DCDB97F-89FB-6DB0-F1F4-5C546C32EEDC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2" name="Grafik 36">
                <a:extLst>
                  <a:ext uri="{FF2B5EF4-FFF2-40B4-BE49-F238E27FC236}">
                    <a16:creationId xmlns:a16="http://schemas.microsoft.com/office/drawing/2014/main" id="{976136EF-9FC4-4C5F-CBF6-5D629D24DAD6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3" name="Grafik 36">
                <a:extLst>
                  <a:ext uri="{FF2B5EF4-FFF2-40B4-BE49-F238E27FC236}">
                    <a16:creationId xmlns:a16="http://schemas.microsoft.com/office/drawing/2014/main" id="{57781A3D-8668-8E30-8196-5B3FDDDE206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58" name="Grafik 36">
              <a:extLst>
                <a:ext uri="{FF2B5EF4-FFF2-40B4-BE49-F238E27FC236}">
                  <a16:creationId xmlns:a16="http://schemas.microsoft.com/office/drawing/2014/main" id="{5E8A07B6-1393-4939-5F85-E9ED4089DEAA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459" name="Grafik 36">
                <a:extLst>
                  <a:ext uri="{FF2B5EF4-FFF2-40B4-BE49-F238E27FC236}">
                    <a16:creationId xmlns:a16="http://schemas.microsoft.com/office/drawing/2014/main" id="{2C35A891-1E31-4564-5B89-F90BFCC1823B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470" name="Grafik 36">
                  <a:extLst>
                    <a:ext uri="{FF2B5EF4-FFF2-40B4-BE49-F238E27FC236}">
                      <a16:creationId xmlns:a16="http://schemas.microsoft.com/office/drawing/2014/main" id="{06DEF029-F27F-9B37-0C38-DDBC74FC1E85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476" name="Grafik 36">
                    <a:extLst>
                      <a:ext uri="{FF2B5EF4-FFF2-40B4-BE49-F238E27FC236}">
                        <a16:creationId xmlns:a16="http://schemas.microsoft.com/office/drawing/2014/main" id="{E4208C1F-029C-25FF-374F-5C9B2B38991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77" name="Grafik 36">
                    <a:extLst>
                      <a:ext uri="{FF2B5EF4-FFF2-40B4-BE49-F238E27FC236}">
                        <a16:creationId xmlns:a16="http://schemas.microsoft.com/office/drawing/2014/main" id="{57EB9B7C-8FDC-B60E-7C5B-F5D1C6821DF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78" name="Grafik 36">
                    <a:extLst>
                      <a:ext uri="{FF2B5EF4-FFF2-40B4-BE49-F238E27FC236}">
                        <a16:creationId xmlns:a16="http://schemas.microsoft.com/office/drawing/2014/main" id="{65E59225-003E-AF62-289B-1F01045F653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471" name="Grafik 36">
                  <a:extLst>
                    <a:ext uri="{FF2B5EF4-FFF2-40B4-BE49-F238E27FC236}">
                      <a16:creationId xmlns:a16="http://schemas.microsoft.com/office/drawing/2014/main" id="{52F5FBEA-45C6-0A7F-0CBE-68E313E1FB9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472" name="Grafik 36">
                  <a:extLst>
                    <a:ext uri="{FF2B5EF4-FFF2-40B4-BE49-F238E27FC236}">
                      <a16:creationId xmlns:a16="http://schemas.microsoft.com/office/drawing/2014/main" id="{D664C8C5-08A4-714C-19AA-A1621679AF2B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473" name="Grafik 36">
                    <a:extLst>
                      <a:ext uri="{FF2B5EF4-FFF2-40B4-BE49-F238E27FC236}">
                        <a16:creationId xmlns:a16="http://schemas.microsoft.com/office/drawing/2014/main" id="{2D27957C-478F-7C81-3B12-969B7C36AD9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74" name="Grafik 36">
                    <a:extLst>
                      <a:ext uri="{FF2B5EF4-FFF2-40B4-BE49-F238E27FC236}">
                        <a16:creationId xmlns:a16="http://schemas.microsoft.com/office/drawing/2014/main" id="{E6E2F7F4-B64B-BE82-74C5-7DBF36BD650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75" name="Grafik 36">
                    <a:extLst>
                      <a:ext uri="{FF2B5EF4-FFF2-40B4-BE49-F238E27FC236}">
                        <a16:creationId xmlns:a16="http://schemas.microsoft.com/office/drawing/2014/main" id="{9EB067E6-03E8-F369-32AC-8A0297BB9E7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460" name="Grafik 36">
                <a:extLst>
                  <a:ext uri="{FF2B5EF4-FFF2-40B4-BE49-F238E27FC236}">
                    <a16:creationId xmlns:a16="http://schemas.microsoft.com/office/drawing/2014/main" id="{46ADEC6A-B91D-3644-8670-CE782AA70EB4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461" name="Grafik 36">
                  <a:extLst>
                    <a:ext uri="{FF2B5EF4-FFF2-40B4-BE49-F238E27FC236}">
                      <a16:creationId xmlns:a16="http://schemas.microsoft.com/office/drawing/2014/main" id="{36B10834-2420-7C15-4BD2-31967E6B3244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467" name="Grafik 36">
                    <a:extLst>
                      <a:ext uri="{FF2B5EF4-FFF2-40B4-BE49-F238E27FC236}">
                        <a16:creationId xmlns:a16="http://schemas.microsoft.com/office/drawing/2014/main" id="{4DCD798D-2158-6574-BD50-20BC97526E4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68" name="Grafik 36">
                    <a:extLst>
                      <a:ext uri="{FF2B5EF4-FFF2-40B4-BE49-F238E27FC236}">
                        <a16:creationId xmlns:a16="http://schemas.microsoft.com/office/drawing/2014/main" id="{2A39D075-20EE-023B-349E-FDB8FFE4A52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69" name="Grafik 36">
                    <a:extLst>
                      <a:ext uri="{FF2B5EF4-FFF2-40B4-BE49-F238E27FC236}">
                        <a16:creationId xmlns:a16="http://schemas.microsoft.com/office/drawing/2014/main" id="{61EF0E82-2384-A525-061C-8174F4C4E58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462" name="Grafik 36">
                  <a:extLst>
                    <a:ext uri="{FF2B5EF4-FFF2-40B4-BE49-F238E27FC236}">
                      <a16:creationId xmlns:a16="http://schemas.microsoft.com/office/drawing/2014/main" id="{A82A9514-880D-8657-FA5F-C1C40816B50C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463" name="Grafik 36">
                  <a:extLst>
                    <a:ext uri="{FF2B5EF4-FFF2-40B4-BE49-F238E27FC236}">
                      <a16:creationId xmlns:a16="http://schemas.microsoft.com/office/drawing/2014/main" id="{FBFA4F7E-C162-DBB1-36EF-106AF452F937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464" name="Grafik 36">
                    <a:extLst>
                      <a:ext uri="{FF2B5EF4-FFF2-40B4-BE49-F238E27FC236}">
                        <a16:creationId xmlns:a16="http://schemas.microsoft.com/office/drawing/2014/main" id="{A184EC50-6EDE-0317-2931-9F1E666DFD4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65" name="Grafik 36">
                    <a:extLst>
                      <a:ext uri="{FF2B5EF4-FFF2-40B4-BE49-F238E27FC236}">
                        <a16:creationId xmlns:a16="http://schemas.microsoft.com/office/drawing/2014/main" id="{F9BC12DB-E484-DF34-C1CD-C025A94A5F1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66" name="Grafik 36">
                    <a:extLst>
                      <a:ext uri="{FF2B5EF4-FFF2-40B4-BE49-F238E27FC236}">
                        <a16:creationId xmlns:a16="http://schemas.microsoft.com/office/drawing/2014/main" id="{E7E158B9-C45C-4B4B-BB16-8D216036317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525" name="Grafik 36">
            <a:extLst>
              <a:ext uri="{FF2B5EF4-FFF2-40B4-BE49-F238E27FC236}">
                <a16:creationId xmlns:a16="http://schemas.microsoft.com/office/drawing/2014/main" id="{51F27B46-52F7-1CE8-8499-E294122310AB}"/>
              </a:ext>
            </a:extLst>
          </p:cNvPr>
          <p:cNvGrpSpPr/>
          <p:nvPr/>
        </p:nvGrpSpPr>
        <p:grpSpPr bwMode="gray">
          <a:xfrm>
            <a:off x="7969646" y="3792032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526" name="Grafik 36">
              <a:extLst>
                <a:ext uri="{FF2B5EF4-FFF2-40B4-BE49-F238E27FC236}">
                  <a16:creationId xmlns:a16="http://schemas.microsoft.com/office/drawing/2014/main" id="{6AB99462-A60F-3A8F-1388-9A3B20BDDD7F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48" name="Grafik 36">
                <a:extLst>
                  <a:ext uri="{FF2B5EF4-FFF2-40B4-BE49-F238E27FC236}">
                    <a16:creationId xmlns:a16="http://schemas.microsoft.com/office/drawing/2014/main" id="{02202B09-7611-C267-9ED3-94C2582066B2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9" name="Grafik 36">
                <a:extLst>
                  <a:ext uri="{FF2B5EF4-FFF2-40B4-BE49-F238E27FC236}">
                    <a16:creationId xmlns:a16="http://schemas.microsoft.com/office/drawing/2014/main" id="{368D1929-A2F8-9471-DFCB-741DBE50A4A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50" name="Grafik 36">
                <a:extLst>
                  <a:ext uri="{FF2B5EF4-FFF2-40B4-BE49-F238E27FC236}">
                    <a16:creationId xmlns:a16="http://schemas.microsoft.com/office/drawing/2014/main" id="{0387A9C0-D5F3-AE57-45D9-C14E30FCE4D3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1" name="Grafik 36">
                <a:extLst>
                  <a:ext uri="{FF2B5EF4-FFF2-40B4-BE49-F238E27FC236}">
                    <a16:creationId xmlns:a16="http://schemas.microsoft.com/office/drawing/2014/main" id="{67C81542-1D86-2FC2-59E1-32FC36B80EE8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2" name="Grafik 36">
                <a:extLst>
                  <a:ext uri="{FF2B5EF4-FFF2-40B4-BE49-F238E27FC236}">
                    <a16:creationId xmlns:a16="http://schemas.microsoft.com/office/drawing/2014/main" id="{B22DFE68-C803-9D1E-94EC-CF2DD7366999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27" name="Grafik 36">
              <a:extLst>
                <a:ext uri="{FF2B5EF4-FFF2-40B4-BE49-F238E27FC236}">
                  <a16:creationId xmlns:a16="http://schemas.microsoft.com/office/drawing/2014/main" id="{B2ECF051-5BD9-E4B5-D654-60C4C214619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28" name="Grafik 36">
                <a:extLst>
                  <a:ext uri="{FF2B5EF4-FFF2-40B4-BE49-F238E27FC236}">
                    <a16:creationId xmlns:a16="http://schemas.microsoft.com/office/drawing/2014/main" id="{89EF8779-553B-0314-E9A8-38C01B9FCA8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39" name="Grafik 36">
                  <a:extLst>
                    <a:ext uri="{FF2B5EF4-FFF2-40B4-BE49-F238E27FC236}">
                      <a16:creationId xmlns:a16="http://schemas.microsoft.com/office/drawing/2014/main" id="{7C766AE4-2A63-6511-CA3C-6948A8AD7C5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45" name="Grafik 36">
                    <a:extLst>
                      <a:ext uri="{FF2B5EF4-FFF2-40B4-BE49-F238E27FC236}">
                        <a16:creationId xmlns:a16="http://schemas.microsoft.com/office/drawing/2014/main" id="{AF67264D-AAC5-C56F-8CDC-7CF08366A95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46" name="Grafik 36">
                    <a:extLst>
                      <a:ext uri="{FF2B5EF4-FFF2-40B4-BE49-F238E27FC236}">
                        <a16:creationId xmlns:a16="http://schemas.microsoft.com/office/drawing/2014/main" id="{462B41FE-2BE7-955F-8960-1EF97DE98CB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47" name="Grafik 36">
                    <a:extLst>
                      <a:ext uri="{FF2B5EF4-FFF2-40B4-BE49-F238E27FC236}">
                        <a16:creationId xmlns:a16="http://schemas.microsoft.com/office/drawing/2014/main" id="{CA097F32-DB66-E5BE-4C34-5A40FDA2C1E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40" name="Grafik 36">
                  <a:extLst>
                    <a:ext uri="{FF2B5EF4-FFF2-40B4-BE49-F238E27FC236}">
                      <a16:creationId xmlns:a16="http://schemas.microsoft.com/office/drawing/2014/main" id="{C9989026-A0D5-4B48-31AD-3127B72DA281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541" name="Grafik 36">
                  <a:extLst>
                    <a:ext uri="{FF2B5EF4-FFF2-40B4-BE49-F238E27FC236}">
                      <a16:creationId xmlns:a16="http://schemas.microsoft.com/office/drawing/2014/main" id="{96E65EA7-9D53-D9FE-14D3-4C705EDF309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42" name="Grafik 36">
                    <a:extLst>
                      <a:ext uri="{FF2B5EF4-FFF2-40B4-BE49-F238E27FC236}">
                        <a16:creationId xmlns:a16="http://schemas.microsoft.com/office/drawing/2014/main" id="{189F78F4-C983-51A9-13B4-B243A68B4F0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43" name="Grafik 36">
                    <a:extLst>
                      <a:ext uri="{FF2B5EF4-FFF2-40B4-BE49-F238E27FC236}">
                        <a16:creationId xmlns:a16="http://schemas.microsoft.com/office/drawing/2014/main" id="{D78B6E40-A473-53E8-5B73-E5E1E7E24AB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44" name="Grafik 36">
                    <a:extLst>
                      <a:ext uri="{FF2B5EF4-FFF2-40B4-BE49-F238E27FC236}">
                        <a16:creationId xmlns:a16="http://schemas.microsoft.com/office/drawing/2014/main" id="{3A9501E9-6754-F0F4-3458-8FCABF62F6F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529" name="Grafik 36">
                <a:extLst>
                  <a:ext uri="{FF2B5EF4-FFF2-40B4-BE49-F238E27FC236}">
                    <a16:creationId xmlns:a16="http://schemas.microsoft.com/office/drawing/2014/main" id="{86B2B120-A214-8F0A-B3AE-C1BAE4CE0D31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30" name="Grafik 36">
                  <a:extLst>
                    <a:ext uri="{FF2B5EF4-FFF2-40B4-BE49-F238E27FC236}">
                      <a16:creationId xmlns:a16="http://schemas.microsoft.com/office/drawing/2014/main" id="{3F15202E-5E85-FEB3-F38F-A15C168D3AF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36" name="Grafik 36">
                    <a:extLst>
                      <a:ext uri="{FF2B5EF4-FFF2-40B4-BE49-F238E27FC236}">
                        <a16:creationId xmlns:a16="http://schemas.microsoft.com/office/drawing/2014/main" id="{D2C59FDF-F2EF-9D8D-451D-266A3E9E401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7" name="Grafik 36">
                    <a:extLst>
                      <a:ext uri="{FF2B5EF4-FFF2-40B4-BE49-F238E27FC236}">
                        <a16:creationId xmlns:a16="http://schemas.microsoft.com/office/drawing/2014/main" id="{4C7BDA4A-82D2-F6FE-612B-202CA3E18C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8" name="Grafik 36">
                    <a:extLst>
                      <a:ext uri="{FF2B5EF4-FFF2-40B4-BE49-F238E27FC236}">
                        <a16:creationId xmlns:a16="http://schemas.microsoft.com/office/drawing/2014/main" id="{9ADB848A-D584-1B6E-69AE-83CBDE101AA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31" name="Grafik 36">
                  <a:extLst>
                    <a:ext uri="{FF2B5EF4-FFF2-40B4-BE49-F238E27FC236}">
                      <a16:creationId xmlns:a16="http://schemas.microsoft.com/office/drawing/2014/main" id="{66FB8C5F-7AD0-E575-ABAE-A2DC0132F4AC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32" name="Grafik 36">
                  <a:extLst>
                    <a:ext uri="{FF2B5EF4-FFF2-40B4-BE49-F238E27FC236}">
                      <a16:creationId xmlns:a16="http://schemas.microsoft.com/office/drawing/2014/main" id="{CDE6DF90-4EBF-3688-1765-DF1EF639E3D3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33" name="Grafik 36">
                    <a:extLst>
                      <a:ext uri="{FF2B5EF4-FFF2-40B4-BE49-F238E27FC236}">
                        <a16:creationId xmlns:a16="http://schemas.microsoft.com/office/drawing/2014/main" id="{4A92999E-8D85-CC3F-E538-C93E66BBECC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4" name="Grafik 36">
                    <a:extLst>
                      <a:ext uri="{FF2B5EF4-FFF2-40B4-BE49-F238E27FC236}">
                        <a16:creationId xmlns:a16="http://schemas.microsoft.com/office/drawing/2014/main" id="{998D6E2B-5AA7-F7E7-4E08-0ABE3F6F84F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5" name="Grafik 36">
                    <a:extLst>
                      <a:ext uri="{FF2B5EF4-FFF2-40B4-BE49-F238E27FC236}">
                        <a16:creationId xmlns:a16="http://schemas.microsoft.com/office/drawing/2014/main" id="{A7A4B305-FA03-4DA5-78D1-1287D106155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cxnSp>
        <p:nvCxnSpPr>
          <p:cNvPr id="594" name="Straight Connector 593">
            <a:extLst>
              <a:ext uri="{FF2B5EF4-FFF2-40B4-BE49-F238E27FC236}">
                <a16:creationId xmlns:a16="http://schemas.microsoft.com/office/drawing/2014/main" id="{D5D91236-C061-AB90-B12B-514297167FBA}"/>
              </a:ext>
            </a:extLst>
          </p:cNvPr>
          <p:cNvCxnSpPr>
            <a:cxnSpLocks/>
          </p:cNvCxnSpPr>
          <p:nvPr/>
        </p:nvCxnSpPr>
        <p:spPr>
          <a:xfrm>
            <a:off x="6616197" y="3978019"/>
            <a:ext cx="1353430" cy="0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5" name="Straight Connector 594">
            <a:extLst>
              <a:ext uri="{FF2B5EF4-FFF2-40B4-BE49-F238E27FC236}">
                <a16:creationId xmlns:a16="http://schemas.microsoft.com/office/drawing/2014/main" id="{752AE8CF-397B-9573-C627-4FE916C95320}"/>
              </a:ext>
            </a:extLst>
          </p:cNvPr>
          <p:cNvCxnSpPr>
            <a:cxnSpLocks/>
          </p:cNvCxnSpPr>
          <p:nvPr/>
        </p:nvCxnSpPr>
        <p:spPr>
          <a:xfrm>
            <a:off x="6404571" y="4163033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6" name="Straight Connector 595">
            <a:extLst>
              <a:ext uri="{FF2B5EF4-FFF2-40B4-BE49-F238E27FC236}">
                <a16:creationId xmlns:a16="http://schemas.microsoft.com/office/drawing/2014/main" id="{EB6EC0A2-DF1E-6BCC-6F72-ECF557FF65BD}"/>
              </a:ext>
            </a:extLst>
          </p:cNvPr>
          <p:cNvCxnSpPr>
            <a:cxnSpLocks/>
          </p:cNvCxnSpPr>
          <p:nvPr/>
        </p:nvCxnSpPr>
        <p:spPr>
          <a:xfrm flipV="1">
            <a:off x="7450153" y="4164974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7" name="Straight Connector 596">
            <a:extLst>
              <a:ext uri="{FF2B5EF4-FFF2-40B4-BE49-F238E27FC236}">
                <a16:creationId xmlns:a16="http://schemas.microsoft.com/office/drawing/2014/main" id="{5D7E4354-858E-EBAD-4CAB-040D21372EA1}"/>
              </a:ext>
            </a:extLst>
          </p:cNvPr>
          <p:cNvCxnSpPr>
            <a:cxnSpLocks/>
          </p:cNvCxnSpPr>
          <p:nvPr/>
        </p:nvCxnSpPr>
        <p:spPr>
          <a:xfrm flipV="1">
            <a:off x="6411769" y="2929361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8" name="Straight Connector 597">
            <a:extLst>
              <a:ext uri="{FF2B5EF4-FFF2-40B4-BE49-F238E27FC236}">
                <a16:creationId xmlns:a16="http://schemas.microsoft.com/office/drawing/2014/main" id="{036EA21F-F1E5-1575-7D5E-CB817227D365}"/>
              </a:ext>
            </a:extLst>
          </p:cNvPr>
          <p:cNvCxnSpPr>
            <a:cxnSpLocks/>
          </p:cNvCxnSpPr>
          <p:nvPr/>
        </p:nvCxnSpPr>
        <p:spPr>
          <a:xfrm>
            <a:off x="7459613" y="2924523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0" name="Straight Connector 599">
            <a:extLst>
              <a:ext uri="{FF2B5EF4-FFF2-40B4-BE49-F238E27FC236}">
                <a16:creationId xmlns:a16="http://schemas.microsoft.com/office/drawing/2014/main" id="{C36AAACE-3C40-F712-0C9A-9A7CB7E98570}"/>
              </a:ext>
            </a:extLst>
          </p:cNvPr>
          <p:cNvCxnSpPr>
            <a:cxnSpLocks/>
          </p:cNvCxnSpPr>
          <p:nvPr/>
        </p:nvCxnSpPr>
        <p:spPr>
          <a:xfrm>
            <a:off x="7255459" y="3070822"/>
            <a:ext cx="22491" cy="1748546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5" name="Rectangle: Rounded Corners 604">
            <a:extLst>
              <a:ext uri="{FF2B5EF4-FFF2-40B4-BE49-F238E27FC236}">
                <a16:creationId xmlns:a16="http://schemas.microsoft.com/office/drawing/2014/main" id="{C29E85A1-A2FF-0AB6-24BD-A5FA5D17809C}"/>
              </a:ext>
            </a:extLst>
          </p:cNvPr>
          <p:cNvSpPr/>
          <p:nvPr/>
        </p:nvSpPr>
        <p:spPr>
          <a:xfrm>
            <a:off x="5880908" y="1816330"/>
            <a:ext cx="4799533" cy="451019"/>
          </a:xfrm>
          <a:custGeom>
            <a:avLst/>
            <a:gdLst>
              <a:gd name="connsiteX0" fmla="*/ 0 w 4799533"/>
              <a:gd name="connsiteY0" fmla="*/ 75171 h 451019"/>
              <a:gd name="connsiteX1" fmla="*/ 75171 w 4799533"/>
              <a:gd name="connsiteY1" fmla="*/ 0 h 451019"/>
              <a:gd name="connsiteX2" fmla="*/ 692849 w 4799533"/>
              <a:gd name="connsiteY2" fmla="*/ 0 h 451019"/>
              <a:gd name="connsiteX3" fmla="*/ 1310527 w 4799533"/>
              <a:gd name="connsiteY3" fmla="*/ 0 h 451019"/>
              <a:gd name="connsiteX4" fmla="*/ 1881714 w 4799533"/>
              <a:gd name="connsiteY4" fmla="*/ 0 h 451019"/>
              <a:gd name="connsiteX5" fmla="*/ 2406408 w 4799533"/>
              <a:gd name="connsiteY5" fmla="*/ 0 h 451019"/>
              <a:gd name="connsiteX6" fmla="*/ 3024086 w 4799533"/>
              <a:gd name="connsiteY6" fmla="*/ 0 h 451019"/>
              <a:gd name="connsiteX7" fmla="*/ 3641765 w 4799533"/>
              <a:gd name="connsiteY7" fmla="*/ 0 h 451019"/>
              <a:gd name="connsiteX8" fmla="*/ 4724362 w 4799533"/>
              <a:gd name="connsiteY8" fmla="*/ 0 h 451019"/>
              <a:gd name="connsiteX9" fmla="*/ 4799533 w 4799533"/>
              <a:gd name="connsiteY9" fmla="*/ 75171 h 451019"/>
              <a:gd name="connsiteX10" fmla="*/ 4799533 w 4799533"/>
              <a:gd name="connsiteY10" fmla="*/ 375848 h 451019"/>
              <a:gd name="connsiteX11" fmla="*/ 4724362 w 4799533"/>
              <a:gd name="connsiteY11" fmla="*/ 451019 h 451019"/>
              <a:gd name="connsiteX12" fmla="*/ 3967208 w 4799533"/>
              <a:gd name="connsiteY12" fmla="*/ 451019 h 451019"/>
              <a:gd name="connsiteX13" fmla="*/ 3349530 w 4799533"/>
              <a:gd name="connsiteY13" fmla="*/ 451019 h 451019"/>
              <a:gd name="connsiteX14" fmla="*/ 2778343 w 4799533"/>
              <a:gd name="connsiteY14" fmla="*/ 451019 h 451019"/>
              <a:gd name="connsiteX15" fmla="*/ 2253649 w 4799533"/>
              <a:gd name="connsiteY15" fmla="*/ 451019 h 451019"/>
              <a:gd name="connsiteX16" fmla="*/ 1496495 w 4799533"/>
              <a:gd name="connsiteY16" fmla="*/ 451019 h 451019"/>
              <a:gd name="connsiteX17" fmla="*/ 785833 w 4799533"/>
              <a:gd name="connsiteY17" fmla="*/ 451019 h 451019"/>
              <a:gd name="connsiteX18" fmla="*/ 75171 w 4799533"/>
              <a:gd name="connsiteY18" fmla="*/ 451019 h 451019"/>
              <a:gd name="connsiteX19" fmla="*/ 0 w 4799533"/>
              <a:gd name="connsiteY19" fmla="*/ 375848 h 451019"/>
              <a:gd name="connsiteX20" fmla="*/ 0 w 4799533"/>
              <a:gd name="connsiteY20" fmla="*/ 75171 h 451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799533" h="451019" extrusionOk="0">
                <a:moveTo>
                  <a:pt x="0" y="75171"/>
                </a:moveTo>
                <a:cubicBezTo>
                  <a:pt x="8196" y="39141"/>
                  <a:pt x="26684" y="2509"/>
                  <a:pt x="75171" y="0"/>
                </a:cubicBezTo>
                <a:cubicBezTo>
                  <a:pt x="238305" y="1119"/>
                  <a:pt x="477588" y="-6405"/>
                  <a:pt x="692849" y="0"/>
                </a:cubicBezTo>
                <a:cubicBezTo>
                  <a:pt x="908110" y="6405"/>
                  <a:pt x="1107576" y="5797"/>
                  <a:pt x="1310527" y="0"/>
                </a:cubicBezTo>
                <a:cubicBezTo>
                  <a:pt x="1513478" y="-5797"/>
                  <a:pt x="1674427" y="-27817"/>
                  <a:pt x="1881714" y="0"/>
                </a:cubicBezTo>
                <a:cubicBezTo>
                  <a:pt x="2089001" y="27817"/>
                  <a:pt x="2297632" y="26203"/>
                  <a:pt x="2406408" y="0"/>
                </a:cubicBezTo>
                <a:cubicBezTo>
                  <a:pt x="2515184" y="-26203"/>
                  <a:pt x="2818843" y="-19447"/>
                  <a:pt x="3024086" y="0"/>
                </a:cubicBezTo>
                <a:cubicBezTo>
                  <a:pt x="3229329" y="19447"/>
                  <a:pt x="3411472" y="9837"/>
                  <a:pt x="3641765" y="0"/>
                </a:cubicBezTo>
                <a:cubicBezTo>
                  <a:pt x="3872058" y="-9837"/>
                  <a:pt x="4502559" y="-50765"/>
                  <a:pt x="4724362" y="0"/>
                </a:cubicBezTo>
                <a:cubicBezTo>
                  <a:pt x="4760015" y="-7709"/>
                  <a:pt x="4797946" y="23909"/>
                  <a:pt x="4799533" y="75171"/>
                </a:cubicBezTo>
                <a:cubicBezTo>
                  <a:pt x="4804935" y="164638"/>
                  <a:pt x="4799059" y="301472"/>
                  <a:pt x="4799533" y="375848"/>
                </a:cubicBezTo>
                <a:cubicBezTo>
                  <a:pt x="4798240" y="422320"/>
                  <a:pt x="4760151" y="449822"/>
                  <a:pt x="4724362" y="451019"/>
                </a:cubicBezTo>
                <a:cubicBezTo>
                  <a:pt x="4518749" y="437294"/>
                  <a:pt x="4207042" y="419084"/>
                  <a:pt x="3967208" y="451019"/>
                </a:cubicBezTo>
                <a:cubicBezTo>
                  <a:pt x="3727374" y="482954"/>
                  <a:pt x="3532602" y="430438"/>
                  <a:pt x="3349530" y="451019"/>
                </a:cubicBezTo>
                <a:cubicBezTo>
                  <a:pt x="3166458" y="471600"/>
                  <a:pt x="2973146" y="470546"/>
                  <a:pt x="2778343" y="451019"/>
                </a:cubicBezTo>
                <a:cubicBezTo>
                  <a:pt x="2583540" y="431492"/>
                  <a:pt x="2472498" y="441321"/>
                  <a:pt x="2253649" y="451019"/>
                </a:cubicBezTo>
                <a:cubicBezTo>
                  <a:pt x="2034800" y="460717"/>
                  <a:pt x="1866457" y="436615"/>
                  <a:pt x="1496495" y="451019"/>
                </a:cubicBezTo>
                <a:cubicBezTo>
                  <a:pt x="1126533" y="465423"/>
                  <a:pt x="1068631" y="440755"/>
                  <a:pt x="785833" y="451019"/>
                </a:cubicBezTo>
                <a:cubicBezTo>
                  <a:pt x="503035" y="461283"/>
                  <a:pt x="348748" y="416528"/>
                  <a:pt x="75171" y="451019"/>
                </a:cubicBezTo>
                <a:cubicBezTo>
                  <a:pt x="38493" y="450270"/>
                  <a:pt x="3511" y="419835"/>
                  <a:pt x="0" y="375848"/>
                </a:cubicBezTo>
                <a:cubicBezTo>
                  <a:pt x="616" y="230040"/>
                  <a:pt x="-4540" y="214613"/>
                  <a:pt x="0" y="75171"/>
                </a:cubicBezTo>
                <a:close/>
              </a:path>
            </a:pathLst>
          </a:custGeom>
          <a:noFill/>
          <a:ln w="3175">
            <a:solidFill>
              <a:schemeClr val="tx2">
                <a:lumMod val="60000"/>
                <a:lumOff val="40000"/>
              </a:schemeClr>
            </a:solidFill>
            <a:extLst>
              <a:ext uri="{C807C97D-BFC1-408E-A445-0C87EB9F89A2}">
                <ask:lineSketchStyleProps xmlns:ask="http://schemas.microsoft.com/office/drawing/2018/sketchyshapes" sd="1545093656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dirty="0">
                <a:solidFill>
                  <a:schemeClr val="accent2">
                    <a:lumMod val="75000"/>
                  </a:schemeClr>
                </a:solidFill>
              </a:rPr>
              <a:t>Application Layer</a:t>
            </a:r>
          </a:p>
        </p:txBody>
      </p:sp>
      <p:sp>
        <p:nvSpPr>
          <p:cNvPr id="606" name="Rectangle: Rounded Corners 605">
            <a:extLst>
              <a:ext uri="{FF2B5EF4-FFF2-40B4-BE49-F238E27FC236}">
                <a16:creationId xmlns:a16="http://schemas.microsoft.com/office/drawing/2014/main" id="{6837C27C-9F35-1578-C2E8-E196D8AA5C8F}"/>
              </a:ext>
            </a:extLst>
          </p:cNvPr>
          <p:cNvSpPr/>
          <p:nvPr/>
        </p:nvSpPr>
        <p:spPr>
          <a:xfrm>
            <a:off x="5880908" y="2601436"/>
            <a:ext cx="4799534" cy="526218"/>
          </a:xfrm>
          <a:custGeom>
            <a:avLst/>
            <a:gdLst>
              <a:gd name="connsiteX0" fmla="*/ 0 w 4799534"/>
              <a:gd name="connsiteY0" fmla="*/ 87705 h 526218"/>
              <a:gd name="connsiteX1" fmla="*/ 87705 w 4799534"/>
              <a:gd name="connsiteY1" fmla="*/ 0 h 526218"/>
              <a:gd name="connsiteX2" fmla="*/ 655812 w 4799534"/>
              <a:gd name="connsiteY2" fmla="*/ 0 h 526218"/>
              <a:gd name="connsiteX3" fmla="*/ 1223918 w 4799534"/>
              <a:gd name="connsiteY3" fmla="*/ 0 h 526218"/>
              <a:gd name="connsiteX4" fmla="*/ 1745784 w 4799534"/>
              <a:gd name="connsiteY4" fmla="*/ 0 h 526218"/>
              <a:gd name="connsiteX5" fmla="*/ 2313890 w 4799534"/>
              <a:gd name="connsiteY5" fmla="*/ 0 h 526218"/>
              <a:gd name="connsiteX6" fmla="*/ 2928238 w 4799534"/>
              <a:gd name="connsiteY6" fmla="*/ 0 h 526218"/>
              <a:gd name="connsiteX7" fmla="*/ 3681310 w 4799534"/>
              <a:gd name="connsiteY7" fmla="*/ 0 h 526218"/>
              <a:gd name="connsiteX8" fmla="*/ 4711829 w 4799534"/>
              <a:gd name="connsiteY8" fmla="*/ 0 h 526218"/>
              <a:gd name="connsiteX9" fmla="*/ 4799534 w 4799534"/>
              <a:gd name="connsiteY9" fmla="*/ 87705 h 526218"/>
              <a:gd name="connsiteX10" fmla="*/ 4799534 w 4799534"/>
              <a:gd name="connsiteY10" fmla="*/ 438513 h 526218"/>
              <a:gd name="connsiteX11" fmla="*/ 4711829 w 4799534"/>
              <a:gd name="connsiteY11" fmla="*/ 526218 h 526218"/>
              <a:gd name="connsiteX12" fmla="*/ 4143722 w 4799534"/>
              <a:gd name="connsiteY12" fmla="*/ 526218 h 526218"/>
              <a:gd name="connsiteX13" fmla="*/ 3483133 w 4799534"/>
              <a:gd name="connsiteY13" fmla="*/ 526218 h 526218"/>
              <a:gd name="connsiteX14" fmla="*/ 2961268 w 4799534"/>
              <a:gd name="connsiteY14" fmla="*/ 526218 h 526218"/>
              <a:gd name="connsiteX15" fmla="*/ 2208196 w 4799534"/>
              <a:gd name="connsiteY15" fmla="*/ 526218 h 526218"/>
              <a:gd name="connsiteX16" fmla="*/ 1455125 w 4799534"/>
              <a:gd name="connsiteY16" fmla="*/ 526218 h 526218"/>
              <a:gd name="connsiteX17" fmla="*/ 887018 w 4799534"/>
              <a:gd name="connsiteY17" fmla="*/ 526218 h 526218"/>
              <a:gd name="connsiteX18" fmla="*/ 87705 w 4799534"/>
              <a:gd name="connsiteY18" fmla="*/ 526218 h 526218"/>
              <a:gd name="connsiteX19" fmla="*/ 0 w 4799534"/>
              <a:gd name="connsiteY19" fmla="*/ 438513 h 526218"/>
              <a:gd name="connsiteX20" fmla="*/ 0 w 4799534"/>
              <a:gd name="connsiteY20" fmla="*/ 87705 h 5262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799534" h="526218" extrusionOk="0">
                <a:moveTo>
                  <a:pt x="0" y="87705"/>
                </a:moveTo>
                <a:cubicBezTo>
                  <a:pt x="-9078" y="38895"/>
                  <a:pt x="47037" y="-4302"/>
                  <a:pt x="87705" y="0"/>
                </a:cubicBezTo>
                <a:cubicBezTo>
                  <a:pt x="339729" y="-15566"/>
                  <a:pt x="449255" y="-26977"/>
                  <a:pt x="655812" y="0"/>
                </a:cubicBezTo>
                <a:cubicBezTo>
                  <a:pt x="862369" y="26977"/>
                  <a:pt x="1050708" y="-13277"/>
                  <a:pt x="1223918" y="0"/>
                </a:cubicBezTo>
                <a:cubicBezTo>
                  <a:pt x="1397128" y="13277"/>
                  <a:pt x="1580133" y="13450"/>
                  <a:pt x="1745784" y="0"/>
                </a:cubicBezTo>
                <a:cubicBezTo>
                  <a:pt x="1911435" y="-13450"/>
                  <a:pt x="2147865" y="19655"/>
                  <a:pt x="2313890" y="0"/>
                </a:cubicBezTo>
                <a:cubicBezTo>
                  <a:pt x="2479915" y="-19655"/>
                  <a:pt x="2674594" y="-5617"/>
                  <a:pt x="2928238" y="0"/>
                </a:cubicBezTo>
                <a:cubicBezTo>
                  <a:pt x="3181882" y="5617"/>
                  <a:pt x="3347015" y="15612"/>
                  <a:pt x="3681310" y="0"/>
                </a:cubicBezTo>
                <a:cubicBezTo>
                  <a:pt x="4015605" y="-15612"/>
                  <a:pt x="4482884" y="-10142"/>
                  <a:pt x="4711829" y="0"/>
                </a:cubicBezTo>
                <a:cubicBezTo>
                  <a:pt x="4758111" y="-10941"/>
                  <a:pt x="4806967" y="33028"/>
                  <a:pt x="4799534" y="87705"/>
                </a:cubicBezTo>
                <a:cubicBezTo>
                  <a:pt x="4810491" y="233727"/>
                  <a:pt x="4783413" y="268141"/>
                  <a:pt x="4799534" y="438513"/>
                </a:cubicBezTo>
                <a:cubicBezTo>
                  <a:pt x="4799380" y="498469"/>
                  <a:pt x="4763789" y="523392"/>
                  <a:pt x="4711829" y="526218"/>
                </a:cubicBezTo>
                <a:cubicBezTo>
                  <a:pt x="4560489" y="512266"/>
                  <a:pt x="4340259" y="502207"/>
                  <a:pt x="4143722" y="526218"/>
                </a:cubicBezTo>
                <a:cubicBezTo>
                  <a:pt x="3947185" y="550229"/>
                  <a:pt x="3676595" y="528864"/>
                  <a:pt x="3483133" y="526218"/>
                </a:cubicBezTo>
                <a:cubicBezTo>
                  <a:pt x="3289671" y="523572"/>
                  <a:pt x="3204054" y="510656"/>
                  <a:pt x="2961268" y="526218"/>
                </a:cubicBezTo>
                <a:cubicBezTo>
                  <a:pt x="2718482" y="541780"/>
                  <a:pt x="2504199" y="551414"/>
                  <a:pt x="2208196" y="526218"/>
                </a:cubicBezTo>
                <a:cubicBezTo>
                  <a:pt x="1912193" y="501022"/>
                  <a:pt x="1668070" y="496365"/>
                  <a:pt x="1455125" y="526218"/>
                </a:cubicBezTo>
                <a:cubicBezTo>
                  <a:pt x="1242180" y="556071"/>
                  <a:pt x="1058683" y="520417"/>
                  <a:pt x="887018" y="526218"/>
                </a:cubicBezTo>
                <a:cubicBezTo>
                  <a:pt x="715353" y="532019"/>
                  <a:pt x="323798" y="513758"/>
                  <a:pt x="87705" y="526218"/>
                </a:cubicBezTo>
                <a:cubicBezTo>
                  <a:pt x="31351" y="533639"/>
                  <a:pt x="1952" y="485280"/>
                  <a:pt x="0" y="438513"/>
                </a:cubicBezTo>
                <a:cubicBezTo>
                  <a:pt x="-9508" y="303019"/>
                  <a:pt x="-13767" y="192803"/>
                  <a:pt x="0" y="87705"/>
                </a:cubicBezTo>
                <a:close/>
              </a:path>
            </a:pathLst>
          </a:custGeom>
          <a:noFill/>
          <a:ln w="3175">
            <a:solidFill>
              <a:schemeClr val="tx2">
                <a:lumMod val="60000"/>
                <a:lumOff val="40000"/>
              </a:schemeClr>
            </a:solidFill>
            <a:extLst>
              <a:ext uri="{C807C97D-BFC1-408E-A445-0C87EB9F89A2}">
                <ask:lineSketchStyleProps xmlns:ask="http://schemas.microsoft.com/office/drawing/2018/sketchyshapes" sd="1668284656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dirty="0">
                <a:solidFill>
                  <a:schemeClr val="accent2">
                    <a:lumMod val="75000"/>
                  </a:schemeClr>
                </a:solidFill>
              </a:rPr>
              <a:t>Control Layer</a:t>
            </a:r>
          </a:p>
        </p:txBody>
      </p:sp>
      <p:sp>
        <p:nvSpPr>
          <p:cNvPr id="607" name="Rectangle: Rounded Corners 606">
            <a:extLst>
              <a:ext uri="{FF2B5EF4-FFF2-40B4-BE49-F238E27FC236}">
                <a16:creationId xmlns:a16="http://schemas.microsoft.com/office/drawing/2014/main" id="{12628999-2513-691D-80AD-98ED70124D81}"/>
              </a:ext>
            </a:extLst>
          </p:cNvPr>
          <p:cNvSpPr/>
          <p:nvPr/>
        </p:nvSpPr>
        <p:spPr>
          <a:xfrm>
            <a:off x="5880908" y="3652519"/>
            <a:ext cx="4799533" cy="1653489"/>
          </a:xfrm>
          <a:custGeom>
            <a:avLst/>
            <a:gdLst>
              <a:gd name="connsiteX0" fmla="*/ 0 w 4799533"/>
              <a:gd name="connsiteY0" fmla="*/ 275587 h 1653489"/>
              <a:gd name="connsiteX1" fmla="*/ 275587 w 4799533"/>
              <a:gd name="connsiteY1" fmla="*/ 0 h 1653489"/>
              <a:gd name="connsiteX2" fmla="*/ 882495 w 4799533"/>
              <a:gd name="connsiteY2" fmla="*/ 0 h 1653489"/>
              <a:gd name="connsiteX3" fmla="*/ 1361953 w 4799533"/>
              <a:gd name="connsiteY3" fmla="*/ 0 h 1653489"/>
              <a:gd name="connsiteX4" fmla="*/ 1968862 w 4799533"/>
              <a:gd name="connsiteY4" fmla="*/ 0 h 1653489"/>
              <a:gd name="connsiteX5" fmla="*/ 2448319 w 4799533"/>
              <a:gd name="connsiteY5" fmla="*/ 0 h 1653489"/>
              <a:gd name="connsiteX6" fmla="*/ 2970260 w 4799533"/>
              <a:gd name="connsiteY6" fmla="*/ 0 h 1653489"/>
              <a:gd name="connsiteX7" fmla="*/ 3534685 w 4799533"/>
              <a:gd name="connsiteY7" fmla="*/ 0 h 1653489"/>
              <a:gd name="connsiteX8" fmla="*/ 4523946 w 4799533"/>
              <a:gd name="connsiteY8" fmla="*/ 0 h 1653489"/>
              <a:gd name="connsiteX9" fmla="*/ 4799533 w 4799533"/>
              <a:gd name="connsiteY9" fmla="*/ 275587 h 1653489"/>
              <a:gd name="connsiteX10" fmla="*/ 4799533 w 4799533"/>
              <a:gd name="connsiteY10" fmla="*/ 826745 h 1653489"/>
              <a:gd name="connsiteX11" fmla="*/ 4799533 w 4799533"/>
              <a:gd name="connsiteY11" fmla="*/ 1377902 h 1653489"/>
              <a:gd name="connsiteX12" fmla="*/ 4523946 w 4799533"/>
              <a:gd name="connsiteY12" fmla="*/ 1653489 h 1653489"/>
              <a:gd name="connsiteX13" fmla="*/ 3959521 w 4799533"/>
              <a:gd name="connsiteY13" fmla="*/ 1653489 h 1653489"/>
              <a:gd name="connsiteX14" fmla="*/ 3267646 w 4799533"/>
              <a:gd name="connsiteY14" fmla="*/ 1653489 h 1653489"/>
              <a:gd name="connsiteX15" fmla="*/ 2788188 w 4799533"/>
              <a:gd name="connsiteY15" fmla="*/ 1653489 h 1653489"/>
              <a:gd name="connsiteX16" fmla="*/ 2223763 w 4799533"/>
              <a:gd name="connsiteY16" fmla="*/ 1653489 h 1653489"/>
              <a:gd name="connsiteX17" fmla="*/ 1701822 w 4799533"/>
              <a:gd name="connsiteY17" fmla="*/ 1653489 h 1653489"/>
              <a:gd name="connsiteX18" fmla="*/ 1052430 w 4799533"/>
              <a:gd name="connsiteY18" fmla="*/ 1653489 h 1653489"/>
              <a:gd name="connsiteX19" fmla="*/ 275587 w 4799533"/>
              <a:gd name="connsiteY19" fmla="*/ 1653489 h 1653489"/>
              <a:gd name="connsiteX20" fmla="*/ 0 w 4799533"/>
              <a:gd name="connsiteY20" fmla="*/ 1377902 h 1653489"/>
              <a:gd name="connsiteX21" fmla="*/ 0 w 4799533"/>
              <a:gd name="connsiteY21" fmla="*/ 804698 h 1653489"/>
              <a:gd name="connsiteX22" fmla="*/ 0 w 4799533"/>
              <a:gd name="connsiteY22" fmla="*/ 275587 h 1653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4799533" h="1653489" extrusionOk="0">
                <a:moveTo>
                  <a:pt x="0" y="275587"/>
                </a:moveTo>
                <a:cubicBezTo>
                  <a:pt x="10417" y="107515"/>
                  <a:pt x="128764" y="-2787"/>
                  <a:pt x="275587" y="0"/>
                </a:cubicBezTo>
                <a:cubicBezTo>
                  <a:pt x="430298" y="2701"/>
                  <a:pt x="702968" y="16820"/>
                  <a:pt x="882495" y="0"/>
                </a:cubicBezTo>
                <a:cubicBezTo>
                  <a:pt x="1062022" y="-16820"/>
                  <a:pt x="1139873" y="-22987"/>
                  <a:pt x="1361953" y="0"/>
                </a:cubicBezTo>
                <a:cubicBezTo>
                  <a:pt x="1584033" y="22987"/>
                  <a:pt x="1667905" y="27636"/>
                  <a:pt x="1968862" y="0"/>
                </a:cubicBezTo>
                <a:cubicBezTo>
                  <a:pt x="2269819" y="-27636"/>
                  <a:pt x="2317829" y="-14612"/>
                  <a:pt x="2448319" y="0"/>
                </a:cubicBezTo>
                <a:cubicBezTo>
                  <a:pt x="2578809" y="14612"/>
                  <a:pt x="2863621" y="-14939"/>
                  <a:pt x="2970260" y="0"/>
                </a:cubicBezTo>
                <a:cubicBezTo>
                  <a:pt x="3076899" y="14939"/>
                  <a:pt x="3395997" y="25205"/>
                  <a:pt x="3534685" y="0"/>
                </a:cubicBezTo>
                <a:cubicBezTo>
                  <a:pt x="3673373" y="-25205"/>
                  <a:pt x="4076871" y="-36055"/>
                  <a:pt x="4523946" y="0"/>
                </a:cubicBezTo>
                <a:cubicBezTo>
                  <a:pt x="4686354" y="2339"/>
                  <a:pt x="4792618" y="123545"/>
                  <a:pt x="4799533" y="275587"/>
                </a:cubicBezTo>
                <a:cubicBezTo>
                  <a:pt x="4779331" y="458012"/>
                  <a:pt x="4794558" y="673234"/>
                  <a:pt x="4799533" y="826745"/>
                </a:cubicBezTo>
                <a:cubicBezTo>
                  <a:pt x="4804508" y="980256"/>
                  <a:pt x="4815709" y="1185335"/>
                  <a:pt x="4799533" y="1377902"/>
                </a:cubicBezTo>
                <a:cubicBezTo>
                  <a:pt x="4781841" y="1513493"/>
                  <a:pt x="4708108" y="1655325"/>
                  <a:pt x="4523946" y="1653489"/>
                </a:cubicBezTo>
                <a:cubicBezTo>
                  <a:pt x="4375981" y="1655155"/>
                  <a:pt x="4180478" y="1660135"/>
                  <a:pt x="3959521" y="1653489"/>
                </a:cubicBezTo>
                <a:cubicBezTo>
                  <a:pt x="3738565" y="1646843"/>
                  <a:pt x="3467247" y="1649249"/>
                  <a:pt x="3267646" y="1653489"/>
                </a:cubicBezTo>
                <a:cubicBezTo>
                  <a:pt x="3068046" y="1657729"/>
                  <a:pt x="2970111" y="1633288"/>
                  <a:pt x="2788188" y="1653489"/>
                </a:cubicBezTo>
                <a:cubicBezTo>
                  <a:pt x="2606265" y="1673690"/>
                  <a:pt x="2404409" y="1625807"/>
                  <a:pt x="2223763" y="1653489"/>
                </a:cubicBezTo>
                <a:cubicBezTo>
                  <a:pt x="2043117" y="1681171"/>
                  <a:pt x="1949628" y="1645749"/>
                  <a:pt x="1701822" y="1653489"/>
                </a:cubicBezTo>
                <a:cubicBezTo>
                  <a:pt x="1454016" y="1661229"/>
                  <a:pt x="1351353" y="1667016"/>
                  <a:pt x="1052430" y="1653489"/>
                </a:cubicBezTo>
                <a:cubicBezTo>
                  <a:pt x="753507" y="1639962"/>
                  <a:pt x="540658" y="1615138"/>
                  <a:pt x="275587" y="1653489"/>
                </a:cubicBezTo>
                <a:cubicBezTo>
                  <a:pt x="119121" y="1650688"/>
                  <a:pt x="-12023" y="1534079"/>
                  <a:pt x="0" y="1377902"/>
                </a:cubicBezTo>
                <a:cubicBezTo>
                  <a:pt x="-14852" y="1182167"/>
                  <a:pt x="-19274" y="1078604"/>
                  <a:pt x="0" y="804698"/>
                </a:cubicBezTo>
                <a:cubicBezTo>
                  <a:pt x="19274" y="530792"/>
                  <a:pt x="24641" y="436388"/>
                  <a:pt x="0" y="275587"/>
                </a:cubicBezTo>
                <a:close/>
              </a:path>
            </a:pathLst>
          </a:custGeom>
          <a:noFill/>
          <a:ln w="3175">
            <a:solidFill>
              <a:schemeClr val="tx2">
                <a:lumMod val="60000"/>
                <a:lumOff val="40000"/>
              </a:schemeClr>
            </a:solidFill>
            <a:extLst>
              <a:ext uri="{C807C97D-BFC1-408E-A445-0C87EB9F89A2}">
                <ask:lineSketchStyleProps xmlns:ask="http://schemas.microsoft.com/office/drawing/2018/sketchyshapes" sd="4173492146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dirty="0">
                <a:solidFill>
                  <a:schemeClr val="accent2">
                    <a:lumMod val="75000"/>
                  </a:schemeClr>
                </a:solidFill>
              </a:rPr>
              <a:t>Infrastructure Layer</a:t>
            </a:r>
          </a:p>
        </p:txBody>
      </p:sp>
      <p:sp>
        <p:nvSpPr>
          <p:cNvPr id="772" name="TextBox 771">
            <a:extLst>
              <a:ext uri="{FF2B5EF4-FFF2-40B4-BE49-F238E27FC236}">
                <a16:creationId xmlns:a16="http://schemas.microsoft.com/office/drawing/2014/main" id="{DC3DF3E5-05C0-C1C3-6D71-718D29EEE19B}"/>
              </a:ext>
            </a:extLst>
          </p:cNvPr>
          <p:cNvSpPr txBox="1"/>
          <p:nvPr/>
        </p:nvSpPr>
        <p:spPr>
          <a:xfrm>
            <a:off x="6219209" y="5344233"/>
            <a:ext cx="2215664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1">
                    <a:lumMod val="75000"/>
                  </a:schemeClr>
                </a:solidFill>
              </a:rPr>
              <a:t>Software-defined Network (centralised control)</a:t>
            </a:r>
          </a:p>
        </p:txBody>
      </p:sp>
      <p:sp>
        <p:nvSpPr>
          <p:cNvPr id="773" name="TextBox 772">
            <a:extLst>
              <a:ext uri="{FF2B5EF4-FFF2-40B4-BE49-F238E27FC236}">
                <a16:creationId xmlns:a16="http://schemas.microsoft.com/office/drawing/2014/main" id="{BC9AAB25-1092-38C4-BB33-9F08105F5E1F}"/>
              </a:ext>
            </a:extLst>
          </p:cNvPr>
          <p:cNvSpPr txBox="1"/>
          <p:nvPr/>
        </p:nvSpPr>
        <p:spPr>
          <a:xfrm>
            <a:off x="3371225" y="5344233"/>
            <a:ext cx="2215664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1">
                    <a:lumMod val="75000"/>
                  </a:schemeClr>
                </a:solidFill>
              </a:rPr>
              <a:t>Traditional Network (distributed control)</a:t>
            </a:r>
          </a:p>
        </p:txBody>
      </p:sp>
      <p:grpSp>
        <p:nvGrpSpPr>
          <p:cNvPr id="774" name="Group 773">
            <a:extLst>
              <a:ext uri="{FF2B5EF4-FFF2-40B4-BE49-F238E27FC236}">
                <a16:creationId xmlns:a16="http://schemas.microsoft.com/office/drawing/2014/main" id="{53D72196-6A60-B004-00F3-8D7F905B6271}"/>
              </a:ext>
            </a:extLst>
          </p:cNvPr>
          <p:cNvGrpSpPr/>
          <p:nvPr/>
        </p:nvGrpSpPr>
        <p:grpSpPr>
          <a:xfrm>
            <a:off x="7055318" y="1860678"/>
            <a:ext cx="422772" cy="337909"/>
            <a:chOff x="2292350" y="3827463"/>
            <a:chExt cx="500062" cy="406400"/>
          </a:xfrm>
          <a:solidFill>
            <a:schemeClr val="accent1">
              <a:lumMod val="75000"/>
            </a:schemeClr>
          </a:solidFill>
        </p:grpSpPr>
        <p:sp>
          <p:nvSpPr>
            <p:cNvPr id="775" name="Freeform 195">
              <a:extLst>
                <a:ext uri="{FF2B5EF4-FFF2-40B4-BE49-F238E27FC236}">
                  <a16:creationId xmlns:a16="http://schemas.microsoft.com/office/drawing/2014/main" id="{953BE852-81F2-2888-7121-1C97E5DD9E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2350" y="3827463"/>
              <a:ext cx="500062" cy="406400"/>
            </a:xfrm>
            <a:custGeom>
              <a:avLst/>
              <a:gdLst>
                <a:gd name="T0" fmla="*/ 0 w 133"/>
                <a:gd name="T1" fmla="*/ 100 h 108"/>
                <a:gd name="T2" fmla="*/ 8 w 133"/>
                <a:gd name="T3" fmla="*/ 108 h 108"/>
                <a:gd name="T4" fmla="*/ 125 w 133"/>
                <a:gd name="T5" fmla="*/ 108 h 108"/>
                <a:gd name="T6" fmla="*/ 133 w 133"/>
                <a:gd name="T7" fmla="*/ 100 h 108"/>
                <a:gd name="T8" fmla="*/ 133 w 133"/>
                <a:gd name="T9" fmla="*/ 9 h 108"/>
                <a:gd name="T10" fmla="*/ 125 w 133"/>
                <a:gd name="T11" fmla="*/ 0 h 108"/>
                <a:gd name="T12" fmla="*/ 8 w 133"/>
                <a:gd name="T13" fmla="*/ 0 h 108"/>
                <a:gd name="T14" fmla="*/ 5 w 133"/>
                <a:gd name="T15" fmla="*/ 1 h 108"/>
                <a:gd name="T16" fmla="*/ 0 w 133"/>
                <a:gd name="T17" fmla="*/ 9 h 108"/>
                <a:gd name="T18" fmla="*/ 0 w 133"/>
                <a:gd name="T19" fmla="*/ 22 h 108"/>
                <a:gd name="T20" fmla="*/ 0 w 133"/>
                <a:gd name="T21" fmla="*/ 22 h 108"/>
                <a:gd name="T22" fmla="*/ 0 w 133"/>
                <a:gd name="T23" fmla="*/ 100 h 108"/>
                <a:gd name="T24" fmla="*/ 3 w 133"/>
                <a:gd name="T25" fmla="*/ 9 h 108"/>
                <a:gd name="T26" fmla="*/ 6 w 133"/>
                <a:gd name="T27" fmla="*/ 5 h 108"/>
                <a:gd name="T28" fmla="*/ 8 w 133"/>
                <a:gd name="T29" fmla="*/ 4 h 108"/>
                <a:gd name="T30" fmla="*/ 125 w 133"/>
                <a:gd name="T31" fmla="*/ 4 h 108"/>
                <a:gd name="T32" fmla="*/ 129 w 133"/>
                <a:gd name="T33" fmla="*/ 9 h 108"/>
                <a:gd name="T34" fmla="*/ 129 w 133"/>
                <a:gd name="T35" fmla="*/ 20 h 108"/>
                <a:gd name="T36" fmla="*/ 3 w 133"/>
                <a:gd name="T37" fmla="*/ 20 h 108"/>
                <a:gd name="T38" fmla="*/ 3 w 133"/>
                <a:gd name="T39" fmla="*/ 9 h 108"/>
                <a:gd name="T40" fmla="*/ 3 w 133"/>
                <a:gd name="T41" fmla="*/ 24 h 108"/>
                <a:gd name="T42" fmla="*/ 129 w 133"/>
                <a:gd name="T43" fmla="*/ 24 h 108"/>
                <a:gd name="T44" fmla="*/ 129 w 133"/>
                <a:gd name="T45" fmla="*/ 100 h 108"/>
                <a:gd name="T46" fmla="*/ 125 w 133"/>
                <a:gd name="T47" fmla="*/ 104 h 108"/>
                <a:gd name="T48" fmla="*/ 8 w 133"/>
                <a:gd name="T49" fmla="*/ 104 h 108"/>
                <a:gd name="T50" fmla="*/ 3 w 133"/>
                <a:gd name="T51" fmla="*/ 100 h 108"/>
                <a:gd name="T52" fmla="*/ 3 w 133"/>
                <a:gd name="T53" fmla="*/ 2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3" h="108">
                  <a:moveTo>
                    <a:pt x="0" y="100"/>
                  </a:moveTo>
                  <a:cubicBezTo>
                    <a:pt x="0" y="105"/>
                    <a:pt x="3" y="108"/>
                    <a:pt x="8" y="108"/>
                  </a:cubicBezTo>
                  <a:cubicBezTo>
                    <a:pt x="125" y="108"/>
                    <a:pt x="125" y="108"/>
                    <a:pt x="125" y="108"/>
                  </a:cubicBezTo>
                  <a:cubicBezTo>
                    <a:pt x="129" y="108"/>
                    <a:pt x="133" y="105"/>
                    <a:pt x="133" y="100"/>
                  </a:cubicBezTo>
                  <a:cubicBezTo>
                    <a:pt x="133" y="9"/>
                    <a:pt x="133" y="9"/>
                    <a:pt x="133" y="9"/>
                  </a:cubicBezTo>
                  <a:cubicBezTo>
                    <a:pt x="133" y="4"/>
                    <a:pt x="129" y="0"/>
                    <a:pt x="12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2" y="2"/>
                    <a:pt x="0" y="5"/>
                    <a:pt x="0" y="9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0" y="100"/>
                  </a:lnTo>
                  <a:close/>
                  <a:moveTo>
                    <a:pt x="3" y="9"/>
                  </a:moveTo>
                  <a:cubicBezTo>
                    <a:pt x="3" y="7"/>
                    <a:pt x="5" y="5"/>
                    <a:pt x="6" y="5"/>
                  </a:cubicBezTo>
                  <a:cubicBezTo>
                    <a:pt x="7" y="4"/>
                    <a:pt x="7" y="4"/>
                    <a:pt x="8" y="4"/>
                  </a:cubicBezTo>
                  <a:cubicBezTo>
                    <a:pt x="125" y="4"/>
                    <a:pt x="125" y="4"/>
                    <a:pt x="125" y="4"/>
                  </a:cubicBezTo>
                  <a:cubicBezTo>
                    <a:pt x="127" y="4"/>
                    <a:pt x="129" y="6"/>
                    <a:pt x="129" y="9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3" y="20"/>
                    <a:pt x="3" y="20"/>
                    <a:pt x="3" y="20"/>
                  </a:cubicBezTo>
                  <a:lnTo>
                    <a:pt x="3" y="9"/>
                  </a:lnTo>
                  <a:close/>
                  <a:moveTo>
                    <a:pt x="3" y="24"/>
                  </a:moveTo>
                  <a:cubicBezTo>
                    <a:pt x="129" y="24"/>
                    <a:pt x="129" y="24"/>
                    <a:pt x="129" y="24"/>
                  </a:cubicBezTo>
                  <a:cubicBezTo>
                    <a:pt x="129" y="100"/>
                    <a:pt x="129" y="100"/>
                    <a:pt x="129" y="100"/>
                  </a:cubicBezTo>
                  <a:cubicBezTo>
                    <a:pt x="129" y="102"/>
                    <a:pt x="127" y="104"/>
                    <a:pt x="125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6" y="104"/>
                    <a:pt x="3" y="102"/>
                    <a:pt x="3" y="100"/>
                  </a:cubicBezTo>
                  <a:lnTo>
                    <a:pt x="3" y="24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76" name="Freeform 196">
              <a:extLst>
                <a:ext uri="{FF2B5EF4-FFF2-40B4-BE49-F238E27FC236}">
                  <a16:creationId xmlns:a16="http://schemas.microsoft.com/office/drawing/2014/main" id="{677258FF-F61E-8D86-61CD-7A6C4545F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8863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77" name="Freeform 197">
              <a:extLst>
                <a:ext uri="{FF2B5EF4-FFF2-40B4-BE49-F238E27FC236}">
                  <a16:creationId xmlns:a16="http://schemas.microsoft.com/office/drawing/2014/main" id="{7A2B8BE0-1FED-155E-A221-431AA15F9E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188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78" name="Freeform 198">
              <a:extLst>
                <a:ext uri="{FF2B5EF4-FFF2-40B4-BE49-F238E27FC236}">
                  <a16:creationId xmlns:a16="http://schemas.microsoft.com/office/drawing/2014/main" id="{EC528BE9-26F9-E590-7CC0-CF5C0DEC03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9025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79" name="Freeform 199">
              <a:extLst>
                <a:ext uri="{FF2B5EF4-FFF2-40B4-BE49-F238E27FC236}">
                  <a16:creationId xmlns:a16="http://schemas.microsoft.com/office/drawing/2014/main" id="{7DB44A42-EEF3-B2DB-38EE-8150785118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3000" y="4033838"/>
              <a:ext cx="104775" cy="106363"/>
            </a:xfrm>
            <a:custGeom>
              <a:avLst/>
              <a:gdLst>
                <a:gd name="T0" fmla="*/ 12 w 28"/>
                <a:gd name="T1" fmla="*/ 27 h 28"/>
                <a:gd name="T2" fmla="*/ 13 w 28"/>
                <a:gd name="T3" fmla="*/ 28 h 28"/>
                <a:gd name="T4" fmla="*/ 21 w 28"/>
                <a:gd name="T5" fmla="*/ 25 h 28"/>
                <a:gd name="T6" fmla="*/ 23 w 28"/>
                <a:gd name="T7" fmla="*/ 7 h 28"/>
                <a:gd name="T8" fmla="*/ 5 w 28"/>
                <a:gd name="T9" fmla="*/ 5 h 28"/>
                <a:gd name="T10" fmla="*/ 0 w 28"/>
                <a:gd name="T11" fmla="*/ 13 h 28"/>
                <a:gd name="T12" fmla="*/ 3 w 28"/>
                <a:gd name="T13" fmla="*/ 23 h 28"/>
                <a:gd name="T14" fmla="*/ 12 w 28"/>
                <a:gd name="T15" fmla="*/ 27 h 28"/>
                <a:gd name="T16" fmla="*/ 4 w 28"/>
                <a:gd name="T17" fmla="*/ 14 h 28"/>
                <a:gd name="T18" fmla="*/ 8 w 28"/>
                <a:gd name="T19" fmla="*/ 8 h 28"/>
                <a:gd name="T20" fmla="*/ 13 w 28"/>
                <a:gd name="T21" fmla="*/ 6 h 28"/>
                <a:gd name="T22" fmla="*/ 20 w 28"/>
                <a:gd name="T23" fmla="*/ 9 h 28"/>
                <a:gd name="T24" fmla="*/ 19 w 28"/>
                <a:gd name="T25" fmla="*/ 22 h 28"/>
                <a:gd name="T26" fmla="*/ 12 w 28"/>
                <a:gd name="T27" fmla="*/ 24 h 28"/>
                <a:gd name="T28" fmla="*/ 6 w 28"/>
                <a:gd name="T29" fmla="*/ 20 h 28"/>
                <a:gd name="T30" fmla="*/ 4 w 28"/>
                <a:gd name="T31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2" y="27"/>
                  </a:moveTo>
                  <a:cubicBezTo>
                    <a:pt x="12" y="28"/>
                    <a:pt x="13" y="28"/>
                    <a:pt x="13" y="28"/>
                  </a:cubicBezTo>
                  <a:cubicBezTo>
                    <a:pt x="16" y="28"/>
                    <a:pt x="19" y="27"/>
                    <a:pt x="21" y="25"/>
                  </a:cubicBezTo>
                  <a:cubicBezTo>
                    <a:pt x="27" y="20"/>
                    <a:pt x="28" y="12"/>
                    <a:pt x="23" y="7"/>
                  </a:cubicBezTo>
                  <a:cubicBezTo>
                    <a:pt x="19" y="1"/>
                    <a:pt x="11" y="0"/>
                    <a:pt x="5" y="5"/>
                  </a:cubicBezTo>
                  <a:cubicBezTo>
                    <a:pt x="2" y="7"/>
                    <a:pt x="1" y="10"/>
                    <a:pt x="0" y="13"/>
                  </a:cubicBezTo>
                  <a:cubicBezTo>
                    <a:pt x="0" y="17"/>
                    <a:pt x="1" y="20"/>
                    <a:pt x="3" y="23"/>
                  </a:cubicBezTo>
                  <a:cubicBezTo>
                    <a:pt x="5" y="25"/>
                    <a:pt x="8" y="27"/>
                    <a:pt x="12" y="27"/>
                  </a:cubicBezTo>
                  <a:close/>
                  <a:moveTo>
                    <a:pt x="4" y="14"/>
                  </a:moveTo>
                  <a:cubicBezTo>
                    <a:pt x="5" y="11"/>
                    <a:pt x="6" y="9"/>
                    <a:pt x="8" y="8"/>
                  </a:cubicBezTo>
                  <a:cubicBezTo>
                    <a:pt x="9" y="7"/>
                    <a:pt x="11" y="6"/>
                    <a:pt x="13" y="6"/>
                  </a:cubicBezTo>
                  <a:cubicBezTo>
                    <a:pt x="16" y="6"/>
                    <a:pt x="18" y="7"/>
                    <a:pt x="20" y="9"/>
                  </a:cubicBezTo>
                  <a:cubicBezTo>
                    <a:pt x="23" y="13"/>
                    <a:pt x="22" y="19"/>
                    <a:pt x="19" y="22"/>
                  </a:cubicBezTo>
                  <a:cubicBezTo>
                    <a:pt x="17" y="23"/>
                    <a:pt x="14" y="24"/>
                    <a:pt x="12" y="24"/>
                  </a:cubicBezTo>
                  <a:cubicBezTo>
                    <a:pt x="10" y="23"/>
                    <a:pt x="8" y="22"/>
                    <a:pt x="6" y="20"/>
                  </a:cubicBezTo>
                  <a:cubicBezTo>
                    <a:pt x="5" y="18"/>
                    <a:pt x="4" y="16"/>
                    <a:pt x="4" y="14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80" name="Freeform 200">
              <a:extLst>
                <a:ext uri="{FF2B5EF4-FFF2-40B4-BE49-F238E27FC236}">
                  <a16:creationId xmlns:a16="http://schemas.microsoft.com/office/drawing/2014/main" id="{4A8B44C8-61C9-2143-B64A-260C23438D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9025" y="3989388"/>
              <a:ext cx="204787" cy="203200"/>
            </a:xfrm>
            <a:custGeom>
              <a:avLst/>
              <a:gdLst>
                <a:gd name="T0" fmla="*/ 7 w 54"/>
                <a:gd name="T1" fmla="*/ 34 h 54"/>
                <a:gd name="T2" fmla="*/ 7 w 54"/>
                <a:gd name="T3" fmla="*/ 45 h 54"/>
                <a:gd name="T4" fmla="*/ 15 w 54"/>
                <a:gd name="T5" fmla="*/ 44 h 54"/>
                <a:gd name="T6" fmla="*/ 19 w 54"/>
                <a:gd name="T7" fmla="*/ 51 h 54"/>
                <a:gd name="T8" fmla="*/ 26 w 54"/>
                <a:gd name="T9" fmla="*/ 54 h 54"/>
                <a:gd name="T10" fmla="*/ 35 w 54"/>
                <a:gd name="T11" fmla="*/ 46 h 54"/>
                <a:gd name="T12" fmla="*/ 43 w 54"/>
                <a:gd name="T13" fmla="*/ 49 h 54"/>
                <a:gd name="T14" fmla="*/ 46 w 54"/>
                <a:gd name="T15" fmla="*/ 40 h 54"/>
                <a:gd name="T16" fmla="*/ 48 w 54"/>
                <a:gd name="T17" fmla="*/ 35 h 54"/>
                <a:gd name="T18" fmla="*/ 54 w 54"/>
                <a:gd name="T19" fmla="*/ 28 h 54"/>
                <a:gd name="T20" fmla="*/ 48 w 54"/>
                <a:gd name="T21" fmla="*/ 23 h 54"/>
                <a:gd name="T22" fmla="*/ 49 w 54"/>
                <a:gd name="T23" fmla="*/ 11 h 54"/>
                <a:gd name="T24" fmla="*/ 40 w 54"/>
                <a:gd name="T25" fmla="*/ 8 h 54"/>
                <a:gd name="T26" fmla="*/ 36 w 54"/>
                <a:gd name="T27" fmla="*/ 6 h 54"/>
                <a:gd name="T28" fmla="*/ 23 w 54"/>
                <a:gd name="T29" fmla="*/ 4 h 54"/>
                <a:gd name="T30" fmla="*/ 18 w 54"/>
                <a:gd name="T31" fmla="*/ 6 h 54"/>
                <a:gd name="T32" fmla="*/ 9 w 54"/>
                <a:gd name="T33" fmla="*/ 7 h 54"/>
                <a:gd name="T34" fmla="*/ 8 w 54"/>
                <a:gd name="T35" fmla="*/ 18 h 54"/>
                <a:gd name="T36" fmla="*/ 0 w 54"/>
                <a:gd name="T37" fmla="*/ 25 h 54"/>
                <a:gd name="T38" fmla="*/ 6 w 54"/>
                <a:gd name="T39" fmla="*/ 22 h 54"/>
                <a:gd name="T40" fmla="*/ 13 w 54"/>
                <a:gd name="T41" fmla="*/ 16 h 54"/>
                <a:gd name="T42" fmla="*/ 12 w 54"/>
                <a:gd name="T43" fmla="*/ 10 h 54"/>
                <a:gd name="T44" fmla="*/ 15 w 54"/>
                <a:gd name="T45" fmla="*/ 8 h 54"/>
                <a:gd name="T46" fmla="*/ 25 w 54"/>
                <a:gd name="T47" fmla="*/ 10 h 54"/>
                <a:gd name="T48" fmla="*/ 28 w 54"/>
                <a:gd name="T49" fmla="*/ 4 h 54"/>
                <a:gd name="T50" fmla="*/ 32 w 54"/>
                <a:gd name="T51" fmla="*/ 8 h 54"/>
                <a:gd name="T52" fmla="*/ 40 w 54"/>
                <a:gd name="T53" fmla="*/ 13 h 54"/>
                <a:gd name="T54" fmla="*/ 43 w 54"/>
                <a:gd name="T55" fmla="*/ 11 h 54"/>
                <a:gd name="T56" fmla="*/ 46 w 54"/>
                <a:gd name="T57" fmla="*/ 15 h 54"/>
                <a:gd name="T58" fmla="*/ 44 w 54"/>
                <a:gd name="T59" fmla="*/ 25 h 54"/>
                <a:gd name="T60" fmla="*/ 50 w 54"/>
                <a:gd name="T61" fmla="*/ 27 h 54"/>
                <a:gd name="T62" fmla="*/ 49 w 54"/>
                <a:gd name="T63" fmla="*/ 31 h 54"/>
                <a:gd name="T64" fmla="*/ 43 w 54"/>
                <a:gd name="T65" fmla="*/ 33 h 54"/>
                <a:gd name="T66" fmla="*/ 43 w 54"/>
                <a:gd name="T67" fmla="*/ 42 h 54"/>
                <a:gd name="T68" fmla="*/ 40 w 54"/>
                <a:gd name="T69" fmla="*/ 45 h 54"/>
                <a:gd name="T70" fmla="*/ 37 w 54"/>
                <a:gd name="T71" fmla="*/ 43 h 54"/>
                <a:gd name="T72" fmla="*/ 28 w 54"/>
                <a:gd name="T73" fmla="*/ 46 h 54"/>
                <a:gd name="T74" fmla="*/ 23 w 54"/>
                <a:gd name="T75" fmla="*/ 49 h 54"/>
                <a:gd name="T76" fmla="*/ 23 w 54"/>
                <a:gd name="T77" fmla="*/ 45 h 54"/>
                <a:gd name="T78" fmla="*/ 15 w 54"/>
                <a:gd name="T79" fmla="*/ 40 h 54"/>
                <a:gd name="T80" fmla="*/ 11 w 54"/>
                <a:gd name="T81" fmla="*/ 43 h 54"/>
                <a:gd name="T82" fmla="*/ 9 w 54"/>
                <a:gd name="T83" fmla="*/ 39 h 54"/>
                <a:gd name="T84" fmla="*/ 10 w 54"/>
                <a:gd name="T85" fmla="*/ 29 h 54"/>
                <a:gd name="T86" fmla="*/ 4 w 54"/>
                <a:gd name="T87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" h="54">
                  <a:moveTo>
                    <a:pt x="5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4" y="37"/>
                    <a:pt x="4" y="40"/>
                    <a:pt x="5" y="42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8" y="46"/>
                    <a:pt x="9" y="46"/>
                    <a:pt x="10" y="47"/>
                  </a:cubicBezTo>
                  <a:cubicBezTo>
                    <a:pt x="12" y="47"/>
                    <a:pt x="13" y="46"/>
                    <a:pt x="14" y="45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6" y="45"/>
                    <a:pt x="17" y="46"/>
                    <a:pt x="19" y="46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9"/>
                    <a:pt x="19" y="50"/>
                    <a:pt x="19" y="51"/>
                  </a:cubicBezTo>
                  <a:cubicBezTo>
                    <a:pt x="20" y="52"/>
                    <a:pt x="21" y="53"/>
                    <a:pt x="23" y="53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9" y="54"/>
                    <a:pt x="31" y="52"/>
                    <a:pt x="31" y="49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2" y="47"/>
                    <a:pt x="34" y="47"/>
                    <a:pt x="35" y="46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9"/>
                    <a:pt x="38" y="49"/>
                    <a:pt x="39" y="50"/>
                  </a:cubicBezTo>
                  <a:cubicBezTo>
                    <a:pt x="40" y="50"/>
                    <a:pt x="42" y="49"/>
                    <a:pt x="43" y="49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6"/>
                    <a:pt x="47" y="45"/>
                    <a:pt x="47" y="43"/>
                  </a:cubicBezTo>
                  <a:cubicBezTo>
                    <a:pt x="47" y="42"/>
                    <a:pt x="47" y="41"/>
                    <a:pt x="46" y="40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7"/>
                    <a:pt x="46" y="36"/>
                    <a:pt x="46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9" y="36"/>
                    <a:pt x="51" y="35"/>
                    <a:pt x="52" y="34"/>
                  </a:cubicBezTo>
                  <a:cubicBezTo>
                    <a:pt x="53" y="34"/>
                    <a:pt x="53" y="32"/>
                    <a:pt x="54" y="31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7"/>
                    <a:pt x="54" y="26"/>
                    <a:pt x="53" y="25"/>
                  </a:cubicBezTo>
                  <a:cubicBezTo>
                    <a:pt x="52" y="23"/>
                    <a:pt x="51" y="23"/>
                    <a:pt x="49" y="23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8" y="21"/>
                    <a:pt x="47" y="20"/>
                    <a:pt x="47" y="19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50" y="16"/>
                    <a:pt x="51" y="13"/>
                    <a:pt x="49" y="11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6" y="8"/>
                    <a:pt x="45" y="7"/>
                    <a:pt x="44" y="7"/>
                  </a:cubicBezTo>
                  <a:cubicBezTo>
                    <a:pt x="42" y="7"/>
                    <a:pt x="41" y="7"/>
                    <a:pt x="40" y="8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8"/>
                    <a:pt x="37" y="8"/>
                    <a:pt x="36" y="7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4" y="1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6" y="0"/>
                    <a:pt x="23" y="2"/>
                    <a:pt x="23" y="4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6"/>
                    <a:pt x="21" y="7"/>
                    <a:pt x="19" y="7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5"/>
                    <a:pt x="16" y="4"/>
                    <a:pt x="15" y="4"/>
                  </a:cubicBezTo>
                  <a:cubicBezTo>
                    <a:pt x="14" y="4"/>
                    <a:pt x="12" y="4"/>
                    <a:pt x="11" y="5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7" y="8"/>
                    <a:pt x="7" y="12"/>
                    <a:pt x="8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6"/>
                    <a:pt x="8" y="17"/>
                    <a:pt x="8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3" y="18"/>
                    <a:pt x="1" y="20"/>
                    <a:pt x="1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2" y="31"/>
                    <a:pt x="5" y="31"/>
                  </a:cubicBezTo>
                  <a:close/>
                  <a:moveTo>
                    <a:pt x="5" y="23"/>
                  </a:moveTo>
                  <a:cubicBezTo>
                    <a:pt x="5" y="22"/>
                    <a:pt x="5" y="22"/>
                    <a:pt x="6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0" y="22"/>
                    <a:pt x="11" y="22"/>
                    <a:pt x="11" y="21"/>
                  </a:cubicBezTo>
                  <a:cubicBezTo>
                    <a:pt x="11" y="19"/>
                    <a:pt x="12" y="18"/>
                    <a:pt x="13" y="16"/>
                  </a:cubicBezTo>
                  <a:cubicBezTo>
                    <a:pt x="14" y="15"/>
                    <a:pt x="14" y="14"/>
                    <a:pt x="13" y="14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0"/>
                    <a:pt x="12" y="10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1"/>
                    <a:pt x="19" y="12"/>
                    <a:pt x="20" y="11"/>
                  </a:cubicBezTo>
                  <a:cubicBezTo>
                    <a:pt x="21" y="10"/>
                    <a:pt x="23" y="10"/>
                    <a:pt x="25" y="10"/>
                  </a:cubicBezTo>
                  <a:cubicBezTo>
                    <a:pt x="26" y="10"/>
                    <a:pt x="27" y="9"/>
                    <a:pt x="27" y="8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4"/>
                    <a:pt x="28" y="4"/>
                    <a:pt x="28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4"/>
                    <a:pt x="32" y="5"/>
                    <a:pt x="32" y="5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1" y="9"/>
                    <a:pt x="32" y="10"/>
                    <a:pt x="33" y="11"/>
                  </a:cubicBezTo>
                  <a:cubicBezTo>
                    <a:pt x="35" y="11"/>
                    <a:pt x="36" y="12"/>
                    <a:pt x="38" y="13"/>
                  </a:cubicBezTo>
                  <a:cubicBezTo>
                    <a:pt x="38" y="14"/>
                    <a:pt x="39" y="14"/>
                    <a:pt x="40" y="13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4" y="11"/>
                    <a:pt x="44" y="1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5"/>
                    <a:pt x="46" y="15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2" y="18"/>
                    <a:pt x="42" y="19"/>
                    <a:pt x="43" y="19"/>
                  </a:cubicBezTo>
                  <a:cubicBezTo>
                    <a:pt x="43" y="21"/>
                    <a:pt x="44" y="23"/>
                    <a:pt x="44" y="25"/>
                  </a:cubicBezTo>
                  <a:cubicBezTo>
                    <a:pt x="44" y="25"/>
                    <a:pt x="45" y="26"/>
                    <a:pt x="46" y="26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8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49" y="31"/>
                    <a:pt x="49" y="31"/>
                  </a:cubicBezTo>
                  <a:cubicBezTo>
                    <a:pt x="49" y="31"/>
                    <a:pt x="49" y="32"/>
                    <a:pt x="49" y="32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5" y="31"/>
                    <a:pt x="44" y="32"/>
                    <a:pt x="43" y="33"/>
                  </a:cubicBezTo>
                  <a:cubicBezTo>
                    <a:pt x="43" y="34"/>
                    <a:pt x="42" y="36"/>
                    <a:pt x="41" y="37"/>
                  </a:cubicBezTo>
                  <a:cubicBezTo>
                    <a:pt x="40" y="38"/>
                    <a:pt x="40" y="39"/>
                    <a:pt x="41" y="40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3"/>
                    <a:pt x="43" y="43"/>
                  </a:cubicBezTo>
                  <a:cubicBezTo>
                    <a:pt x="43" y="43"/>
                    <a:pt x="43" y="43"/>
                    <a:pt x="43" y="44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39" y="46"/>
                    <a:pt x="39" y="46"/>
                    <a:pt x="39" y="45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6" y="42"/>
                    <a:pt x="35" y="42"/>
                    <a:pt x="34" y="42"/>
                  </a:cubicBezTo>
                  <a:cubicBezTo>
                    <a:pt x="33" y="43"/>
                    <a:pt x="31" y="44"/>
                    <a:pt x="29" y="44"/>
                  </a:cubicBezTo>
                  <a:cubicBezTo>
                    <a:pt x="28" y="44"/>
                    <a:pt x="28" y="45"/>
                    <a:pt x="28" y="46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2" y="49"/>
                    <a:pt x="22" y="49"/>
                    <a:pt x="22" y="48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2" y="43"/>
                    <a:pt x="21" y="43"/>
                  </a:cubicBezTo>
                  <a:cubicBezTo>
                    <a:pt x="20" y="42"/>
                    <a:pt x="18" y="41"/>
                    <a:pt x="17" y="40"/>
                  </a:cubicBezTo>
                  <a:cubicBezTo>
                    <a:pt x="16" y="40"/>
                    <a:pt x="16" y="40"/>
                    <a:pt x="15" y="40"/>
                  </a:cubicBezTo>
                  <a:cubicBezTo>
                    <a:pt x="15" y="40"/>
                    <a:pt x="14" y="40"/>
                    <a:pt x="14" y="40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3"/>
                    <a:pt x="10" y="43"/>
                    <a:pt x="10" y="4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39"/>
                    <a:pt x="9" y="39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2" y="36"/>
                    <a:pt x="12" y="35"/>
                    <a:pt x="12" y="34"/>
                  </a:cubicBezTo>
                  <a:cubicBezTo>
                    <a:pt x="11" y="32"/>
                    <a:pt x="10" y="31"/>
                    <a:pt x="10" y="29"/>
                  </a:cubicBezTo>
                  <a:cubicBezTo>
                    <a:pt x="10" y="28"/>
                    <a:pt x="9" y="27"/>
                    <a:pt x="8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lnTo>
                    <a:pt x="5" y="23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81" name="Freeform 201">
              <a:extLst>
                <a:ext uri="{FF2B5EF4-FFF2-40B4-BE49-F238E27FC236}">
                  <a16:creationId xmlns:a16="http://schemas.microsoft.com/office/drawing/2014/main" id="{AD83D872-9395-401A-F72A-2ADACB221A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3975" y="3992563"/>
              <a:ext cx="90487" cy="84138"/>
            </a:xfrm>
            <a:custGeom>
              <a:avLst/>
              <a:gdLst>
                <a:gd name="T0" fmla="*/ 7 w 24"/>
                <a:gd name="T1" fmla="*/ 21 h 22"/>
                <a:gd name="T2" fmla="*/ 12 w 24"/>
                <a:gd name="T3" fmla="*/ 22 h 22"/>
                <a:gd name="T4" fmla="*/ 15 w 24"/>
                <a:gd name="T5" fmla="*/ 22 h 22"/>
                <a:gd name="T6" fmla="*/ 21 w 24"/>
                <a:gd name="T7" fmla="*/ 17 h 22"/>
                <a:gd name="T8" fmla="*/ 17 w 24"/>
                <a:gd name="T9" fmla="*/ 2 h 22"/>
                <a:gd name="T10" fmla="*/ 3 w 24"/>
                <a:gd name="T11" fmla="*/ 7 h 22"/>
                <a:gd name="T12" fmla="*/ 7 w 24"/>
                <a:gd name="T13" fmla="*/ 21 h 22"/>
                <a:gd name="T14" fmla="*/ 6 w 24"/>
                <a:gd name="T15" fmla="*/ 9 h 22"/>
                <a:gd name="T16" fmla="*/ 12 w 24"/>
                <a:gd name="T17" fmla="*/ 5 h 22"/>
                <a:gd name="T18" fmla="*/ 15 w 24"/>
                <a:gd name="T19" fmla="*/ 6 h 22"/>
                <a:gd name="T20" fmla="*/ 18 w 24"/>
                <a:gd name="T21" fmla="*/ 15 h 22"/>
                <a:gd name="T22" fmla="*/ 14 w 24"/>
                <a:gd name="T23" fmla="*/ 18 h 22"/>
                <a:gd name="T24" fmla="*/ 9 w 24"/>
                <a:gd name="T25" fmla="*/ 18 h 22"/>
                <a:gd name="T26" fmla="*/ 6 w 24"/>
                <a:gd name="T27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22">
                  <a:moveTo>
                    <a:pt x="7" y="21"/>
                  </a:moveTo>
                  <a:cubicBezTo>
                    <a:pt x="8" y="22"/>
                    <a:pt x="10" y="22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ubicBezTo>
                    <a:pt x="18" y="21"/>
                    <a:pt x="20" y="19"/>
                    <a:pt x="21" y="17"/>
                  </a:cubicBezTo>
                  <a:cubicBezTo>
                    <a:pt x="24" y="12"/>
                    <a:pt x="22" y="5"/>
                    <a:pt x="17" y="2"/>
                  </a:cubicBezTo>
                  <a:cubicBezTo>
                    <a:pt x="12" y="0"/>
                    <a:pt x="5" y="2"/>
                    <a:pt x="3" y="7"/>
                  </a:cubicBezTo>
                  <a:cubicBezTo>
                    <a:pt x="0" y="12"/>
                    <a:pt x="2" y="18"/>
                    <a:pt x="7" y="21"/>
                  </a:cubicBezTo>
                  <a:close/>
                  <a:moveTo>
                    <a:pt x="6" y="9"/>
                  </a:moveTo>
                  <a:cubicBezTo>
                    <a:pt x="7" y="6"/>
                    <a:pt x="10" y="5"/>
                    <a:pt x="12" y="5"/>
                  </a:cubicBezTo>
                  <a:cubicBezTo>
                    <a:pt x="13" y="5"/>
                    <a:pt x="14" y="5"/>
                    <a:pt x="15" y="6"/>
                  </a:cubicBezTo>
                  <a:cubicBezTo>
                    <a:pt x="18" y="8"/>
                    <a:pt x="20" y="12"/>
                    <a:pt x="18" y="15"/>
                  </a:cubicBezTo>
                  <a:cubicBezTo>
                    <a:pt x="17" y="17"/>
                    <a:pt x="16" y="18"/>
                    <a:pt x="14" y="18"/>
                  </a:cubicBezTo>
                  <a:cubicBezTo>
                    <a:pt x="12" y="19"/>
                    <a:pt x="10" y="19"/>
                    <a:pt x="9" y="18"/>
                  </a:cubicBezTo>
                  <a:cubicBezTo>
                    <a:pt x="5" y="16"/>
                    <a:pt x="4" y="12"/>
                    <a:pt x="6" y="9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82" name="Freeform 202">
              <a:extLst>
                <a:ext uri="{FF2B5EF4-FFF2-40B4-BE49-F238E27FC236}">
                  <a16:creationId xmlns:a16="http://schemas.microsoft.com/office/drawing/2014/main" id="{117CDBAC-F4A6-2AB1-258D-104C09A05D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1113" y="3951288"/>
              <a:ext cx="174625" cy="169863"/>
            </a:xfrm>
            <a:custGeom>
              <a:avLst/>
              <a:gdLst>
                <a:gd name="T0" fmla="*/ 1 w 46"/>
                <a:gd name="T1" fmla="*/ 28 h 45"/>
                <a:gd name="T2" fmla="*/ 7 w 46"/>
                <a:gd name="T3" fmla="*/ 34 h 45"/>
                <a:gd name="T4" fmla="*/ 10 w 46"/>
                <a:gd name="T5" fmla="*/ 35 h 45"/>
                <a:gd name="T6" fmla="*/ 11 w 46"/>
                <a:gd name="T7" fmla="*/ 42 h 45"/>
                <a:gd name="T8" fmla="*/ 19 w 46"/>
                <a:gd name="T9" fmla="*/ 42 h 45"/>
                <a:gd name="T10" fmla="*/ 22 w 46"/>
                <a:gd name="T11" fmla="*/ 41 h 45"/>
                <a:gd name="T12" fmla="*/ 27 w 46"/>
                <a:gd name="T13" fmla="*/ 45 h 45"/>
                <a:gd name="T14" fmla="*/ 31 w 46"/>
                <a:gd name="T15" fmla="*/ 44 h 45"/>
                <a:gd name="T16" fmla="*/ 34 w 46"/>
                <a:gd name="T17" fmla="*/ 39 h 45"/>
                <a:gd name="T18" fmla="*/ 35 w 46"/>
                <a:gd name="T19" fmla="*/ 36 h 45"/>
                <a:gd name="T20" fmla="*/ 43 w 46"/>
                <a:gd name="T21" fmla="*/ 35 h 45"/>
                <a:gd name="T22" fmla="*/ 42 w 46"/>
                <a:gd name="T23" fmla="*/ 26 h 45"/>
                <a:gd name="T24" fmla="*/ 41 w 46"/>
                <a:gd name="T25" fmla="*/ 23 h 45"/>
                <a:gd name="T26" fmla="*/ 45 w 46"/>
                <a:gd name="T27" fmla="*/ 17 h 45"/>
                <a:gd name="T28" fmla="*/ 39 w 46"/>
                <a:gd name="T29" fmla="*/ 12 h 45"/>
                <a:gd name="T30" fmla="*/ 36 w 46"/>
                <a:gd name="T31" fmla="*/ 10 h 45"/>
                <a:gd name="T32" fmla="*/ 37 w 46"/>
                <a:gd name="T33" fmla="*/ 6 h 45"/>
                <a:gd name="T34" fmla="*/ 33 w 46"/>
                <a:gd name="T35" fmla="*/ 2 h 45"/>
                <a:gd name="T36" fmla="*/ 27 w 46"/>
                <a:gd name="T37" fmla="*/ 4 h 45"/>
                <a:gd name="T38" fmla="*/ 23 w 46"/>
                <a:gd name="T39" fmla="*/ 5 h 45"/>
                <a:gd name="T40" fmla="*/ 17 w 46"/>
                <a:gd name="T41" fmla="*/ 0 h 45"/>
                <a:gd name="T42" fmla="*/ 12 w 46"/>
                <a:gd name="T43" fmla="*/ 7 h 45"/>
                <a:gd name="T44" fmla="*/ 10 w 46"/>
                <a:gd name="T45" fmla="*/ 10 h 45"/>
                <a:gd name="T46" fmla="*/ 6 w 46"/>
                <a:gd name="T47" fmla="*/ 9 h 45"/>
                <a:gd name="T48" fmla="*/ 2 w 46"/>
                <a:gd name="T49" fmla="*/ 13 h 45"/>
                <a:gd name="T50" fmla="*/ 4 w 46"/>
                <a:gd name="T51" fmla="*/ 19 h 45"/>
                <a:gd name="T52" fmla="*/ 5 w 46"/>
                <a:gd name="T53" fmla="*/ 22 h 45"/>
                <a:gd name="T54" fmla="*/ 7 w 46"/>
                <a:gd name="T55" fmla="*/ 26 h 45"/>
                <a:gd name="T56" fmla="*/ 9 w 46"/>
                <a:gd name="T57" fmla="*/ 19 h 45"/>
                <a:gd name="T58" fmla="*/ 6 w 46"/>
                <a:gd name="T59" fmla="*/ 16 h 45"/>
                <a:gd name="T60" fmla="*/ 6 w 46"/>
                <a:gd name="T61" fmla="*/ 15 h 45"/>
                <a:gd name="T62" fmla="*/ 7 w 46"/>
                <a:gd name="T63" fmla="*/ 12 h 45"/>
                <a:gd name="T64" fmla="*/ 10 w 46"/>
                <a:gd name="T65" fmla="*/ 14 h 45"/>
                <a:gd name="T66" fmla="*/ 16 w 46"/>
                <a:gd name="T67" fmla="*/ 10 h 45"/>
                <a:gd name="T68" fmla="*/ 16 w 46"/>
                <a:gd name="T69" fmla="*/ 6 h 45"/>
                <a:gd name="T70" fmla="*/ 19 w 46"/>
                <a:gd name="T71" fmla="*/ 4 h 45"/>
                <a:gd name="T72" fmla="*/ 20 w 46"/>
                <a:gd name="T73" fmla="*/ 7 h 45"/>
                <a:gd name="T74" fmla="*/ 27 w 46"/>
                <a:gd name="T75" fmla="*/ 9 h 45"/>
                <a:gd name="T76" fmla="*/ 30 w 46"/>
                <a:gd name="T77" fmla="*/ 6 h 45"/>
                <a:gd name="T78" fmla="*/ 31 w 46"/>
                <a:gd name="T79" fmla="*/ 5 h 45"/>
                <a:gd name="T80" fmla="*/ 33 w 46"/>
                <a:gd name="T81" fmla="*/ 7 h 45"/>
                <a:gd name="T82" fmla="*/ 32 w 46"/>
                <a:gd name="T83" fmla="*/ 10 h 45"/>
                <a:gd name="T84" fmla="*/ 35 w 46"/>
                <a:gd name="T85" fmla="*/ 16 h 45"/>
                <a:gd name="T86" fmla="*/ 40 w 46"/>
                <a:gd name="T87" fmla="*/ 16 h 45"/>
                <a:gd name="T88" fmla="*/ 41 w 46"/>
                <a:gd name="T89" fmla="*/ 18 h 45"/>
                <a:gd name="T90" fmla="*/ 39 w 46"/>
                <a:gd name="T91" fmla="*/ 20 h 45"/>
                <a:gd name="T92" fmla="*/ 37 w 46"/>
                <a:gd name="T93" fmla="*/ 26 h 45"/>
                <a:gd name="T94" fmla="*/ 40 w 46"/>
                <a:gd name="T95" fmla="*/ 30 h 45"/>
                <a:gd name="T96" fmla="*/ 39 w 46"/>
                <a:gd name="T97" fmla="*/ 33 h 45"/>
                <a:gd name="T98" fmla="*/ 36 w 46"/>
                <a:gd name="T99" fmla="*/ 32 h 45"/>
                <a:gd name="T100" fmla="*/ 30 w 46"/>
                <a:gd name="T101" fmla="*/ 35 h 45"/>
                <a:gd name="T102" fmla="*/ 30 w 46"/>
                <a:gd name="T103" fmla="*/ 40 h 45"/>
                <a:gd name="T104" fmla="*/ 30 w 46"/>
                <a:gd name="T105" fmla="*/ 41 h 45"/>
                <a:gd name="T106" fmla="*/ 27 w 46"/>
                <a:gd name="T107" fmla="*/ 41 h 45"/>
                <a:gd name="T108" fmla="*/ 24 w 46"/>
                <a:gd name="T109" fmla="*/ 37 h 45"/>
                <a:gd name="T110" fmla="*/ 19 w 46"/>
                <a:gd name="T111" fmla="*/ 37 h 45"/>
                <a:gd name="T112" fmla="*/ 16 w 46"/>
                <a:gd name="T113" fmla="*/ 40 h 45"/>
                <a:gd name="T114" fmla="*/ 13 w 46"/>
                <a:gd name="T115" fmla="*/ 39 h 45"/>
                <a:gd name="T116" fmla="*/ 14 w 46"/>
                <a:gd name="T117" fmla="*/ 36 h 45"/>
                <a:gd name="T118" fmla="*/ 11 w 46"/>
                <a:gd name="T119" fmla="*/ 30 h 45"/>
                <a:gd name="T120" fmla="*/ 6 w 46"/>
                <a:gd name="T121" fmla="*/ 30 h 45"/>
                <a:gd name="T122" fmla="*/ 4 w 46"/>
                <a:gd name="T123" fmla="*/ 27 h 45"/>
                <a:gd name="T124" fmla="*/ 7 w 46"/>
                <a:gd name="T125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" h="45">
                  <a:moveTo>
                    <a:pt x="4" y="23"/>
                  </a:moveTo>
                  <a:cubicBezTo>
                    <a:pt x="1" y="23"/>
                    <a:pt x="0" y="26"/>
                    <a:pt x="1" y="28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2" y="33"/>
                    <a:pt x="5" y="34"/>
                    <a:pt x="7" y="3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9" y="34"/>
                    <a:pt x="9" y="35"/>
                    <a:pt x="10" y="35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8" y="39"/>
                    <a:pt x="9" y="41"/>
                    <a:pt x="11" y="42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5" y="45"/>
                    <a:pt x="18" y="44"/>
                    <a:pt x="19" y="42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1" y="41"/>
                    <a:pt x="22" y="41"/>
                    <a:pt x="22" y="41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3" y="44"/>
                    <a:pt x="25" y="45"/>
                    <a:pt x="27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2" y="44"/>
                    <a:pt x="33" y="43"/>
                    <a:pt x="33" y="42"/>
                  </a:cubicBezTo>
                  <a:cubicBezTo>
                    <a:pt x="34" y="41"/>
                    <a:pt x="34" y="40"/>
                    <a:pt x="34" y="39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37"/>
                    <a:pt x="35" y="37"/>
                    <a:pt x="35" y="36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9" y="38"/>
                    <a:pt x="41" y="37"/>
                    <a:pt x="43" y="35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5" y="30"/>
                    <a:pt x="44" y="28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5"/>
                    <a:pt x="41" y="24"/>
                    <a:pt x="41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5" y="22"/>
                    <a:pt x="46" y="20"/>
                    <a:pt x="45" y="17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4" y="13"/>
                    <a:pt x="41" y="11"/>
                    <a:pt x="39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7" y="12"/>
                    <a:pt x="37" y="11"/>
                    <a:pt x="36" y="10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8"/>
                    <a:pt x="37" y="7"/>
                    <a:pt x="37" y="6"/>
                  </a:cubicBezTo>
                  <a:cubicBezTo>
                    <a:pt x="37" y="5"/>
                    <a:pt x="36" y="4"/>
                    <a:pt x="35" y="3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1"/>
                    <a:pt x="30" y="1"/>
                    <a:pt x="29" y="2"/>
                  </a:cubicBezTo>
                  <a:cubicBezTo>
                    <a:pt x="28" y="2"/>
                    <a:pt x="27" y="3"/>
                    <a:pt x="27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5"/>
                    <a:pt x="24" y="5"/>
                    <a:pt x="23" y="5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2" y="1"/>
                    <a:pt x="20" y="0"/>
                    <a:pt x="17" y="0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3" y="2"/>
                    <a:pt x="11" y="4"/>
                    <a:pt x="12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8"/>
                    <a:pt x="7" y="8"/>
                    <a:pt x="6" y="9"/>
                  </a:cubicBezTo>
                  <a:cubicBezTo>
                    <a:pt x="5" y="9"/>
                    <a:pt x="4" y="10"/>
                    <a:pt x="3" y="11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4"/>
                    <a:pt x="1" y="15"/>
                    <a:pt x="2" y="16"/>
                  </a:cubicBezTo>
                  <a:cubicBezTo>
                    <a:pt x="2" y="18"/>
                    <a:pt x="3" y="19"/>
                    <a:pt x="4" y="1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5" y="21"/>
                    <a:pt x="5" y="22"/>
                  </a:cubicBezTo>
                  <a:lnTo>
                    <a:pt x="4" y="23"/>
                  </a:lnTo>
                  <a:close/>
                  <a:moveTo>
                    <a:pt x="7" y="26"/>
                  </a:moveTo>
                  <a:cubicBezTo>
                    <a:pt x="8" y="25"/>
                    <a:pt x="9" y="25"/>
                    <a:pt x="9" y="24"/>
                  </a:cubicBezTo>
                  <a:cubicBezTo>
                    <a:pt x="9" y="22"/>
                    <a:pt x="9" y="21"/>
                    <a:pt x="9" y="19"/>
                  </a:cubicBezTo>
                  <a:cubicBezTo>
                    <a:pt x="9" y="18"/>
                    <a:pt x="9" y="17"/>
                    <a:pt x="8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2"/>
                    <a:pt x="7" y="12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4"/>
                    <a:pt x="12" y="14"/>
                    <a:pt x="12" y="13"/>
                  </a:cubicBezTo>
                  <a:cubicBezTo>
                    <a:pt x="13" y="12"/>
                    <a:pt x="14" y="11"/>
                    <a:pt x="16" y="10"/>
                  </a:cubicBezTo>
                  <a:cubicBezTo>
                    <a:pt x="17" y="10"/>
                    <a:pt x="17" y="9"/>
                    <a:pt x="17" y="8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5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8"/>
                    <a:pt x="21" y="9"/>
                    <a:pt x="22" y="9"/>
                  </a:cubicBezTo>
                  <a:cubicBezTo>
                    <a:pt x="24" y="8"/>
                    <a:pt x="25" y="9"/>
                    <a:pt x="27" y="9"/>
                  </a:cubicBezTo>
                  <a:cubicBezTo>
                    <a:pt x="27" y="9"/>
                    <a:pt x="28" y="9"/>
                    <a:pt x="29" y="8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0" y="5"/>
                    <a:pt x="31" y="5"/>
                    <a:pt x="31" y="5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10"/>
                    <a:pt x="32" y="11"/>
                    <a:pt x="32" y="12"/>
                  </a:cubicBezTo>
                  <a:cubicBezTo>
                    <a:pt x="34" y="13"/>
                    <a:pt x="34" y="14"/>
                    <a:pt x="35" y="16"/>
                  </a:cubicBezTo>
                  <a:cubicBezTo>
                    <a:pt x="36" y="16"/>
                    <a:pt x="37" y="17"/>
                    <a:pt x="3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6"/>
                    <a:pt x="41" y="16"/>
                    <a:pt x="41" y="16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2" y="19"/>
                    <a:pt x="41" y="19"/>
                    <a:pt x="41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0"/>
                    <a:pt x="37" y="21"/>
                    <a:pt x="37" y="22"/>
                  </a:cubicBezTo>
                  <a:cubicBezTo>
                    <a:pt x="37" y="23"/>
                    <a:pt x="37" y="25"/>
                    <a:pt x="37" y="26"/>
                  </a:cubicBezTo>
                  <a:cubicBezTo>
                    <a:pt x="36" y="27"/>
                    <a:pt x="37" y="28"/>
                    <a:pt x="38" y="29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1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3"/>
                    <a:pt x="39" y="33"/>
                    <a:pt x="38" y="33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5" y="31"/>
                    <a:pt x="34" y="32"/>
                    <a:pt x="34" y="32"/>
                  </a:cubicBezTo>
                  <a:cubicBezTo>
                    <a:pt x="33" y="33"/>
                    <a:pt x="31" y="34"/>
                    <a:pt x="30" y="35"/>
                  </a:cubicBezTo>
                  <a:cubicBezTo>
                    <a:pt x="29" y="36"/>
                    <a:pt x="29" y="36"/>
                    <a:pt x="29" y="37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1"/>
                    <a:pt x="30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5" y="37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2" y="37"/>
                    <a:pt x="21" y="37"/>
                    <a:pt x="19" y="37"/>
                  </a:cubicBezTo>
                  <a:cubicBezTo>
                    <a:pt x="18" y="36"/>
                    <a:pt x="17" y="37"/>
                    <a:pt x="17" y="37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5" y="40"/>
                    <a:pt x="15" y="40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8"/>
                    <a:pt x="13" y="38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5"/>
                    <a:pt x="14" y="34"/>
                    <a:pt x="13" y="33"/>
                  </a:cubicBezTo>
                  <a:cubicBezTo>
                    <a:pt x="12" y="32"/>
                    <a:pt x="11" y="31"/>
                    <a:pt x="11" y="30"/>
                  </a:cubicBezTo>
                  <a:cubicBezTo>
                    <a:pt x="10" y="29"/>
                    <a:pt x="9" y="29"/>
                    <a:pt x="8" y="29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5" y="30"/>
                    <a:pt x="5" y="29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4" y="26"/>
                    <a:pt x="5" y="26"/>
                  </a:cubicBezTo>
                  <a:lnTo>
                    <a:pt x="7" y="26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</p:grpSp>
      <p:cxnSp>
        <p:nvCxnSpPr>
          <p:cNvPr id="783" name="Straight Connector 782">
            <a:extLst>
              <a:ext uri="{FF2B5EF4-FFF2-40B4-BE49-F238E27FC236}">
                <a16:creationId xmlns:a16="http://schemas.microsoft.com/office/drawing/2014/main" id="{FA04BAF7-1ACA-4AEE-D329-BD5586A968F7}"/>
              </a:ext>
            </a:extLst>
          </p:cNvPr>
          <p:cNvCxnSpPr>
            <a:cxnSpLocks/>
          </p:cNvCxnSpPr>
          <p:nvPr/>
        </p:nvCxnSpPr>
        <p:spPr>
          <a:xfrm>
            <a:off x="7251381" y="2198587"/>
            <a:ext cx="1270" cy="50610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8" name="Arc 787">
            <a:extLst>
              <a:ext uri="{FF2B5EF4-FFF2-40B4-BE49-F238E27FC236}">
                <a16:creationId xmlns:a16="http://schemas.microsoft.com/office/drawing/2014/main" id="{DAD0CCD8-FEE5-7FCB-8E77-3E92F0AAB04B}"/>
              </a:ext>
            </a:extLst>
          </p:cNvPr>
          <p:cNvSpPr/>
          <p:nvPr/>
        </p:nvSpPr>
        <p:spPr>
          <a:xfrm>
            <a:off x="4462041" y="2801073"/>
            <a:ext cx="888763" cy="1138897"/>
          </a:xfrm>
          <a:prstGeom prst="arc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cxnSp>
        <p:nvCxnSpPr>
          <p:cNvPr id="790" name="Straight Arrow Connector 789">
            <a:extLst>
              <a:ext uri="{FF2B5EF4-FFF2-40B4-BE49-F238E27FC236}">
                <a16:creationId xmlns:a16="http://schemas.microsoft.com/office/drawing/2014/main" id="{C4493A00-350C-1C45-3C7C-1DB830F4ED7E}"/>
              </a:ext>
            </a:extLst>
          </p:cNvPr>
          <p:cNvCxnSpPr>
            <a:cxnSpLocks/>
          </p:cNvCxnSpPr>
          <p:nvPr/>
        </p:nvCxnSpPr>
        <p:spPr>
          <a:xfrm>
            <a:off x="5347984" y="3359309"/>
            <a:ext cx="0" cy="627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3" name="TextBox 792">
            <a:extLst>
              <a:ext uri="{FF2B5EF4-FFF2-40B4-BE49-F238E27FC236}">
                <a16:creationId xmlns:a16="http://schemas.microsoft.com/office/drawing/2014/main" id="{5F660462-37FA-05E1-AF81-A7622B4315E1}"/>
              </a:ext>
            </a:extLst>
          </p:cNvPr>
          <p:cNvSpPr txBox="1"/>
          <p:nvPr/>
        </p:nvSpPr>
        <p:spPr>
          <a:xfrm>
            <a:off x="3446410" y="2443233"/>
            <a:ext cx="192000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Embedded controlling and forwarding device</a:t>
            </a:r>
          </a:p>
        </p:txBody>
      </p:sp>
      <p:sp>
        <p:nvSpPr>
          <p:cNvPr id="797" name="TextBox 796">
            <a:extLst>
              <a:ext uri="{FF2B5EF4-FFF2-40B4-BE49-F238E27FC236}">
                <a16:creationId xmlns:a16="http://schemas.microsoft.com/office/drawing/2014/main" id="{A6C423ED-1AA6-4592-2FA7-E37C6B8172CF}"/>
              </a:ext>
            </a:extLst>
          </p:cNvPr>
          <p:cNvSpPr txBox="1"/>
          <p:nvPr/>
        </p:nvSpPr>
        <p:spPr>
          <a:xfrm>
            <a:off x="7306629" y="2283956"/>
            <a:ext cx="1444215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accent1">
                    <a:lumMod val="75000"/>
                  </a:schemeClr>
                </a:solidFill>
              </a:rPr>
              <a:t>Northbound Interface </a:t>
            </a:r>
          </a:p>
        </p:txBody>
      </p:sp>
      <p:sp>
        <p:nvSpPr>
          <p:cNvPr id="798" name="TextBox 797">
            <a:extLst>
              <a:ext uri="{FF2B5EF4-FFF2-40B4-BE49-F238E27FC236}">
                <a16:creationId xmlns:a16="http://schemas.microsoft.com/office/drawing/2014/main" id="{0D6F3549-D9AF-2532-C4EE-07C73A3F4FD1}"/>
              </a:ext>
            </a:extLst>
          </p:cNvPr>
          <p:cNvSpPr txBox="1"/>
          <p:nvPr/>
        </p:nvSpPr>
        <p:spPr>
          <a:xfrm>
            <a:off x="7917194" y="3255397"/>
            <a:ext cx="1434276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accent1">
                    <a:lumMod val="75000"/>
                  </a:schemeClr>
                </a:solidFill>
              </a:rPr>
              <a:t>Southbound Interface</a:t>
            </a:r>
          </a:p>
        </p:txBody>
      </p:sp>
    </p:spTree>
    <p:extLst>
      <p:ext uri="{BB962C8B-B14F-4D97-AF65-F5344CB8AC3E}">
        <p14:creationId xmlns:p14="http://schemas.microsoft.com/office/powerpoint/2010/main" val="268389238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7180D7-B8F1-B52E-D501-55A9A007C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09" name="Grafik 36">
            <a:extLst>
              <a:ext uri="{FF2B5EF4-FFF2-40B4-BE49-F238E27FC236}">
                <a16:creationId xmlns:a16="http://schemas.microsoft.com/office/drawing/2014/main" id="{B36CE248-2FDC-926F-A540-75427B7425C2}"/>
              </a:ext>
            </a:extLst>
          </p:cNvPr>
          <p:cNvGrpSpPr/>
          <p:nvPr/>
        </p:nvGrpSpPr>
        <p:grpSpPr bwMode="gray">
          <a:xfrm>
            <a:off x="3458638" y="3786206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10" name="Grafik 36">
              <a:extLst>
                <a:ext uri="{FF2B5EF4-FFF2-40B4-BE49-F238E27FC236}">
                  <a16:creationId xmlns:a16="http://schemas.microsoft.com/office/drawing/2014/main" id="{47EEBEC7-8A13-B158-9D38-6739F66E6210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32" name="Grafik 36">
                <a:extLst>
                  <a:ext uri="{FF2B5EF4-FFF2-40B4-BE49-F238E27FC236}">
                    <a16:creationId xmlns:a16="http://schemas.microsoft.com/office/drawing/2014/main" id="{D7B8C09A-959A-4E4E-0C47-8DA8199D0BF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3" name="Grafik 36">
                <a:extLst>
                  <a:ext uri="{FF2B5EF4-FFF2-40B4-BE49-F238E27FC236}">
                    <a16:creationId xmlns:a16="http://schemas.microsoft.com/office/drawing/2014/main" id="{E5206A4E-1178-817B-5ADA-493449EBCF8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4" name="Grafik 36">
                <a:extLst>
                  <a:ext uri="{FF2B5EF4-FFF2-40B4-BE49-F238E27FC236}">
                    <a16:creationId xmlns:a16="http://schemas.microsoft.com/office/drawing/2014/main" id="{916DEC2C-5E43-6687-727C-690A5B1A4775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5" name="Grafik 36">
                <a:extLst>
                  <a:ext uri="{FF2B5EF4-FFF2-40B4-BE49-F238E27FC236}">
                    <a16:creationId xmlns:a16="http://schemas.microsoft.com/office/drawing/2014/main" id="{E75EB4B7-034A-702B-24E8-9C0A69B5132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6" name="Grafik 36">
                <a:extLst>
                  <a:ext uri="{FF2B5EF4-FFF2-40B4-BE49-F238E27FC236}">
                    <a16:creationId xmlns:a16="http://schemas.microsoft.com/office/drawing/2014/main" id="{8BBD5FE2-35FB-B67A-8398-E5C38526767D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11" name="Grafik 36">
              <a:extLst>
                <a:ext uri="{FF2B5EF4-FFF2-40B4-BE49-F238E27FC236}">
                  <a16:creationId xmlns:a16="http://schemas.microsoft.com/office/drawing/2014/main" id="{569D9EAA-7E2E-15E9-8540-858049EFB230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12" name="Grafik 36">
                <a:extLst>
                  <a:ext uri="{FF2B5EF4-FFF2-40B4-BE49-F238E27FC236}">
                    <a16:creationId xmlns:a16="http://schemas.microsoft.com/office/drawing/2014/main" id="{CB7DB215-3B8C-FE30-D00E-C9D2BF39167A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23" name="Grafik 36">
                  <a:extLst>
                    <a:ext uri="{FF2B5EF4-FFF2-40B4-BE49-F238E27FC236}">
                      <a16:creationId xmlns:a16="http://schemas.microsoft.com/office/drawing/2014/main" id="{6F452E90-59D5-0FDD-C08A-13B16A2C3888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29" name="Grafik 36">
                    <a:extLst>
                      <a:ext uri="{FF2B5EF4-FFF2-40B4-BE49-F238E27FC236}">
                        <a16:creationId xmlns:a16="http://schemas.microsoft.com/office/drawing/2014/main" id="{5DD29359-F620-C2A4-152F-CBE712A4065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0" name="Grafik 36">
                    <a:extLst>
                      <a:ext uri="{FF2B5EF4-FFF2-40B4-BE49-F238E27FC236}">
                        <a16:creationId xmlns:a16="http://schemas.microsoft.com/office/drawing/2014/main" id="{4352BBE6-B8B3-16E2-57A9-D376177463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1" name="Grafik 36">
                    <a:extLst>
                      <a:ext uri="{FF2B5EF4-FFF2-40B4-BE49-F238E27FC236}">
                        <a16:creationId xmlns:a16="http://schemas.microsoft.com/office/drawing/2014/main" id="{660B335B-BDEE-F8BC-9CD8-F561094E41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24" name="Grafik 36">
                  <a:extLst>
                    <a:ext uri="{FF2B5EF4-FFF2-40B4-BE49-F238E27FC236}">
                      <a16:creationId xmlns:a16="http://schemas.microsoft.com/office/drawing/2014/main" id="{9378E510-3D86-CB05-D238-B69AC167F3F4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225" name="Grafik 36">
                  <a:extLst>
                    <a:ext uri="{FF2B5EF4-FFF2-40B4-BE49-F238E27FC236}">
                      <a16:creationId xmlns:a16="http://schemas.microsoft.com/office/drawing/2014/main" id="{15EE2A72-C9FD-F91B-CF63-3ABC090AF00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26" name="Grafik 36">
                    <a:extLst>
                      <a:ext uri="{FF2B5EF4-FFF2-40B4-BE49-F238E27FC236}">
                        <a16:creationId xmlns:a16="http://schemas.microsoft.com/office/drawing/2014/main" id="{30532DA6-40D1-9C07-83B6-B74A8FFA113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7" name="Grafik 36">
                    <a:extLst>
                      <a:ext uri="{FF2B5EF4-FFF2-40B4-BE49-F238E27FC236}">
                        <a16:creationId xmlns:a16="http://schemas.microsoft.com/office/drawing/2014/main" id="{B41E290B-1820-855B-77D4-66D94A0FB20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8" name="Grafik 36">
                    <a:extLst>
                      <a:ext uri="{FF2B5EF4-FFF2-40B4-BE49-F238E27FC236}">
                        <a16:creationId xmlns:a16="http://schemas.microsoft.com/office/drawing/2014/main" id="{7054D80A-5837-6DD7-EF43-314296C90CA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213" name="Grafik 36">
                <a:extLst>
                  <a:ext uri="{FF2B5EF4-FFF2-40B4-BE49-F238E27FC236}">
                    <a16:creationId xmlns:a16="http://schemas.microsoft.com/office/drawing/2014/main" id="{E664AC79-4960-0F48-D36F-FD93BB7CFD0D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14" name="Grafik 36">
                  <a:extLst>
                    <a:ext uri="{FF2B5EF4-FFF2-40B4-BE49-F238E27FC236}">
                      <a16:creationId xmlns:a16="http://schemas.microsoft.com/office/drawing/2014/main" id="{0C116CC4-7565-139E-5985-904C13F5F71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20" name="Grafik 36">
                    <a:extLst>
                      <a:ext uri="{FF2B5EF4-FFF2-40B4-BE49-F238E27FC236}">
                        <a16:creationId xmlns:a16="http://schemas.microsoft.com/office/drawing/2014/main" id="{53BC0858-B907-D8DC-0610-CB552EE60E6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1" name="Grafik 36">
                    <a:extLst>
                      <a:ext uri="{FF2B5EF4-FFF2-40B4-BE49-F238E27FC236}">
                        <a16:creationId xmlns:a16="http://schemas.microsoft.com/office/drawing/2014/main" id="{7A49A812-AD7D-95EE-7BC4-B5C6437787E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2" name="Grafik 36">
                    <a:extLst>
                      <a:ext uri="{FF2B5EF4-FFF2-40B4-BE49-F238E27FC236}">
                        <a16:creationId xmlns:a16="http://schemas.microsoft.com/office/drawing/2014/main" id="{46EBB1CC-942F-C22D-4306-825AC20E8EC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15" name="Grafik 36">
                  <a:extLst>
                    <a:ext uri="{FF2B5EF4-FFF2-40B4-BE49-F238E27FC236}">
                      <a16:creationId xmlns:a16="http://schemas.microsoft.com/office/drawing/2014/main" id="{9847C69D-B5A8-131A-CF18-DE7B115914D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16" name="Grafik 36">
                  <a:extLst>
                    <a:ext uri="{FF2B5EF4-FFF2-40B4-BE49-F238E27FC236}">
                      <a16:creationId xmlns:a16="http://schemas.microsoft.com/office/drawing/2014/main" id="{9F84AAD5-9764-72EB-2F32-5AAB885D165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17" name="Grafik 36">
                    <a:extLst>
                      <a:ext uri="{FF2B5EF4-FFF2-40B4-BE49-F238E27FC236}">
                        <a16:creationId xmlns:a16="http://schemas.microsoft.com/office/drawing/2014/main" id="{33F15449-1A3A-0709-70B3-BC948532A7E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8" name="Grafik 36">
                    <a:extLst>
                      <a:ext uri="{FF2B5EF4-FFF2-40B4-BE49-F238E27FC236}">
                        <a16:creationId xmlns:a16="http://schemas.microsoft.com/office/drawing/2014/main" id="{C3344AB9-2D89-63BD-B8AB-922D3C150C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9" name="Grafik 36">
                    <a:extLst>
                      <a:ext uri="{FF2B5EF4-FFF2-40B4-BE49-F238E27FC236}">
                        <a16:creationId xmlns:a16="http://schemas.microsoft.com/office/drawing/2014/main" id="{F8058BBB-FCB4-4301-8DEC-D59901C340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2" name="Grafik 27">
            <a:extLst>
              <a:ext uri="{FF2B5EF4-FFF2-40B4-BE49-F238E27FC236}">
                <a16:creationId xmlns:a16="http://schemas.microsoft.com/office/drawing/2014/main" id="{8DE78359-08A3-8E16-254E-3B91579C7E9C}"/>
              </a:ext>
            </a:extLst>
          </p:cNvPr>
          <p:cNvGrpSpPr/>
          <p:nvPr/>
        </p:nvGrpSpPr>
        <p:grpSpPr bwMode="gray">
          <a:xfrm>
            <a:off x="3458674" y="3468532"/>
            <a:ext cx="374400" cy="374400"/>
            <a:chOff x="5843587" y="3176587"/>
            <a:chExt cx="500253" cy="500253"/>
          </a:xfrm>
          <a:solidFill>
            <a:schemeClr val="accent2">
              <a:lumMod val="75000"/>
            </a:schemeClr>
          </a:solidFill>
        </p:grpSpPr>
        <p:grpSp>
          <p:nvGrpSpPr>
            <p:cNvPr id="3" name="Grafik 27">
              <a:extLst>
                <a:ext uri="{FF2B5EF4-FFF2-40B4-BE49-F238E27FC236}">
                  <a16:creationId xmlns:a16="http://schemas.microsoft.com/office/drawing/2014/main" id="{49821D22-464F-B145-EC2A-FCA35CBBB64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04" name="Grafik 27">
                <a:extLst>
                  <a:ext uri="{FF2B5EF4-FFF2-40B4-BE49-F238E27FC236}">
                    <a16:creationId xmlns:a16="http://schemas.microsoft.com/office/drawing/2014/main" id="{07D58A3C-825C-71FA-57D2-5A03639689DD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5" name="Grafik 27">
                <a:extLst>
                  <a:ext uri="{FF2B5EF4-FFF2-40B4-BE49-F238E27FC236}">
                    <a16:creationId xmlns:a16="http://schemas.microsoft.com/office/drawing/2014/main" id="{5AC5EFA1-F650-99F9-548B-83C145218B49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6" name="Grafik 27">
                <a:extLst>
                  <a:ext uri="{FF2B5EF4-FFF2-40B4-BE49-F238E27FC236}">
                    <a16:creationId xmlns:a16="http://schemas.microsoft.com/office/drawing/2014/main" id="{CA849DB5-18C4-540E-234F-3A245CECA918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7" name="Grafik 27">
                <a:extLst>
                  <a:ext uri="{FF2B5EF4-FFF2-40B4-BE49-F238E27FC236}">
                    <a16:creationId xmlns:a16="http://schemas.microsoft.com/office/drawing/2014/main" id="{89898601-8586-79AC-6C4B-9B015B688C4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8" name="Grafik 27">
                <a:extLst>
                  <a:ext uri="{FF2B5EF4-FFF2-40B4-BE49-F238E27FC236}">
                    <a16:creationId xmlns:a16="http://schemas.microsoft.com/office/drawing/2014/main" id="{CD7B2F0F-F938-2BF6-C56D-5E9834060126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" name="Grafik 27">
              <a:extLst>
                <a:ext uri="{FF2B5EF4-FFF2-40B4-BE49-F238E27FC236}">
                  <a16:creationId xmlns:a16="http://schemas.microsoft.com/office/drawing/2014/main" id="{66FE673C-424B-AD6B-A8A7-42AA52A9ED0B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11" name="Grafik 27">
                <a:extLst>
                  <a:ext uri="{FF2B5EF4-FFF2-40B4-BE49-F238E27FC236}">
                    <a16:creationId xmlns:a16="http://schemas.microsoft.com/office/drawing/2014/main" id="{569108C6-EF62-0E09-5D08-AD9E9AA64866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201" name="Grafik 27">
                  <a:extLst>
                    <a:ext uri="{FF2B5EF4-FFF2-40B4-BE49-F238E27FC236}">
                      <a16:creationId xmlns:a16="http://schemas.microsoft.com/office/drawing/2014/main" id="{CBCACD51-BECE-4F16-D988-B896D1C06836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2" name="Grafik 27">
                  <a:extLst>
                    <a:ext uri="{FF2B5EF4-FFF2-40B4-BE49-F238E27FC236}">
                      <a16:creationId xmlns:a16="http://schemas.microsoft.com/office/drawing/2014/main" id="{A0E8879D-107E-A772-FEDE-BFBAE8971C58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3" name="Grafik 27">
                  <a:extLst>
                    <a:ext uri="{FF2B5EF4-FFF2-40B4-BE49-F238E27FC236}">
                      <a16:creationId xmlns:a16="http://schemas.microsoft.com/office/drawing/2014/main" id="{6DC71FB6-8D67-D5C3-76A4-DD1C027DE323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2" name="Grafik 27">
                <a:extLst>
                  <a:ext uri="{FF2B5EF4-FFF2-40B4-BE49-F238E27FC236}">
                    <a16:creationId xmlns:a16="http://schemas.microsoft.com/office/drawing/2014/main" id="{25EFD31B-C4E9-E6C8-32B0-3AAED4DE6308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198" name="Grafik 27">
                  <a:extLst>
                    <a:ext uri="{FF2B5EF4-FFF2-40B4-BE49-F238E27FC236}">
                      <a16:creationId xmlns:a16="http://schemas.microsoft.com/office/drawing/2014/main" id="{DBAA44D1-C25D-1FD7-1AA8-D81B78CE5485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9" name="Grafik 27">
                  <a:extLst>
                    <a:ext uri="{FF2B5EF4-FFF2-40B4-BE49-F238E27FC236}">
                      <a16:creationId xmlns:a16="http://schemas.microsoft.com/office/drawing/2014/main" id="{A1176DAF-5C77-AA5B-A3EB-118433D91E3F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0" name="Grafik 27">
                  <a:extLst>
                    <a:ext uri="{FF2B5EF4-FFF2-40B4-BE49-F238E27FC236}">
                      <a16:creationId xmlns:a16="http://schemas.microsoft.com/office/drawing/2014/main" id="{0F807136-F118-0073-BEB5-2B6E2370D4B6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3" name="Grafik 27">
                <a:extLst>
                  <a:ext uri="{FF2B5EF4-FFF2-40B4-BE49-F238E27FC236}">
                    <a16:creationId xmlns:a16="http://schemas.microsoft.com/office/drawing/2014/main" id="{56B01DA1-70EB-C62D-4F34-1F4F7C212FF1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195" name="Grafik 27">
                  <a:extLst>
                    <a:ext uri="{FF2B5EF4-FFF2-40B4-BE49-F238E27FC236}">
                      <a16:creationId xmlns:a16="http://schemas.microsoft.com/office/drawing/2014/main" id="{E310A356-5F30-34B1-62A2-99F0C72308D4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6" name="Grafik 27">
                  <a:extLst>
                    <a:ext uri="{FF2B5EF4-FFF2-40B4-BE49-F238E27FC236}">
                      <a16:creationId xmlns:a16="http://schemas.microsoft.com/office/drawing/2014/main" id="{72ADB149-1157-4193-C4CF-1EAE2EB0B481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7" name="Grafik 27">
                  <a:extLst>
                    <a:ext uri="{FF2B5EF4-FFF2-40B4-BE49-F238E27FC236}">
                      <a16:creationId xmlns:a16="http://schemas.microsoft.com/office/drawing/2014/main" id="{6AEE983C-B56F-ABBF-F5F5-361995C5EAD9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4" name="Grafik 27">
                <a:extLst>
                  <a:ext uri="{FF2B5EF4-FFF2-40B4-BE49-F238E27FC236}">
                    <a16:creationId xmlns:a16="http://schemas.microsoft.com/office/drawing/2014/main" id="{087871C5-5A05-E653-4128-B2A50E31656B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192" name="Grafik 27">
                  <a:extLst>
                    <a:ext uri="{FF2B5EF4-FFF2-40B4-BE49-F238E27FC236}">
                      <a16:creationId xmlns:a16="http://schemas.microsoft.com/office/drawing/2014/main" id="{3EA7C069-D337-BF85-2314-1E2CD7799BF7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" name="Grafik 27">
                  <a:extLst>
                    <a:ext uri="{FF2B5EF4-FFF2-40B4-BE49-F238E27FC236}">
                      <a16:creationId xmlns:a16="http://schemas.microsoft.com/office/drawing/2014/main" id="{83633504-568D-2F90-E651-7347784C187C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" name="Grafik 27">
                  <a:extLst>
                    <a:ext uri="{FF2B5EF4-FFF2-40B4-BE49-F238E27FC236}">
                      <a16:creationId xmlns:a16="http://schemas.microsoft.com/office/drawing/2014/main" id="{30C8E9F5-41CF-543A-22C9-56B75C15E396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5" name="Grafik 27">
                <a:extLst>
                  <a:ext uri="{FF2B5EF4-FFF2-40B4-BE49-F238E27FC236}">
                    <a16:creationId xmlns:a16="http://schemas.microsoft.com/office/drawing/2014/main" id="{292192B3-CD81-B562-EBC9-AB363FD970EA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189" name="Grafik 27">
                  <a:extLst>
                    <a:ext uri="{FF2B5EF4-FFF2-40B4-BE49-F238E27FC236}">
                      <a16:creationId xmlns:a16="http://schemas.microsoft.com/office/drawing/2014/main" id="{1F2E2966-BB70-A29F-DC3B-536A54DF09E6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0" name="Grafik 27">
                  <a:extLst>
                    <a:ext uri="{FF2B5EF4-FFF2-40B4-BE49-F238E27FC236}">
                      <a16:creationId xmlns:a16="http://schemas.microsoft.com/office/drawing/2014/main" id="{FCDA02B2-0C58-97FE-DC42-FAEEBA444D0B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1" name="Grafik 27">
                  <a:extLst>
                    <a:ext uri="{FF2B5EF4-FFF2-40B4-BE49-F238E27FC236}">
                      <a16:creationId xmlns:a16="http://schemas.microsoft.com/office/drawing/2014/main" id="{1F0677E8-88D4-6377-831D-81FAA6ACC17F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6" name="Grafik 27">
                <a:extLst>
                  <a:ext uri="{FF2B5EF4-FFF2-40B4-BE49-F238E27FC236}">
                    <a16:creationId xmlns:a16="http://schemas.microsoft.com/office/drawing/2014/main" id="{2C72B61D-B40C-7F5A-ED1F-061FC655049E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186" name="Grafik 27">
                  <a:extLst>
                    <a:ext uri="{FF2B5EF4-FFF2-40B4-BE49-F238E27FC236}">
                      <a16:creationId xmlns:a16="http://schemas.microsoft.com/office/drawing/2014/main" id="{B66C3283-7778-252A-7DBD-0D6D7BC25B9C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7" name="Grafik 27">
                  <a:extLst>
                    <a:ext uri="{FF2B5EF4-FFF2-40B4-BE49-F238E27FC236}">
                      <a16:creationId xmlns:a16="http://schemas.microsoft.com/office/drawing/2014/main" id="{46579B85-018C-9CFD-E04D-81E9BA84A919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8" name="Grafik 27">
                  <a:extLst>
                    <a:ext uri="{FF2B5EF4-FFF2-40B4-BE49-F238E27FC236}">
                      <a16:creationId xmlns:a16="http://schemas.microsoft.com/office/drawing/2014/main" id="{D60CDE28-3B8F-1BEA-E97F-66C19BB2775E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7" name="Grafik 27">
                <a:extLst>
                  <a:ext uri="{FF2B5EF4-FFF2-40B4-BE49-F238E27FC236}">
                    <a16:creationId xmlns:a16="http://schemas.microsoft.com/office/drawing/2014/main" id="{9EF704D9-BD94-5B3D-9B7A-D5BDB6C3E961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183" name="Grafik 27">
                  <a:extLst>
                    <a:ext uri="{FF2B5EF4-FFF2-40B4-BE49-F238E27FC236}">
                      <a16:creationId xmlns:a16="http://schemas.microsoft.com/office/drawing/2014/main" id="{36E234DB-5E4E-9E95-7373-F6014644AEB9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4" name="Grafik 27">
                  <a:extLst>
                    <a:ext uri="{FF2B5EF4-FFF2-40B4-BE49-F238E27FC236}">
                      <a16:creationId xmlns:a16="http://schemas.microsoft.com/office/drawing/2014/main" id="{13978B6B-8BE7-2D8C-92BD-7243E7CA8CCB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5" name="Grafik 27">
                  <a:extLst>
                    <a:ext uri="{FF2B5EF4-FFF2-40B4-BE49-F238E27FC236}">
                      <a16:creationId xmlns:a16="http://schemas.microsoft.com/office/drawing/2014/main" id="{975743AC-9747-5829-7772-7F87727059F7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8" name="Grafik 27">
                <a:extLst>
                  <a:ext uri="{FF2B5EF4-FFF2-40B4-BE49-F238E27FC236}">
                    <a16:creationId xmlns:a16="http://schemas.microsoft.com/office/drawing/2014/main" id="{92661FE7-75BD-2518-ACA2-EE69B9173646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180" name="Grafik 27">
                  <a:extLst>
                    <a:ext uri="{FF2B5EF4-FFF2-40B4-BE49-F238E27FC236}">
                      <a16:creationId xmlns:a16="http://schemas.microsoft.com/office/drawing/2014/main" id="{9A585230-9296-33E2-2A26-5BE8758DBE5E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1" name="Grafik 27">
                  <a:extLst>
                    <a:ext uri="{FF2B5EF4-FFF2-40B4-BE49-F238E27FC236}">
                      <a16:creationId xmlns:a16="http://schemas.microsoft.com/office/drawing/2014/main" id="{8B1DF5E0-8C75-265C-BA5B-34EDCD6C8A0D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2" name="Grafik 27">
                  <a:extLst>
                    <a:ext uri="{FF2B5EF4-FFF2-40B4-BE49-F238E27FC236}">
                      <a16:creationId xmlns:a16="http://schemas.microsoft.com/office/drawing/2014/main" id="{0E71EE22-8B23-2711-8644-AA7F419C3523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79" name="Grafik 27">
                <a:extLst>
                  <a:ext uri="{FF2B5EF4-FFF2-40B4-BE49-F238E27FC236}">
                    <a16:creationId xmlns:a16="http://schemas.microsoft.com/office/drawing/2014/main" id="{8FC498B2-40DF-B179-F98E-DD07D654F2F8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37" name="Grafik 36">
            <a:extLst>
              <a:ext uri="{FF2B5EF4-FFF2-40B4-BE49-F238E27FC236}">
                <a16:creationId xmlns:a16="http://schemas.microsoft.com/office/drawing/2014/main" id="{8B7EF7A5-3CD9-E65B-1BBF-3FCFA330B4D9}"/>
              </a:ext>
            </a:extLst>
          </p:cNvPr>
          <p:cNvGrpSpPr/>
          <p:nvPr/>
        </p:nvGrpSpPr>
        <p:grpSpPr bwMode="gray">
          <a:xfrm>
            <a:off x="4299430" y="4812991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38" name="Grafik 36">
              <a:extLst>
                <a:ext uri="{FF2B5EF4-FFF2-40B4-BE49-F238E27FC236}">
                  <a16:creationId xmlns:a16="http://schemas.microsoft.com/office/drawing/2014/main" id="{A301D632-61FA-7E46-6EDA-C87A6515764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60" name="Grafik 36">
                <a:extLst>
                  <a:ext uri="{FF2B5EF4-FFF2-40B4-BE49-F238E27FC236}">
                    <a16:creationId xmlns:a16="http://schemas.microsoft.com/office/drawing/2014/main" id="{DC13F159-D6F3-CF87-D911-2EBE9EA79EB9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1" name="Grafik 36">
                <a:extLst>
                  <a:ext uri="{FF2B5EF4-FFF2-40B4-BE49-F238E27FC236}">
                    <a16:creationId xmlns:a16="http://schemas.microsoft.com/office/drawing/2014/main" id="{6B9300D6-009F-673A-C97E-1557D184D602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2" name="Grafik 36">
                <a:extLst>
                  <a:ext uri="{FF2B5EF4-FFF2-40B4-BE49-F238E27FC236}">
                    <a16:creationId xmlns:a16="http://schemas.microsoft.com/office/drawing/2014/main" id="{9F20FFF9-AF66-99B8-9CEA-3126A5E00AFE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3" name="Grafik 36">
                <a:extLst>
                  <a:ext uri="{FF2B5EF4-FFF2-40B4-BE49-F238E27FC236}">
                    <a16:creationId xmlns:a16="http://schemas.microsoft.com/office/drawing/2014/main" id="{395C6E29-30A4-F28A-3924-0FD87CEDC56C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4" name="Grafik 36">
                <a:extLst>
                  <a:ext uri="{FF2B5EF4-FFF2-40B4-BE49-F238E27FC236}">
                    <a16:creationId xmlns:a16="http://schemas.microsoft.com/office/drawing/2014/main" id="{E80E76E3-3F88-A84B-95D4-BF6991DDEBDD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39" name="Grafik 36">
              <a:extLst>
                <a:ext uri="{FF2B5EF4-FFF2-40B4-BE49-F238E27FC236}">
                  <a16:creationId xmlns:a16="http://schemas.microsoft.com/office/drawing/2014/main" id="{891B25C7-D5DD-C5E1-CABC-1C81505918A9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40" name="Grafik 36">
                <a:extLst>
                  <a:ext uri="{FF2B5EF4-FFF2-40B4-BE49-F238E27FC236}">
                    <a16:creationId xmlns:a16="http://schemas.microsoft.com/office/drawing/2014/main" id="{E82BF1DC-1634-992D-EDAC-12441A85936B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51" name="Grafik 36">
                  <a:extLst>
                    <a:ext uri="{FF2B5EF4-FFF2-40B4-BE49-F238E27FC236}">
                      <a16:creationId xmlns:a16="http://schemas.microsoft.com/office/drawing/2014/main" id="{36417644-EA50-E89A-D9CC-C1439F1ECA9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57" name="Grafik 36">
                    <a:extLst>
                      <a:ext uri="{FF2B5EF4-FFF2-40B4-BE49-F238E27FC236}">
                        <a16:creationId xmlns:a16="http://schemas.microsoft.com/office/drawing/2014/main" id="{1CD231EB-A288-4177-19FE-316CAFB4C7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8" name="Grafik 36">
                    <a:extLst>
                      <a:ext uri="{FF2B5EF4-FFF2-40B4-BE49-F238E27FC236}">
                        <a16:creationId xmlns:a16="http://schemas.microsoft.com/office/drawing/2014/main" id="{7B1E2D89-E386-D676-2A20-4907F5AD2A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9" name="Grafik 36">
                    <a:extLst>
                      <a:ext uri="{FF2B5EF4-FFF2-40B4-BE49-F238E27FC236}">
                        <a16:creationId xmlns:a16="http://schemas.microsoft.com/office/drawing/2014/main" id="{B9AE82C4-8DA0-62CF-682D-A76678C889B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52" name="Grafik 36">
                  <a:extLst>
                    <a:ext uri="{FF2B5EF4-FFF2-40B4-BE49-F238E27FC236}">
                      <a16:creationId xmlns:a16="http://schemas.microsoft.com/office/drawing/2014/main" id="{0C8A2CB8-49B0-F931-4343-F5E84227A239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253" name="Grafik 36">
                  <a:extLst>
                    <a:ext uri="{FF2B5EF4-FFF2-40B4-BE49-F238E27FC236}">
                      <a16:creationId xmlns:a16="http://schemas.microsoft.com/office/drawing/2014/main" id="{BC4227D3-E956-8353-4AEB-AEEAC21B91B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54" name="Grafik 36">
                    <a:extLst>
                      <a:ext uri="{FF2B5EF4-FFF2-40B4-BE49-F238E27FC236}">
                        <a16:creationId xmlns:a16="http://schemas.microsoft.com/office/drawing/2014/main" id="{774E4629-317B-168A-C79A-510195AC52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5" name="Grafik 36">
                    <a:extLst>
                      <a:ext uri="{FF2B5EF4-FFF2-40B4-BE49-F238E27FC236}">
                        <a16:creationId xmlns:a16="http://schemas.microsoft.com/office/drawing/2014/main" id="{966D1ABA-72AF-D1AB-7929-D47BC9AB234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6" name="Grafik 36">
                    <a:extLst>
                      <a:ext uri="{FF2B5EF4-FFF2-40B4-BE49-F238E27FC236}">
                        <a16:creationId xmlns:a16="http://schemas.microsoft.com/office/drawing/2014/main" id="{A5CE6F6E-57FF-5AD8-0D6A-758C47382E9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241" name="Grafik 36">
                <a:extLst>
                  <a:ext uri="{FF2B5EF4-FFF2-40B4-BE49-F238E27FC236}">
                    <a16:creationId xmlns:a16="http://schemas.microsoft.com/office/drawing/2014/main" id="{6C307B75-7500-CC85-C292-746AAA572E7A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42" name="Grafik 36">
                  <a:extLst>
                    <a:ext uri="{FF2B5EF4-FFF2-40B4-BE49-F238E27FC236}">
                      <a16:creationId xmlns:a16="http://schemas.microsoft.com/office/drawing/2014/main" id="{D9EE3371-41D4-AEAC-9058-E11B11E59042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48" name="Grafik 36">
                    <a:extLst>
                      <a:ext uri="{FF2B5EF4-FFF2-40B4-BE49-F238E27FC236}">
                        <a16:creationId xmlns:a16="http://schemas.microsoft.com/office/drawing/2014/main" id="{45FDEE37-46A9-D4B8-0B78-E89640F5721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9" name="Grafik 36">
                    <a:extLst>
                      <a:ext uri="{FF2B5EF4-FFF2-40B4-BE49-F238E27FC236}">
                        <a16:creationId xmlns:a16="http://schemas.microsoft.com/office/drawing/2014/main" id="{E0C42670-0383-60B6-9E7A-899ECC2190C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0" name="Grafik 36">
                    <a:extLst>
                      <a:ext uri="{FF2B5EF4-FFF2-40B4-BE49-F238E27FC236}">
                        <a16:creationId xmlns:a16="http://schemas.microsoft.com/office/drawing/2014/main" id="{7DA20B06-9DFA-3EF1-B834-7B53A342BCB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43" name="Grafik 36">
                  <a:extLst>
                    <a:ext uri="{FF2B5EF4-FFF2-40B4-BE49-F238E27FC236}">
                      <a16:creationId xmlns:a16="http://schemas.microsoft.com/office/drawing/2014/main" id="{CC54BC15-0E51-6671-D594-29DF229F2CA3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44" name="Grafik 36">
                  <a:extLst>
                    <a:ext uri="{FF2B5EF4-FFF2-40B4-BE49-F238E27FC236}">
                      <a16:creationId xmlns:a16="http://schemas.microsoft.com/office/drawing/2014/main" id="{C027C108-7DCD-38FC-0EDB-04AD52112CA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45" name="Grafik 36">
                    <a:extLst>
                      <a:ext uri="{FF2B5EF4-FFF2-40B4-BE49-F238E27FC236}">
                        <a16:creationId xmlns:a16="http://schemas.microsoft.com/office/drawing/2014/main" id="{C84C64A5-FDB2-51DA-FBFE-BAF38DE8AB0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6" name="Grafik 36">
                    <a:extLst>
                      <a:ext uri="{FF2B5EF4-FFF2-40B4-BE49-F238E27FC236}">
                        <a16:creationId xmlns:a16="http://schemas.microsoft.com/office/drawing/2014/main" id="{9F234365-9E70-1152-2C96-75E61B0895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7" name="Grafik 36">
                    <a:extLst>
                      <a:ext uri="{FF2B5EF4-FFF2-40B4-BE49-F238E27FC236}">
                        <a16:creationId xmlns:a16="http://schemas.microsoft.com/office/drawing/2014/main" id="{256A231F-E4D3-079A-5DE4-6EA6A38F762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265" name="Grafik 27">
            <a:extLst>
              <a:ext uri="{FF2B5EF4-FFF2-40B4-BE49-F238E27FC236}">
                <a16:creationId xmlns:a16="http://schemas.microsoft.com/office/drawing/2014/main" id="{6738104C-F949-7410-B0E6-F01BF871CD80}"/>
              </a:ext>
            </a:extLst>
          </p:cNvPr>
          <p:cNvGrpSpPr/>
          <p:nvPr/>
        </p:nvGrpSpPr>
        <p:grpSpPr bwMode="gray">
          <a:xfrm>
            <a:off x="4299147" y="4493443"/>
            <a:ext cx="374400" cy="374400"/>
            <a:chOff x="5843587" y="3176587"/>
            <a:chExt cx="500253" cy="500253"/>
          </a:xfrm>
          <a:solidFill>
            <a:schemeClr val="accent2">
              <a:lumMod val="75000"/>
            </a:schemeClr>
          </a:solidFill>
        </p:grpSpPr>
        <p:grpSp>
          <p:nvGrpSpPr>
            <p:cNvPr id="266" name="Grafik 27">
              <a:extLst>
                <a:ext uri="{FF2B5EF4-FFF2-40B4-BE49-F238E27FC236}">
                  <a16:creationId xmlns:a16="http://schemas.microsoft.com/office/drawing/2014/main" id="{B137D22E-EB0C-94BB-6B23-B432B329C4AA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01" name="Grafik 27">
                <a:extLst>
                  <a:ext uri="{FF2B5EF4-FFF2-40B4-BE49-F238E27FC236}">
                    <a16:creationId xmlns:a16="http://schemas.microsoft.com/office/drawing/2014/main" id="{69005F9B-F280-A3E0-04E2-586514C485D2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2" name="Grafik 27">
                <a:extLst>
                  <a:ext uri="{FF2B5EF4-FFF2-40B4-BE49-F238E27FC236}">
                    <a16:creationId xmlns:a16="http://schemas.microsoft.com/office/drawing/2014/main" id="{0BCD9E24-B1C3-246F-93E4-27FEF3A8AB2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3" name="Grafik 27">
                <a:extLst>
                  <a:ext uri="{FF2B5EF4-FFF2-40B4-BE49-F238E27FC236}">
                    <a16:creationId xmlns:a16="http://schemas.microsoft.com/office/drawing/2014/main" id="{8C253B3F-58E7-98C5-4EC5-32EE5B149C02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4" name="Grafik 27">
                <a:extLst>
                  <a:ext uri="{FF2B5EF4-FFF2-40B4-BE49-F238E27FC236}">
                    <a16:creationId xmlns:a16="http://schemas.microsoft.com/office/drawing/2014/main" id="{8B1720E2-ACF5-6137-A6AA-C815EF9AEDA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5" name="Grafik 27">
                <a:extLst>
                  <a:ext uri="{FF2B5EF4-FFF2-40B4-BE49-F238E27FC236}">
                    <a16:creationId xmlns:a16="http://schemas.microsoft.com/office/drawing/2014/main" id="{78D95705-E1C5-C6F6-A14A-B75F263E8DC6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67" name="Grafik 27">
              <a:extLst>
                <a:ext uri="{FF2B5EF4-FFF2-40B4-BE49-F238E27FC236}">
                  <a16:creationId xmlns:a16="http://schemas.microsoft.com/office/drawing/2014/main" id="{8986FF42-C080-913D-91E7-68AC659C886E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268" name="Grafik 27">
                <a:extLst>
                  <a:ext uri="{FF2B5EF4-FFF2-40B4-BE49-F238E27FC236}">
                    <a16:creationId xmlns:a16="http://schemas.microsoft.com/office/drawing/2014/main" id="{72E600D9-AD8E-1B25-23C0-648D5DD89F40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298" name="Grafik 27">
                  <a:extLst>
                    <a:ext uri="{FF2B5EF4-FFF2-40B4-BE49-F238E27FC236}">
                      <a16:creationId xmlns:a16="http://schemas.microsoft.com/office/drawing/2014/main" id="{8866988D-BDEA-71BB-2D61-EC5BC0B154E2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9" name="Grafik 27">
                  <a:extLst>
                    <a:ext uri="{FF2B5EF4-FFF2-40B4-BE49-F238E27FC236}">
                      <a16:creationId xmlns:a16="http://schemas.microsoft.com/office/drawing/2014/main" id="{06605CC1-4F27-70FA-138D-6E0996E8177B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00" name="Grafik 27">
                  <a:extLst>
                    <a:ext uri="{FF2B5EF4-FFF2-40B4-BE49-F238E27FC236}">
                      <a16:creationId xmlns:a16="http://schemas.microsoft.com/office/drawing/2014/main" id="{95DDDF20-C7FE-7913-EC0B-E0AAB14450FD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69" name="Grafik 27">
                <a:extLst>
                  <a:ext uri="{FF2B5EF4-FFF2-40B4-BE49-F238E27FC236}">
                    <a16:creationId xmlns:a16="http://schemas.microsoft.com/office/drawing/2014/main" id="{E596E4AE-5A6D-79D9-1E6A-4C329E478162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295" name="Grafik 27">
                  <a:extLst>
                    <a:ext uri="{FF2B5EF4-FFF2-40B4-BE49-F238E27FC236}">
                      <a16:creationId xmlns:a16="http://schemas.microsoft.com/office/drawing/2014/main" id="{69E286C1-48C2-F592-57F3-57E5D584985B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6" name="Grafik 27">
                  <a:extLst>
                    <a:ext uri="{FF2B5EF4-FFF2-40B4-BE49-F238E27FC236}">
                      <a16:creationId xmlns:a16="http://schemas.microsoft.com/office/drawing/2014/main" id="{26F3B877-01C1-06FC-F741-E3A7D5D65F5B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7" name="Grafik 27">
                  <a:extLst>
                    <a:ext uri="{FF2B5EF4-FFF2-40B4-BE49-F238E27FC236}">
                      <a16:creationId xmlns:a16="http://schemas.microsoft.com/office/drawing/2014/main" id="{828A07D4-9B59-AFAD-1734-9F09789A1CB6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0" name="Grafik 27">
                <a:extLst>
                  <a:ext uri="{FF2B5EF4-FFF2-40B4-BE49-F238E27FC236}">
                    <a16:creationId xmlns:a16="http://schemas.microsoft.com/office/drawing/2014/main" id="{B2C6FB66-ADB6-FABB-0FCD-6FA2BCA5B09A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292" name="Grafik 27">
                  <a:extLst>
                    <a:ext uri="{FF2B5EF4-FFF2-40B4-BE49-F238E27FC236}">
                      <a16:creationId xmlns:a16="http://schemas.microsoft.com/office/drawing/2014/main" id="{989E1D38-75BA-267B-DDFC-A0097012B772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3" name="Grafik 27">
                  <a:extLst>
                    <a:ext uri="{FF2B5EF4-FFF2-40B4-BE49-F238E27FC236}">
                      <a16:creationId xmlns:a16="http://schemas.microsoft.com/office/drawing/2014/main" id="{1027D3F6-0BFD-D0B2-E695-3F44A7070317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4" name="Grafik 27">
                  <a:extLst>
                    <a:ext uri="{FF2B5EF4-FFF2-40B4-BE49-F238E27FC236}">
                      <a16:creationId xmlns:a16="http://schemas.microsoft.com/office/drawing/2014/main" id="{79436988-690A-0DC9-6D71-7A4224737D60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1" name="Grafik 27">
                <a:extLst>
                  <a:ext uri="{FF2B5EF4-FFF2-40B4-BE49-F238E27FC236}">
                    <a16:creationId xmlns:a16="http://schemas.microsoft.com/office/drawing/2014/main" id="{01194F65-13CA-B418-6A0B-FF9395751F72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289" name="Grafik 27">
                  <a:extLst>
                    <a:ext uri="{FF2B5EF4-FFF2-40B4-BE49-F238E27FC236}">
                      <a16:creationId xmlns:a16="http://schemas.microsoft.com/office/drawing/2014/main" id="{10C0B3BB-0C37-1268-8380-5107F7AC1B43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0" name="Grafik 27">
                  <a:extLst>
                    <a:ext uri="{FF2B5EF4-FFF2-40B4-BE49-F238E27FC236}">
                      <a16:creationId xmlns:a16="http://schemas.microsoft.com/office/drawing/2014/main" id="{54DDA51E-E620-4354-A86E-E1374B8BC938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1" name="Grafik 27">
                  <a:extLst>
                    <a:ext uri="{FF2B5EF4-FFF2-40B4-BE49-F238E27FC236}">
                      <a16:creationId xmlns:a16="http://schemas.microsoft.com/office/drawing/2014/main" id="{ABEFEFE4-7DEB-C538-3FAB-70611DC3A333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2" name="Grafik 27">
                <a:extLst>
                  <a:ext uri="{FF2B5EF4-FFF2-40B4-BE49-F238E27FC236}">
                    <a16:creationId xmlns:a16="http://schemas.microsoft.com/office/drawing/2014/main" id="{95C7198D-1BCC-CBF7-1E08-8E8F95211218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286" name="Grafik 27">
                  <a:extLst>
                    <a:ext uri="{FF2B5EF4-FFF2-40B4-BE49-F238E27FC236}">
                      <a16:creationId xmlns:a16="http://schemas.microsoft.com/office/drawing/2014/main" id="{E3C210DF-DC03-97A6-21E6-237262D2E01D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7" name="Grafik 27">
                  <a:extLst>
                    <a:ext uri="{FF2B5EF4-FFF2-40B4-BE49-F238E27FC236}">
                      <a16:creationId xmlns:a16="http://schemas.microsoft.com/office/drawing/2014/main" id="{928563A1-126F-BD0A-007D-F6F860C57794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8" name="Grafik 27">
                  <a:extLst>
                    <a:ext uri="{FF2B5EF4-FFF2-40B4-BE49-F238E27FC236}">
                      <a16:creationId xmlns:a16="http://schemas.microsoft.com/office/drawing/2014/main" id="{847B8F30-1F4C-DB17-488D-2B3066398E89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3" name="Grafik 27">
                <a:extLst>
                  <a:ext uri="{FF2B5EF4-FFF2-40B4-BE49-F238E27FC236}">
                    <a16:creationId xmlns:a16="http://schemas.microsoft.com/office/drawing/2014/main" id="{5F877C0A-485D-93DA-2EE8-60310057AA73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283" name="Grafik 27">
                  <a:extLst>
                    <a:ext uri="{FF2B5EF4-FFF2-40B4-BE49-F238E27FC236}">
                      <a16:creationId xmlns:a16="http://schemas.microsoft.com/office/drawing/2014/main" id="{5E4A65A5-455E-3363-8728-6AF3A6553269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4" name="Grafik 27">
                  <a:extLst>
                    <a:ext uri="{FF2B5EF4-FFF2-40B4-BE49-F238E27FC236}">
                      <a16:creationId xmlns:a16="http://schemas.microsoft.com/office/drawing/2014/main" id="{EC5BBAD7-D5BB-C611-152C-F595713D9D79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5" name="Grafik 27">
                  <a:extLst>
                    <a:ext uri="{FF2B5EF4-FFF2-40B4-BE49-F238E27FC236}">
                      <a16:creationId xmlns:a16="http://schemas.microsoft.com/office/drawing/2014/main" id="{5532D8A8-1BD2-A5F3-A476-83C4E04E44C9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4" name="Grafik 27">
                <a:extLst>
                  <a:ext uri="{FF2B5EF4-FFF2-40B4-BE49-F238E27FC236}">
                    <a16:creationId xmlns:a16="http://schemas.microsoft.com/office/drawing/2014/main" id="{188D08B0-C117-7D24-5E14-D2F06DAAB48C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280" name="Grafik 27">
                  <a:extLst>
                    <a:ext uri="{FF2B5EF4-FFF2-40B4-BE49-F238E27FC236}">
                      <a16:creationId xmlns:a16="http://schemas.microsoft.com/office/drawing/2014/main" id="{C63AC603-0282-96C8-50B8-0A84A36054ED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1" name="Grafik 27">
                  <a:extLst>
                    <a:ext uri="{FF2B5EF4-FFF2-40B4-BE49-F238E27FC236}">
                      <a16:creationId xmlns:a16="http://schemas.microsoft.com/office/drawing/2014/main" id="{3AF50263-1546-A2D4-36F2-2BA50806682B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2" name="Grafik 27">
                  <a:extLst>
                    <a:ext uri="{FF2B5EF4-FFF2-40B4-BE49-F238E27FC236}">
                      <a16:creationId xmlns:a16="http://schemas.microsoft.com/office/drawing/2014/main" id="{C9E7F73E-A223-904C-6EC5-94BFB84A601C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5" name="Grafik 27">
                <a:extLst>
                  <a:ext uri="{FF2B5EF4-FFF2-40B4-BE49-F238E27FC236}">
                    <a16:creationId xmlns:a16="http://schemas.microsoft.com/office/drawing/2014/main" id="{EC80B672-AEF9-FC1C-460F-D04CC2608577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277" name="Grafik 27">
                  <a:extLst>
                    <a:ext uri="{FF2B5EF4-FFF2-40B4-BE49-F238E27FC236}">
                      <a16:creationId xmlns:a16="http://schemas.microsoft.com/office/drawing/2014/main" id="{508BFBFB-0C08-F1B8-3390-727DA4C9B17A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78" name="Grafik 27">
                  <a:extLst>
                    <a:ext uri="{FF2B5EF4-FFF2-40B4-BE49-F238E27FC236}">
                      <a16:creationId xmlns:a16="http://schemas.microsoft.com/office/drawing/2014/main" id="{E74F0A7F-6239-FB8C-5841-948596787075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79" name="Grafik 27">
                  <a:extLst>
                    <a:ext uri="{FF2B5EF4-FFF2-40B4-BE49-F238E27FC236}">
                      <a16:creationId xmlns:a16="http://schemas.microsoft.com/office/drawing/2014/main" id="{34F842D8-7B4E-FF91-0192-FACEB5C00AD8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276" name="Grafik 27">
                <a:extLst>
                  <a:ext uri="{FF2B5EF4-FFF2-40B4-BE49-F238E27FC236}">
                    <a16:creationId xmlns:a16="http://schemas.microsoft.com/office/drawing/2014/main" id="{C17E3318-25C5-335F-EFFF-D636994FC75A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306" name="Grafik 36">
            <a:extLst>
              <a:ext uri="{FF2B5EF4-FFF2-40B4-BE49-F238E27FC236}">
                <a16:creationId xmlns:a16="http://schemas.microsoft.com/office/drawing/2014/main" id="{82AA1D7D-E366-6EF6-A4E6-8F04E03C9D7F}"/>
              </a:ext>
            </a:extLst>
          </p:cNvPr>
          <p:cNvGrpSpPr/>
          <p:nvPr/>
        </p:nvGrpSpPr>
        <p:grpSpPr bwMode="gray">
          <a:xfrm>
            <a:off x="5186468" y="3783781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307" name="Grafik 36">
              <a:extLst>
                <a:ext uri="{FF2B5EF4-FFF2-40B4-BE49-F238E27FC236}">
                  <a16:creationId xmlns:a16="http://schemas.microsoft.com/office/drawing/2014/main" id="{41C679DB-2BBF-12E8-A0C5-D47E9E55308B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29" name="Grafik 36">
                <a:extLst>
                  <a:ext uri="{FF2B5EF4-FFF2-40B4-BE49-F238E27FC236}">
                    <a16:creationId xmlns:a16="http://schemas.microsoft.com/office/drawing/2014/main" id="{AFA119B1-C932-86A8-02AC-FC05D66828E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0" name="Grafik 36">
                <a:extLst>
                  <a:ext uri="{FF2B5EF4-FFF2-40B4-BE49-F238E27FC236}">
                    <a16:creationId xmlns:a16="http://schemas.microsoft.com/office/drawing/2014/main" id="{83EC886F-28EC-7717-AA3A-CBCB6E3FD543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31" name="Grafik 36">
                <a:extLst>
                  <a:ext uri="{FF2B5EF4-FFF2-40B4-BE49-F238E27FC236}">
                    <a16:creationId xmlns:a16="http://schemas.microsoft.com/office/drawing/2014/main" id="{4534AF5A-5919-98E2-9CB7-1C578A22537A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2" name="Grafik 36">
                <a:extLst>
                  <a:ext uri="{FF2B5EF4-FFF2-40B4-BE49-F238E27FC236}">
                    <a16:creationId xmlns:a16="http://schemas.microsoft.com/office/drawing/2014/main" id="{340B0888-6F79-0344-7D24-05DDD8C603D8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3" name="Grafik 36">
                <a:extLst>
                  <a:ext uri="{FF2B5EF4-FFF2-40B4-BE49-F238E27FC236}">
                    <a16:creationId xmlns:a16="http://schemas.microsoft.com/office/drawing/2014/main" id="{64BF3B43-3FF5-3313-2152-A5D6DD28CED3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08" name="Grafik 36">
              <a:extLst>
                <a:ext uri="{FF2B5EF4-FFF2-40B4-BE49-F238E27FC236}">
                  <a16:creationId xmlns:a16="http://schemas.microsoft.com/office/drawing/2014/main" id="{7920621D-1D26-898D-2885-AC7E211666A6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309" name="Grafik 36">
                <a:extLst>
                  <a:ext uri="{FF2B5EF4-FFF2-40B4-BE49-F238E27FC236}">
                    <a16:creationId xmlns:a16="http://schemas.microsoft.com/office/drawing/2014/main" id="{F871ADDB-2BAB-9773-A0C9-936BD4934F2E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320" name="Grafik 36">
                  <a:extLst>
                    <a:ext uri="{FF2B5EF4-FFF2-40B4-BE49-F238E27FC236}">
                      <a16:creationId xmlns:a16="http://schemas.microsoft.com/office/drawing/2014/main" id="{74D536CE-6F51-B2A6-7F72-D3EEF60DAC4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326" name="Grafik 36">
                    <a:extLst>
                      <a:ext uri="{FF2B5EF4-FFF2-40B4-BE49-F238E27FC236}">
                        <a16:creationId xmlns:a16="http://schemas.microsoft.com/office/drawing/2014/main" id="{50CAB513-2114-5CCC-FED7-C26B7DFDC1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7" name="Grafik 36">
                    <a:extLst>
                      <a:ext uri="{FF2B5EF4-FFF2-40B4-BE49-F238E27FC236}">
                        <a16:creationId xmlns:a16="http://schemas.microsoft.com/office/drawing/2014/main" id="{477B2473-1907-EBF8-0157-DC3D98E2F0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8" name="Grafik 36">
                    <a:extLst>
                      <a:ext uri="{FF2B5EF4-FFF2-40B4-BE49-F238E27FC236}">
                        <a16:creationId xmlns:a16="http://schemas.microsoft.com/office/drawing/2014/main" id="{27441F7A-614A-6223-1F18-EAD78EF020C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21" name="Grafik 36">
                  <a:extLst>
                    <a:ext uri="{FF2B5EF4-FFF2-40B4-BE49-F238E27FC236}">
                      <a16:creationId xmlns:a16="http://schemas.microsoft.com/office/drawing/2014/main" id="{22152904-301C-B7E3-706D-B0F813A9F147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322" name="Grafik 36">
                  <a:extLst>
                    <a:ext uri="{FF2B5EF4-FFF2-40B4-BE49-F238E27FC236}">
                      <a16:creationId xmlns:a16="http://schemas.microsoft.com/office/drawing/2014/main" id="{0B09753F-2A62-4158-D18B-FB0EA004036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323" name="Grafik 36">
                    <a:extLst>
                      <a:ext uri="{FF2B5EF4-FFF2-40B4-BE49-F238E27FC236}">
                        <a16:creationId xmlns:a16="http://schemas.microsoft.com/office/drawing/2014/main" id="{F6D03CC6-7B30-5AB0-E290-0F6ECE04E12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4" name="Grafik 36">
                    <a:extLst>
                      <a:ext uri="{FF2B5EF4-FFF2-40B4-BE49-F238E27FC236}">
                        <a16:creationId xmlns:a16="http://schemas.microsoft.com/office/drawing/2014/main" id="{6F10FDE2-B65D-A00B-E485-1160C552FC7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5" name="Grafik 36">
                    <a:extLst>
                      <a:ext uri="{FF2B5EF4-FFF2-40B4-BE49-F238E27FC236}">
                        <a16:creationId xmlns:a16="http://schemas.microsoft.com/office/drawing/2014/main" id="{FDE799BD-FB05-DC2E-49FC-4E06EEAF49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310" name="Grafik 36">
                <a:extLst>
                  <a:ext uri="{FF2B5EF4-FFF2-40B4-BE49-F238E27FC236}">
                    <a16:creationId xmlns:a16="http://schemas.microsoft.com/office/drawing/2014/main" id="{217DE8B5-B79E-27C3-DECB-C4DB7276D573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311" name="Grafik 36">
                  <a:extLst>
                    <a:ext uri="{FF2B5EF4-FFF2-40B4-BE49-F238E27FC236}">
                      <a16:creationId xmlns:a16="http://schemas.microsoft.com/office/drawing/2014/main" id="{C01A1FB9-BBC9-A732-867F-F0E52E34BA9F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317" name="Grafik 36">
                    <a:extLst>
                      <a:ext uri="{FF2B5EF4-FFF2-40B4-BE49-F238E27FC236}">
                        <a16:creationId xmlns:a16="http://schemas.microsoft.com/office/drawing/2014/main" id="{5ED8C192-206F-4E2E-C5E2-950D14E2202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8" name="Grafik 36">
                    <a:extLst>
                      <a:ext uri="{FF2B5EF4-FFF2-40B4-BE49-F238E27FC236}">
                        <a16:creationId xmlns:a16="http://schemas.microsoft.com/office/drawing/2014/main" id="{319DFD32-F98B-A1E9-369F-74D0E1822E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9" name="Grafik 36">
                    <a:extLst>
                      <a:ext uri="{FF2B5EF4-FFF2-40B4-BE49-F238E27FC236}">
                        <a16:creationId xmlns:a16="http://schemas.microsoft.com/office/drawing/2014/main" id="{132B42D7-D02E-4D40-6A9F-AF0347F8866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12" name="Grafik 36">
                  <a:extLst>
                    <a:ext uri="{FF2B5EF4-FFF2-40B4-BE49-F238E27FC236}">
                      <a16:creationId xmlns:a16="http://schemas.microsoft.com/office/drawing/2014/main" id="{08C0C139-F13B-F528-1ACD-D5AB4A263E57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13" name="Grafik 36">
                  <a:extLst>
                    <a:ext uri="{FF2B5EF4-FFF2-40B4-BE49-F238E27FC236}">
                      <a16:creationId xmlns:a16="http://schemas.microsoft.com/office/drawing/2014/main" id="{18AAEB47-5FF4-113F-E693-6983557653E9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314" name="Grafik 36">
                    <a:extLst>
                      <a:ext uri="{FF2B5EF4-FFF2-40B4-BE49-F238E27FC236}">
                        <a16:creationId xmlns:a16="http://schemas.microsoft.com/office/drawing/2014/main" id="{C73FC66B-3808-1533-16B6-BB8AD6C7F00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5" name="Grafik 36">
                    <a:extLst>
                      <a:ext uri="{FF2B5EF4-FFF2-40B4-BE49-F238E27FC236}">
                        <a16:creationId xmlns:a16="http://schemas.microsoft.com/office/drawing/2014/main" id="{DEF00B5B-7011-E7F2-3378-448BC916AF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6" name="Grafik 36">
                    <a:extLst>
                      <a:ext uri="{FF2B5EF4-FFF2-40B4-BE49-F238E27FC236}">
                        <a16:creationId xmlns:a16="http://schemas.microsoft.com/office/drawing/2014/main" id="{640C4613-115C-A4F9-6BDD-EE88558204A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334" name="Grafik 27">
            <a:extLst>
              <a:ext uri="{FF2B5EF4-FFF2-40B4-BE49-F238E27FC236}">
                <a16:creationId xmlns:a16="http://schemas.microsoft.com/office/drawing/2014/main" id="{48ADEFA2-84F6-B6F7-91EE-6C862A8F813C}"/>
              </a:ext>
            </a:extLst>
          </p:cNvPr>
          <p:cNvGrpSpPr/>
          <p:nvPr/>
        </p:nvGrpSpPr>
        <p:grpSpPr bwMode="gray">
          <a:xfrm>
            <a:off x="5186449" y="3463943"/>
            <a:ext cx="374400" cy="374400"/>
            <a:chOff x="5843587" y="3176587"/>
            <a:chExt cx="500253" cy="500253"/>
          </a:xfrm>
          <a:solidFill>
            <a:schemeClr val="accent2">
              <a:lumMod val="75000"/>
            </a:schemeClr>
          </a:solidFill>
        </p:grpSpPr>
        <p:grpSp>
          <p:nvGrpSpPr>
            <p:cNvPr id="335" name="Grafik 27">
              <a:extLst>
                <a:ext uri="{FF2B5EF4-FFF2-40B4-BE49-F238E27FC236}">
                  <a16:creationId xmlns:a16="http://schemas.microsoft.com/office/drawing/2014/main" id="{C847B8E7-2AEC-1C01-00A6-84752E069DD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70" name="Grafik 27">
                <a:extLst>
                  <a:ext uri="{FF2B5EF4-FFF2-40B4-BE49-F238E27FC236}">
                    <a16:creationId xmlns:a16="http://schemas.microsoft.com/office/drawing/2014/main" id="{C8C221E5-408E-5777-0925-CE69F3A4728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1" name="Grafik 27">
                <a:extLst>
                  <a:ext uri="{FF2B5EF4-FFF2-40B4-BE49-F238E27FC236}">
                    <a16:creationId xmlns:a16="http://schemas.microsoft.com/office/drawing/2014/main" id="{12C0F638-A58D-28BE-7A92-66551077E6C4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2" name="Grafik 27">
                <a:extLst>
                  <a:ext uri="{FF2B5EF4-FFF2-40B4-BE49-F238E27FC236}">
                    <a16:creationId xmlns:a16="http://schemas.microsoft.com/office/drawing/2014/main" id="{B61BE592-612B-FCA4-6DDC-0B9AFAFD12B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3" name="Grafik 27">
                <a:extLst>
                  <a:ext uri="{FF2B5EF4-FFF2-40B4-BE49-F238E27FC236}">
                    <a16:creationId xmlns:a16="http://schemas.microsoft.com/office/drawing/2014/main" id="{6B802EAA-5A90-8664-1247-2CC12643534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4" name="Grafik 27">
                <a:extLst>
                  <a:ext uri="{FF2B5EF4-FFF2-40B4-BE49-F238E27FC236}">
                    <a16:creationId xmlns:a16="http://schemas.microsoft.com/office/drawing/2014/main" id="{85435D17-7378-7FF3-D4CF-E837ECD6A5ED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36" name="Grafik 27">
              <a:extLst>
                <a:ext uri="{FF2B5EF4-FFF2-40B4-BE49-F238E27FC236}">
                  <a16:creationId xmlns:a16="http://schemas.microsoft.com/office/drawing/2014/main" id="{C4F264BC-1B79-62A6-DD1D-7DFBB817BB99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337" name="Grafik 27">
                <a:extLst>
                  <a:ext uri="{FF2B5EF4-FFF2-40B4-BE49-F238E27FC236}">
                    <a16:creationId xmlns:a16="http://schemas.microsoft.com/office/drawing/2014/main" id="{7586B60F-4ACE-BC31-945C-FEE84189DA5C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367" name="Grafik 27">
                  <a:extLst>
                    <a:ext uri="{FF2B5EF4-FFF2-40B4-BE49-F238E27FC236}">
                      <a16:creationId xmlns:a16="http://schemas.microsoft.com/office/drawing/2014/main" id="{380780DA-3D1C-B8FD-F71F-05E09CC11407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8" name="Grafik 27">
                  <a:extLst>
                    <a:ext uri="{FF2B5EF4-FFF2-40B4-BE49-F238E27FC236}">
                      <a16:creationId xmlns:a16="http://schemas.microsoft.com/office/drawing/2014/main" id="{7E7D50A6-E53D-DF3B-90E3-F386EDFE699A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9" name="Grafik 27">
                  <a:extLst>
                    <a:ext uri="{FF2B5EF4-FFF2-40B4-BE49-F238E27FC236}">
                      <a16:creationId xmlns:a16="http://schemas.microsoft.com/office/drawing/2014/main" id="{FC887141-585A-B0C7-CFDB-77BD1204EBD3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38" name="Grafik 27">
                <a:extLst>
                  <a:ext uri="{FF2B5EF4-FFF2-40B4-BE49-F238E27FC236}">
                    <a16:creationId xmlns:a16="http://schemas.microsoft.com/office/drawing/2014/main" id="{6E457260-29B1-A4B7-FF62-238215C7F7DF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364" name="Grafik 27">
                  <a:extLst>
                    <a:ext uri="{FF2B5EF4-FFF2-40B4-BE49-F238E27FC236}">
                      <a16:creationId xmlns:a16="http://schemas.microsoft.com/office/drawing/2014/main" id="{8F3D7FB2-4E9C-8E7B-550D-45D64AB24559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5" name="Grafik 27">
                  <a:extLst>
                    <a:ext uri="{FF2B5EF4-FFF2-40B4-BE49-F238E27FC236}">
                      <a16:creationId xmlns:a16="http://schemas.microsoft.com/office/drawing/2014/main" id="{90909C92-F79C-8228-6819-FF8C86BC4655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6" name="Grafik 27">
                  <a:extLst>
                    <a:ext uri="{FF2B5EF4-FFF2-40B4-BE49-F238E27FC236}">
                      <a16:creationId xmlns:a16="http://schemas.microsoft.com/office/drawing/2014/main" id="{CF39D747-28D1-B39C-B3A2-99D47CF9E58E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39" name="Grafik 27">
                <a:extLst>
                  <a:ext uri="{FF2B5EF4-FFF2-40B4-BE49-F238E27FC236}">
                    <a16:creationId xmlns:a16="http://schemas.microsoft.com/office/drawing/2014/main" id="{1DCDAAAB-5BEB-6D62-DE66-EFE160A2B88C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361" name="Grafik 27">
                  <a:extLst>
                    <a:ext uri="{FF2B5EF4-FFF2-40B4-BE49-F238E27FC236}">
                      <a16:creationId xmlns:a16="http://schemas.microsoft.com/office/drawing/2014/main" id="{FB8B7DF1-5C7F-73F5-93A7-63AAEDA0C9A4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2" name="Grafik 27">
                  <a:extLst>
                    <a:ext uri="{FF2B5EF4-FFF2-40B4-BE49-F238E27FC236}">
                      <a16:creationId xmlns:a16="http://schemas.microsoft.com/office/drawing/2014/main" id="{C8BFFAD9-47AE-3AE1-5CF3-38B0FF3EAF1D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3" name="Grafik 27">
                  <a:extLst>
                    <a:ext uri="{FF2B5EF4-FFF2-40B4-BE49-F238E27FC236}">
                      <a16:creationId xmlns:a16="http://schemas.microsoft.com/office/drawing/2014/main" id="{36830885-32CE-C401-77E5-BC2AC99DC67E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0" name="Grafik 27">
                <a:extLst>
                  <a:ext uri="{FF2B5EF4-FFF2-40B4-BE49-F238E27FC236}">
                    <a16:creationId xmlns:a16="http://schemas.microsoft.com/office/drawing/2014/main" id="{C43DE101-C1F8-5DBF-0308-4A0864666C22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358" name="Grafik 27">
                  <a:extLst>
                    <a:ext uri="{FF2B5EF4-FFF2-40B4-BE49-F238E27FC236}">
                      <a16:creationId xmlns:a16="http://schemas.microsoft.com/office/drawing/2014/main" id="{87FECA6F-C1FD-E305-4E61-042FFE4D6DDE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9" name="Grafik 27">
                  <a:extLst>
                    <a:ext uri="{FF2B5EF4-FFF2-40B4-BE49-F238E27FC236}">
                      <a16:creationId xmlns:a16="http://schemas.microsoft.com/office/drawing/2014/main" id="{B9DCDB2E-962F-BA6A-20CD-38934098BDF6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0" name="Grafik 27">
                  <a:extLst>
                    <a:ext uri="{FF2B5EF4-FFF2-40B4-BE49-F238E27FC236}">
                      <a16:creationId xmlns:a16="http://schemas.microsoft.com/office/drawing/2014/main" id="{C88CE011-2B5F-0D57-2B7D-CBF226D6EDCC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1" name="Grafik 27">
                <a:extLst>
                  <a:ext uri="{FF2B5EF4-FFF2-40B4-BE49-F238E27FC236}">
                    <a16:creationId xmlns:a16="http://schemas.microsoft.com/office/drawing/2014/main" id="{A5CDE49E-4E14-2B2F-D888-52082B0625FA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355" name="Grafik 27">
                  <a:extLst>
                    <a:ext uri="{FF2B5EF4-FFF2-40B4-BE49-F238E27FC236}">
                      <a16:creationId xmlns:a16="http://schemas.microsoft.com/office/drawing/2014/main" id="{5C24AC72-43EC-E280-9680-698F24313F32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6" name="Grafik 27">
                  <a:extLst>
                    <a:ext uri="{FF2B5EF4-FFF2-40B4-BE49-F238E27FC236}">
                      <a16:creationId xmlns:a16="http://schemas.microsoft.com/office/drawing/2014/main" id="{7EB841E8-9EBB-7622-2D1E-4AD5748BA67E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7" name="Grafik 27">
                  <a:extLst>
                    <a:ext uri="{FF2B5EF4-FFF2-40B4-BE49-F238E27FC236}">
                      <a16:creationId xmlns:a16="http://schemas.microsoft.com/office/drawing/2014/main" id="{6668FDA4-DD48-38E9-8FC9-048247296D4D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2" name="Grafik 27">
                <a:extLst>
                  <a:ext uri="{FF2B5EF4-FFF2-40B4-BE49-F238E27FC236}">
                    <a16:creationId xmlns:a16="http://schemas.microsoft.com/office/drawing/2014/main" id="{DA55C806-06D9-F02E-8C7E-74A835FF02C6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352" name="Grafik 27">
                  <a:extLst>
                    <a:ext uri="{FF2B5EF4-FFF2-40B4-BE49-F238E27FC236}">
                      <a16:creationId xmlns:a16="http://schemas.microsoft.com/office/drawing/2014/main" id="{9992C800-896C-AEFC-AF3B-8F47E8EB7B7A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3" name="Grafik 27">
                  <a:extLst>
                    <a:ext uri="{FF2B5EF4-FFF2-40B4-BE49-F238E27FC236}">
                      <a16:creationId xmlns:a16="http://schemas.microsoft.com/office/drawing/2014/main" id="{55FF476B-9E0B-6E76-26E1-EB1FC0F6FD37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4" name="Grafik 27">
                  <a:extLst>
                    <a:ext uri="{FF2B5EF4-FFF2-40B4-BE49-F238E27FC236}">
                      <a16:creationId xmlns:a16="http://schemas.microsoft.com/office/drawing/2014/main" id="{78F5BE3B-C55E-2F0B-9D18-06699E1CE6C4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3" name="Grafik 27">
                <a:extLst>
                  <a:ext uri="{FF2B5EF4-FFF2-40B4-BE49-F238E27FC236}">
                    <a16:creationId xmlns:a16="http://schemas.microsoft.com/office/drawing/2014/main" id="{8B488DAF-3BA7-BB6A-F8B1-9C3C9E7AECD7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349" name="Grafik 27">
                  <a:extLst>
                    <a:ext uri="{FF2B5EF4-FFF2-40B4-BE49-F238E27FC236}">
                      <a16:creationId xmlns:a16="http://schemas.microsoft.com/office/drawing/2014/main" id="{2EE3FBBA-F2ED-AE6E-8D73-E44DBC894872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0" name="Grafik 27">
                  <a:extLst>
                    <a:ext uri="{FF2B5EF4-FFF2-40B4-BE49-F238E27FC236}">
                      <a16:creationId xmlns:a16="http://schemas.microsoft.com/office/drawing/2014/main" id="{2D57F0B8-AB8D-8116-E630-C913F4B58C80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1" name="Grafik 27">
                  <a:extLst>
                    <a:ext uri="{FF2B5EF4-FFF2-40B4-BE49-F238E27FC236}">
                      <a16:creationId xmlns:a16="http://schemas.microsoft.com/office/drawing/2014/main" id="{753CEC5B-CEF8-8532-458B-6E4D005029EF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4" name="Grafik 27">
                <a:extLst>
                  <a:ext uri="{FF2B5EF4-FFF2-40B4-BE49-F238E27FC236}">
                    <a16:creationId xmlns:a16="http://schemas.microsoft.com/office/drawing/2014/main" id="{D16A9292-48CF-E356-56BA-B22C51673C88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346" name="Grafik 27">
                  <a:extLst>
                    <a:ext uri="{FF2B5EF4-FFF2-40B4-BE49-F238E27FC236}">
                      <a16:creationId xmlns:a16="http://schemas.microsoft.com/office/drawing/2014/main" id="{152F6A14-B3BB-3953-EBA3-609A5BFDB44F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7" name="Grafik 27">
                  <a:extLst>
                    <a:ext uri="{FF2B5EF4-FFF2-40B4-BE49-F238E27FC236}">
                      <a16:creationId xmlns:a16="http://schemas.microsoft.com/office/drawing/2014/main" id="{1B425B3F-83B0-996D-E661-930B0E75C6F2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8" name="Grafik 27">
                  <a:extLst>
                    <a:ext uri="{FF2B5EF4-FFF2-40B4-BE49-F238E27FC236}">
                      <a16:creationId xmlns:a16="http://schemas.microsoft.com/office/drawing/2014/main" id="{5EE22166-90FC-BD8C-718F-EC2EC2318CCF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345" name="Grafik 27">
                <a:extLst>
                  <a:ext uri="{FF2B5EF4-FFF2-40B4-BE49-F238E27FC236}">
                    <a16:creationId xmlns:a16="http://schemas.microsoft.com/office/drawing/2014/main" id="{BE7ECB86-3BC8-FA05-64F9-9806ABFBECA6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cxnSp>
        <p:nvCxnSpPr>
          <p:cNvPr id="376" name="Straight Connector 375">
            <a:extLst>
              <a:ext uri="{FF2B5EF4-FFF2-40B4-BE49-F238E27FC236}">
                <a16:creationId xmlns:a16="http://schemas.microsoft.com/office/drawing/2014/main" id="{620718CF-6F3C-305E-9965-651910C8C334}"/>
              </a:ext>
            </a:extLst>
          </p:cNvPr>
          <p:cNvCxnSpPr>
            <a:cxnSpLocks/>
          </p:cNvCxnSpPr>
          <p:nvPr/>
        </p:nvCxnSpPr>
        <p:spPr>
          <a:xfrm>
            <a:off x="3833019" y="3969768"/>
            <a:ext cx="1353430" cy="0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9" name="Straight Connector 378">
            <a:extLst>
              <a:ext uri="{FF2B5EF4-FFF2-40B4-BE49-F238E27FC236}">
                <a16:creationId xmlns:a16="http://schemas.microsoft.com/office/drawing/2014/main" id="{8F47A5C5-81B6-B41F-6BA8-E7E2CDC51BCD}"/>
              </a:ext>
            </a:extLst>
          </p:cNvPr>
          <p:cNvCxnSpPr>
            <a:cxnSpLocks/>
          </p:cNvCxnSpPr>
          <p:nvPr/>
        </p:nvCxnSpPr>
        <p:spPr>
          <a:xfrm>
            <a:off x="3621393" y="4154782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5" name="Straight Connector 384">
            <a:extLst>
              <a:ext uri="{FF2B5EF4-FFF2-40B4-BE49-F238E27FC236}">
                <a16:creationId xmlns:a16="http://schemas.microsoft.com/office/drawing/2014/main" id="{1DE39DDE-D045-2B09-21BC-9156ADB64097}"/>
              </a:ext>
            </a:extLst>
          </p:cNvPr>
          <p:cNvCxnSpPr>
            <a:cxnSpLocks/>
          </p:cNvCxnSpPr>
          <p:nvPr/>
        </p:nvCxnSpPr>
        <p:spPr>
          <a:xfrm flipV="1">
            <a:off x="4666975" y="4156723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7" name="Grafik 36">
            <a:extLst>
              <a:ext uri="{FF2B5EF4-FFF2-40B4-BE49-F238E27FC236}">
                <a16:creationId xmlns:a16="http://schemas.microsoft.com/office/drawing/2014/main" id="{F3B32AB5-93DD-5C2D-5882-40A9A82DEEBF}"/>
              </a:ext>
            </a:extLst>
          </p:cNvPr>
          <p:cNvGrpSpPr/>
          <p:nvPr/>
        </p:nvGrpSpPr>
        <p:grpSpPr bwMode="gray">
          <a:xfrm>
            <a:off x="6241816" y="3794457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388" name="Grafik 36">
              <a:extLst>
                <a:ext uri="{FF2B5EF4-FFF2-40B4-BE49-F238E27FC236}">
                  <a16:creationId xmlns:a16="http://schemas.microsoft.com/office/drawing/2014/main" id="{A4AA2A28-D7E8-2770-919F-8AF3B180377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410" name="Grafik 36">
                <a:extLst>
                  <a:ext uri="{FF2B5EF4-FFF2-40B4-BE49-F238E27FC236}">
                    <a16:creationId xmlns:a16="http://schemas.microsoft.com/office/drawing/2014/main" id="{A7BE938E-8F9D-B0F9-26BB-41FDB40F0EA4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1" name="Grafik 36">
                <a:extLst>
                  <a:ext uri="{FF2B5EF4-FFF2-40B4-BE49-F238E27FC236}">
                    <a16:creationId xmlns:a16="http://schemas.microsoft.com/office/drawing/2014/main" id="{C932CF17-54D1-4BAE-BD06-62209BE3C55D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412" name="Grafik 36">
                <a:extLst>
                  <a:ext uri="{FF2B5EF4-FFF2-40B4-BE49-F238E27FC236}">
                    <a16:creationId xmlns:a16="http://schemas.microsoft.com/office/drawing/2014/main" id="{4573DB6B-0576-6A8F-1B17-14E159117037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3" name="Grafik 36">
                <a:extLst>
                  <a:ext uri="{FF2B5EF4-FFF2-40B4-BE49-F238E27FC236}">
                    <a16:creationId xmlns:a16="http://schemas.microsoft.com/office/drawing/2014/main" id="{9475AEE6-DECE-971C-3808-6EBFA49A6223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4" name="Grafik 36">
                <a:extLst>
                  <a:ext uri="{FF2B5EF4-FFF2-40B4-BE49-F238E27FC236}">
                    <a16:creationId xmlns:a16="http://schemas.microsoft.com/office/drawing/2014/main" id="{54671AFE-2630-4CA9-067C-57AB28787C58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89" name="Grafik 36">
              <a:extLst>
                <a:ext uri="{FF2B5EF4-FFF2-40B4-BE49-F238E27FC236}">
                  <a16:creationId xmlns:a16="http://schemas.microsoft.com/office/drawing/2014/main" id="{2A4C9F0F-CDE3-15D0-B87F-5B7FF5370E4A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390" name="Grafik 36">
                <a:extLst>
                  <a:ext uri="{FF2B5EF4-FFF2-40B4-BE49-F238E27FC236}">
                    <a16:creationId xmlns:a16="http://schemas.microsoft.com/office/drawing/2014/main" id="{6C6234BC-CD58-2F56-A1C7-CC5AC309E7E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401" name="Grafik 36">
                  <a:extLst>
                    <a:ext uri="{FF2B5EF4-FFF2-40B4-BE49-F238E27FC236}">
                      <a16:creationId xmlns:a16="http://schemas.microsoft.com/office/drawing/2014/main" id="{1F00251B-72ED-1B7B-1DE3-C0C9EAFEEC8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407" name="Grafik 36">
                    <a:extLst>
                      <a:ext uri="{FF2B5EF4-FFF2-40B4-BE49-F238E27FC236}">
                        <a16:creationId xmlns:a16="http://schemas.microsoft.com/office/drawing/2014/main" id="{CDD5A252-2392-744C-71FF-F6C6AC3F8D1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8" name="Grafik 36">
                    <a:extLst>
                      <a:ext uri="{FF2B5EF4-FFF2-40B4-BE49-F238E27FC236}">
                        <a16:creationId xmlns:a16="http://schemas.microsoft.com/office/drawing/2014/main" id="{B64B04AD-8AFC-E511-BD1A-55FE623CA42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9" name="Grafik 36">
                    <a:extLst>
                      <a:ext uri="{FF2B5EF4-FFF2-40B4-BE49-F238E27FC236}">
                        <a16:creationId xmlns:a16="http://schemas.microsoft.com/office/drawing/2014/main" id="{71CE2F6F-AE50-07B0-FC16-AF714FF3136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402" name="Grafik 36">
                  <a:extLst>
                    <a:ext uri="{FF2B5EF4-FFF2-40B4-BE49-F238E27FC236}">
                      <a16:creationId xmlns:a16="http://schemas.microsoft.com/office/drawing/2014/main" id="{063140A4-405B-D8A1-33A4-4BB010971BC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403" name="Grafik 36">
                  <a:extLst>
                    <a:ext uri="{FF2B5EF4-FFF2-40B4-BE49-F238E27FC236}">
                      <a16:creationId xmlns:a16="http://schemas.microsoft.com/office/drawing/2014/main" id="{26936A8D-23B8-78B7-C944-A1D96B591E1F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404" name="Grafik 36">
                    <a:extLst>
                      <a:ext uri="{FF2B5EF4-FFF2-40B4-BE49-F238E27FC236}">
                        <a16:creationId xmlns:a16="http://schemas.microsoft.com/office/drawing/2014/main" id="{E8C7918B-4FFA-CDB1-FB6E-ECDB93E2CB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5" name="Grafik 36">
                    <a:extLst>
                      <a:ext uri="{FF2B5EF4-FFF2-40B4-BE49-F238E27FC236}">
                        <a16:creationId xmlns:a16="http://schemas.microsoft.com/office/drawing/2014/main" id="{2E2EC5F7-4C9C-AEC0-27E9-AC49006139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6" name="Grafik 36">
                    <a:extLst>
                      <a:ext uri="{FF2B5EF4-FFF2-40B4-BE49-F238E27FC236}">
                        <a16:creationId xmlns:a16="http://schemas.microsoft.com/office/drawing/2014/main" id="{74AE9DFA-5F63-23C5-CA68-ED348271AD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391" name="Grafik 36">
                <a:extLst>
                  <a:ext uri="{FF2B5EF4-FFF2-40B4-BE49-F238E27FC236}">
                    <a16:creationId xmlns:a16="http://schemas.microsoft.com/office/drawing/2014/main" id="{496CB0ED-19BC-B063-DF4E-42653F36B0F3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392" name="Grafik 36">
                  <a:extLst>
                    <a:ext uri="{FF2B5EF4-FFF2-40B4-BE49-F238E27FC236}">
                      <a16:creationId xmlns:a16="http://schemas.microsoft.com/office/drawing/2014/main" id="{E1D93D7E-781B-3E16-A858-FAED0A7FB885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398" name="Grafik 36">
                    <a:extLst>
                      <a:ext uri="{FF2B5EF4-FFF2-40B4-BE49-F238E27FC236}">
                        <a16:creationId xmlns:a16="http://schemas.microsoft.com/office/drawing/2014/main" id="{9C82A856-AB08-741A-E642-11A9CCAE14D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9" name="Grafik 36">
                    <a:extLst>
                      <a:ext uri="{FF2B5EF4-FFF2-40B4-BE49-F238E27FC236}">
                        <a16:creationId xmlns:a16="http://schemas.microsoft.com/office/drawing/2014/main" id="{56409378-24D4-2CB0-519B-A395434910C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0" name="Grafik 36">
                    <a:extLst>
                      <a:ext uri="{FF2B5EF4-FFF2-40B4-BE49-F238E27FC236}">
                        <a16:creationId xmlns:a16="http://schemas.microsoft.com/office/drawing/2014/main" id="{666C0213-F30E-56CC-57F9-56C24FBACA3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93" name="Grafik 36">
                  <a:extLst>
                    <a:ext uri="{FF2B5EF4-FFF2-40B4-BE49-F238E27FC236}">
                      <a16:creationId xmlns:a16="http://schemas.microsoft.com/office/drawing/2014/main" id="{142D439B-6B50-8BAC-742E-B0E0EC968CA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94" name="Grafik 36">
                  <a:extLst>
                    <a:ext uri="{FF2B5EF4-FFF2-40B4-BE49-F238E27FC236}">
                      <a16:creationId xmlns:a16="http://schemas.microsoft.com/office/drawing/2014/main" id="{B3B104A9-541B-12C8-63F5-F4AA63128A2B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395" name="Grafik 36">
                    <a:extLst>
                      <a:ext uri="{FF2B5EF4-FFF2-40B4-BE49-F238E27FC236}">
                        <a16:creationId xmlns:a16="http://schemas.microsoft.com/office/drawing/2014/main" id="{34BE0D00-0BFD-FD02-D6AD-2EF8224A2DC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6" name="Grafik 36">
                    <a:extLst>
                      <a:ext uri="{FF2B5EF4-FFF2-40B4-BE49-F238E27FC236}">
                        <a16:creationId xmlns:a16="http://schemas.microsoft.com/office/drawing/2014/main" id="{0E4D644D-3094-1FDC-130A-4D44E4F509D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7" name="Grafik 36">
                    <a:extLst>
                      <a:ext uri="{FF2B5EF4-FFF2-40B4-BE49-F238E27FC236}">
                        <a16:creationId xmlns:a16="http://schemas.microsoft.com/office/drawing/2014/main" id="{3CEEF22C-D8A4-6DC3-9711-49C5C2AC5CF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415" name="Grafik 27">
            <a:extLst>
              <a:ext uri="{FF2B5EF4-FFF2-40B4-BE49-F238E27FC236}">
                <a16:creationId xmlns:a16="http://schemas.microsoft.com/office/drawing/2014/main" id="{149F263A-963E-8BF0-8FBC-563AD053CD94}"/>
              </a:ext>
            </a:extLst>
          </p:cNvPr>
          <p:cNvGrpSpPr/>
          <p:nvPr/>
        </p:nvGrpSpPr>
        <p:grpSpPr bwMode="gray">
          <a:xfrm>
            <a:off x="7095192" y="2704692"/>
            <a:ext cx="374400" cy="374400"/>
            <a:chOff x="5843587" y="3176587"/>
            <a:chExt cx="500253" cy="500253"/>
          </a:xfrm>
          <a:solidFill>
            <a:schemeClr val="accent2">
              <a:lumMod val="75000"/>
            </a:schemeClr>
          </a:solidFill>
        </p:grpSpPr>
        <p:grpSp>
          <p:nvGrpSpPr>
            <p:cNvPr id="416" name="Grafik 27">
              <a:extLst>
                <a:ext uri="{FF2B5EF4-FFF2-40B4-BE49-F238E27FC236}">
                  <a16:creationId xmlns:a16="http://schemas.microsoft.com/office/drawing/2014/main" id="{E3404ACA-42BB-950E-2653-26778EFA25C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451" name="Grafik 27">
                <a:extLst>
                  <a:ext uri="{FF2B5EF4-FFF2-40B4-BE49-F238E27FC236}">
                    <a16:creationId xmlns:a16="http://schemas.microsoft.com/office/drawing/2014/main" id="{E67B6078-9B98-8FAB-F2E4-6FA25669E85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2" name="Grafik 27">
                <a:extLst>
                  <a:ext uri="{FF2B5EF4-FFF2-40B4-BE49-F238E27FC236}">
                    <a16:creationId xmlns:a16="http://schemas.microsoft.com/office/drawing/2014/main" id="{0F496CBA-F227-A7FF-862B-6333FBEEC14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3" name="Grafik 27">
                <a:extLst>
                  <a:ext uri="{FF2B5EF4-FFF2-40B4-BE49-F238E27FC236}">
                    <a16:creationId xmlns:a16="http://schemas.microsoft.com/office/drawing/2014/main" id="{A2CEF5A0-5753-C945-B5B3-8414EB3B43A3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4" name="Grafik 27">
                <a:extLst>
                  <a:ext uri="{FF2B5EF4-FFF2-40B4-BE49-F238E27FC236}">
                    <a16:creationId xmlns:a16="http://schemas.microsoft.com/office/drawing/2014/main" id="{96B88EF9-4F0C-93F3-53E0-C3787C3C11AA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5" name="Grafik 27">
                <a:extLst>
                  <a:ext uri="{FF2B5EF4-FFF2-40B4-BE49-F238E27FC236}">
                    <a16:creationId xmlns:a16="http://schemas.microsoft.com/office/drawing/2014/main" id="{7945FB83-0621-768B-43CA-3FEE8068CE96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17" name="Grafik 27">
              <a:extLst>
                <a:ext uri="{FF2B5EF4-FFF2-40B4-BE49-F238E27FC236}">
                  <a16:creationId xmlns:a16="http://schemas.microsoft.com/office/drawing/2014/main" id="{BCE259CA-8DB8-5114-33F9-935B06CB0B58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418" name="Grafik 27">
                <a:extLst>
                  <a:ext uri="{FF2B5EF4-FFF2-40B4-BE49-F238E27FC236}">
                    <a16:creationId xmlns:a16="http://schemas.microsoft.com/office/drawing/2014/main" id="{6E72E3E1-4CAD-21F0-23A4-9B92949965F7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448" name="Grafik 27">
                  <a:extLst>
                    <a:ext uri="{FF2B5EF4-FFF2-40B4-BE49-F238E27FC236}">
                      <a16:creationId xmlns:a16="http://schemas.microsoft.com/office/drawing/2014/main" id="{B2AE1ADA-8B35-CE5C-C44C-1BD31992EC7F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9" name="Grafik 27">
                  <a:extLst>
                    <a:ext uri="{FF2B5EF4-FFF2-40B4-BE49-F238E27FC236}">
                      <a16:creationId xmlns:a16="http://schemas.microsoft.com/office/drawing/2014/main" id="{C9C3C517-537E-BDB4-7C96-7E3F56425E9A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50" name="Grafik 27">
                  <a:extLst>
                    <a:ext uri="{FF2B5EF4-FFF2-40B4-BE49-F238E27FC236}">
                      <a16:creationId xmlns:a16="http://schemas.microsoft.com/office/drawing/2014/main" id="{17573FD6-D0C0-47B3-D3D7-083E7DC934DA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19" name="Grafik 27">
                <a:extLst>
                  <a:ext uri="{FF2B5EF4-FFF2-40B4-BE49-F238E27FC236}">
                    <a16:creationId xmlns:a16="http://schemas.microsoft.com/office/drawing/2014/main" id="{5AB0F8FA-4A46-486C-5FE9-C4EFCA1EBF5D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445" name="Grafik 27">
                  <a:extLst>
                    <a:ext uri="{FF2B5EF4-FFF2-40B4-BE49-F238E27FC236}">
                      <a16:creationId xmlns:a16="http://schemas.microsoft.com/office/drawing/2014/main" id="{DBF44413-7881-2765-970C-373BE55B699C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6" name="Grafik 27">
                  <a:extLst>
                    <a:ext uri="{FF2B5EF4-FFF2-40B4-BE49-F238E27FC236}">
                      <a16:creationId xmlns:a16="http://schemas.microsoft.com/office/drawing/2014/main" id="{17155D24-5C8F-3424-38D3-6A66C3AB8AB8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7" name="Grafik 27">
                  <a:extLst>
                    <a:ext uri="{FF2B5EF4-FFF2-40B4-BE49-F238E27FC236}">
                      <a16:creationId xmlns:a16="http://schemas.microsoft.com/office/drawing/2014/main" id="{2C21AC20-BCBC-CDF1-6870-8C3855483CE5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0" name="Grafik 27">
                <a:extLst>
                  <a:ext uri="{FF2B5EF4-FFF2-40B4-BE49-F238E27FC236}">
                    <a16:creationId xmlns:a16="http://schemas.microsoft.com/office/drawing/2014/main" id="{729391D5-2685-04A2-FC33-30AC14200389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442" name="Grafik 27">
                  <a:extLst>
                    <a:ext uri="{FF2B5EF4-FFF2-40B4-BE49-F238E27FC236}">
                      <a16:creationId xmlns:a16="http://schemas.microsoft.com/office/drawing/2014/main" id="{6C8E1DAF-BD56-8AC3-5A02-C9D12E08D016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3" name="Grafik 27">
                  <a:extLst>
                    <a:ext uri="{FF2B5EF4-FFF2-40B4-BE49-F238E27FC236}">
                      <a16:creationId xmlns:a16="http://schemas.microsoft.com/office/drawing/2014/main" id="{7C881157-C895-B42B-88A9-22B4D374C264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4" name="Grafik 27">
                  <a:extLst>
                    <a:ext uri="{FF2B5EF4-FFF2-40B4-BE49-F238E27FC236}">
                      <a16:creationId xmlns:a16="http://schemas.microsoft.com/office/drawing/2014/main" id="{D1A7C684-6D08-F7AF-B929-18C67E939ADF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1" name="Grafik 27">
                <a:extLst>
                  <a:ext uri="{FF2B5EF4-FFF2-40B4-BE49-F238E27FC236}">
                    <a16:creationId xmlns:a16="http://schemas.microsoft.com/office/drawing/2014/main" id="{CC6E973B-4AEB-EB32-E454-FC4FB5762652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439" name="Grafik 27">
                  <a:extLst>
                    <a:ext uri="{FF2B5EF4-FFF2-40B4-BE49-F238E27FC236}">
                      <a16:creationId xmlns:a16="http://schemas.microsoft.com/office/drawing/2014/main" id="{B1AAE580-7A32-2B48-A61A-8521E863975E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0" name="Grafik 27">
                  <a:extLst>
                    <a:ext uri="{FF2B5EF4-FFF2-40B4-BE49-F238E27FC236}">
                      <a16:creationId xmlns:a16="http://schemas.microsoft.com/office/drawing/2014/main" id="{83C1FA86-4174-A17B-F2E3-6CA3EFED17DA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1" name="Grafik 27">
                  <a:extLst>
                    <a:ext uri="{FF2B5EF4-FFF2-40B4-BE49-F238E27FC236}">
                      <a16:creationId xmlns:a16="http://schemas.microsoft.com/office/drawing/2014/main" id="{81775054-3D30-DA4D-2156-0C8F5869AAD6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2" name="Grafik 27">
                <a:extLst>
                  <a:ext uri="{FF2B5EF4-FFF2-40B4-BE49-F238E27FC236}">
                    <a16:creationId xmlns:a16="http://schemas.microsoft.com/office/drawing/2014/main" id="{3EAC7316-0098-33F4-793C-B69C40056A79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436" name="Grafik 27">
                  <a:extLst>
                    <a:ext uri="{FF2B5EF4-FFF2-40B4-BE49-F238E27FC236}">
                      <a16:creationId xmlns:a16="http://schemas.microsoft.com/office/drawing/2014/main" id="{332DBFAE-59B6-F436-7D06-F693E861F272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7" name="Grafik 27">
                  <a:extLst>
                    <a:ext uri="{FF2B5EF4-FFF2-40B4-BE49-F238E27FC236}">
                      <a16:creationId xmlns:a16="http://schemas.microsoft.com/office/drawing/2014/main" id="{980500EA-DA69-54D1-7705-E8216C11081A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8" name="Grafik 27">
                  <a:extLst>
                    <a:ext uri="{FF2B5EF4-FFF2-40B4-BE49-F238E27FC236}">
                      <a16:creationId xmlns:a16="http://schemas.microsoft.com/office/drawing/2014/main" id="{1F717291-5C93-5B00-7427-CCAE067D0722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3" name="Grafik 27">
                <a:extLst>
                  <a:ext uri="{FF2B5EF4-FFF2-40B4-BE49-F238E27FC236}">
                    <a16:creationId xmlns:a16="http://schemas.microsoft.com/office/drawing/2014/main" id="{42D5AAC0-E8A4-3F99-50FE-4E3E334497DB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433" name="Grafik 27">
                  <a:extLst>
                    <a:ext uri="{FF2B5EF4-FFF2-40B4-BE49-F238E27FC236}">
                      <a16:creationId xmlns:a16="http://schemas.microsoft.com/office/drawing/2014/main" id="{FEED395C-B1E7-FDC7-0A6E-8A641BE4786C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4" name="Grafik 27">
                  <a:extLst>
                    <a:ext uri="{FF2B5EF4-FFF2-40B4-BE49-F238E27FC236}">
                      <a16:creationId xmlns:a16="http://schemas.microsoft.com/office/drawing/2014/main" id="{9F31E1DF-6356-E127-B8AA-51E4F74B6D5D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5" name="Grafik 27">
                  <a:extLst>
                    <a:ext uri="{FF2B5EF4-FFF2-40B4-BE49-F238E27FC236}">
                      <a16:creationId xmlns:a16="http://schemas.microsoft.com/office/drawing/2014/main" id="{4DBFA5D0-5B97-1034-51F4-F5AC546486EF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4" name="Grafik 27">
                <a:extLst>
                  <a:ext uri="{FF2B5EF4-FFF2-40B4-BE49-F238E27FC236}">
                    <a16:creationId xmlns:a16="http://schemas.microsoft.com/office/drawing/2014/main" id="{4F852C5F-39C7-0B40-0B00-9C45120D8803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430" name="Grafik 27">
                  <a:extLst>
                    <a:ext uri="{FF2B5EF4-FFF2-40B4-BE49-F238E27FC236}">
                      <a16:creationId xmlns:a16="http://schemas.microsoft.com/office/drawing/2014/main" id="{F4F2DA1E-C493-454F-5EC1-76104DB17C38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1" name="Grafik 27">
                  <a:extLst>
                    <a:ext uri="{FF2B5EF4-FFF2-40B4-BE49-F238E27FC236}">
                      <a16:creationId xmlns:a16="http://schemas.microsoft.com/office/drawing/2014/main" id="{D7713565-AA6A-BE38-4EBC-59D0E08F1188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2" name="Grafik 27">
                  <a:extLst>
                    <a:ext uri="{FF2B5EF4-FFF2-40B4-BE49-F238E27FC236}">
                      <a16:creationId xmlns:a16="http://schemas.microsoft.com/office/drawing/2014/main" id="{4FEC2FEB-A965-D26B-78D5-AB5E8F98EAD3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5" name="Grafik 27">
                <a:extLst>
                  <a:ext uri="{FF2B5EF4-FFF2-40B4-BE49-F238E27FC236}">
                    <a16:creationId xmlns:a16="http://schemas.microsoft.com/office/drawing/2014/main" id="{13E349D2-6782-FDBF-6BD5-998C8475C994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427" name="Grafik 27">
                  <a:extLst>
                    <a:ext uri="{FF2B5EF4-FFF2-40B4-BE49-F238E27FC236}">
                      <a16:creationId xmlns:a16="http://schemas.microsoft.com/office/drawing/2014/main" id="{5E010809-D4A4-BF81-844A-6F97FC70F25C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8" name="Grafik 27">
                  <a:extLst>
                    <a:ext uri="{FF2B5EF4-FFF2-40B4-BE49-F238E27FC236}">
                      <a16:creationId xmlns:a16="http://schemas.microsoft.com/office/drawing/2014/main" id="{3A072357-CBB9-F981-0E51-F5F7DE3DB6D6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9" name="Grafik 27">
                  <a:extLst>
                    <a:ext uri="{FF2B5EF4-FFF2-40B4-BE49-F238E27FC236}">
                      <a16:creationId xmlns:a16="http://schemas.microsoft.com/office/drawing/2014/main" id="{7DDC3BA2-C721-B9B8-D310-114D5A62CF23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26" name="Grafik 27">
                <a:extLst>
                  <a:ext uri="{FF2B5EF4-FFF2-40B4-BE49-F238E27FC236}">
                    <a16:creationId xmlns:a16="http://schemas.microsoft.com/office/drawing/2014/main" id="{CBCFE7EA-892A-F8A1-6802-A400EC34224E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456" name="Grafik 36">
            <a:extLst>
              <a:ext uri="{FF2B5EF4-FFF2-40B4-BE49-F238E27FC236}">
                <a16:creationId xmlns:a16="http://schemas.microsoft.com/office/drawing/2014/main" id="{B918C36A-0859-CFF1-A581-3FB893290E53}"/>
              </a:ext>
            </a:extLst>
          </p:cNvPr>
          <p:cNvGrpSpPr/>
          <p:nvPr/>
        </p:nvGrpSpPr>
        <p:grpSpPr bwMode="gray">
          <a:xfrm>
            <a:off x="7082608" y="4821242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457" name="Grafik 36">
              <a:extLst>
                <a:ext uri="{FF2B5EF4-FFF2-40B4-BE49-F238E27FC236}">
                  <a16:creationId xmlns:a16="http://schemas.microsoft.com/office/drawing/2014/main" id="{9E586C93-C3D5-F08C-95A6-E7F889047FF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479" name="Grafik 36">
                <a:extLst>
                  <a:ext uri="{FF2B5EF4-FFF2-40B4-BE49-F238E27FC236}">
                    <a16:creationId xmlns:a16="http://schemas.microsoft.com/office/drawing/2014/main" id="{771B8008-1905-81FE-8144-B07E11AA93F6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0" name="Grafik 36">
                <a:extLst>
                  <a:ext uri="{FF2B5EF4-FFF2-40B4-BE49-F238E27FC236}">
                    <a16:creationId xmlns:a16="http://schemas.microsoft.com/office/drawing/2014/main" id="{09607CDA-01AE-2EDD-EE24-1AC9EC30693D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481" name="Grafik 36">
                <a:extLst>
                  <a:ext uri="{FF2B5EF4-FFF2-40B4-BE49-F238E27FC236}">
                    <a16:creationId xmlns:a16="http://schemas.microsoft.com/office/drawing/2014/main" id="{2DCDB97F-89FB-6DB0-F1F4-5C546C32EEDC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2" name="Grafik 36">
                <a:extLst>
                  <a:ext uri="{FF2B5EF4-FFF2-40B4-BE49-F238E27FC236}">
                    <a16:creationId xmlns:a16="http://schemas.microsoft.com/office/drawing/2014/main" id="{976136EF-9FC4-4C5F-CBF6-5D629D24DAD6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3" name="Grafik 36">
                <a:extLst>
                  <a:ext uri="{FF2B5EF4-FFF2-40B4-BE49-F238E27FC236}">
                    <a16:creationId xmlns:a16="http://schemas.microsoft.com/office/drawing/2014/main" id="{57781A3D-8668-8E30-8196-5B3FDDDE206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58" name="Grafik 36">
              <a:extLst>
                <a:ext uri="{FF2B5EF4-FFF2-40B4-BE49-F238E27FC236}">
                  <a16:creationId xmlns:a16="http://schemas.microsoft.com/office/drawing/2014/main" id="{5E8A07B6-1393-4939-5F85-E9ED4089DEAA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459" name="Grafik 36">
                <a:extLst>
                  <a:ext uri="{FF2B5EF4-FFF2-40B4-BE49-F238E27FC236}">
                    <a16:creationId xmlns:a16="http://schemas.microsoft.com/office/drawing/2014/main" id="{2C35A891-1E31-4564-5B89-F90BFCC1823B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470" name="Grafik 36">
                  <a:extLst>
                    <a:ext uri="{FF2B5EF4-FFF2-40B4-BE49-F238E27FC236}">
                      <a16:creationId xmlns:a16="http://schemas.microsoft.com/office/drawing/2014/main" id="{06DEF029-F27F-9B37-0C38-DDBC74FC1E85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476" name="Grafik 36">
                    <a:extLst>
                      <a:ext uri="{FF2B5EF4-FFF2-40B4-BE49-F238E27FC236}">
                        <a16:creationId xmlns:a16="http://schemas.microsoft.com/office/drawing/2014/main" id="{E4208C1F-029C-25FF-374F-5C9B2B38991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77" name="Grafik 36">
                    <a:extLst>
                      <a:ext uri="{FF2B5EF4-FFF2-40B4-BE49-F238E27FC236}">
                        <a16:creationId xmlns:a16="http://schemas.microsoft.com/office/drawing/2014/main" id="{57EB9B7C-8FDC-B60E-7C5B-F5D1C6821DF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78" name="Grafik 36">
                    <a:extLst>
                      <a:ext uri="{FF2B5EF4-FFF2-40B4-BE49-F238E27FC236}">
                        <a16:creationId xmlns:a16="http://schemas.microsoft.com/office/drawing/2014/main" id="{65E59225-003E-AF62-289B-1F01045F653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471" name="Grafik 36">
                  <a:extLst>
                    <a:ext uri="{FF2B5EF4-FFF2-40B4-BE49-F238E27FC236}">
                      <a16:creationId xmlns:a16="http://schemas.microsoft.com/office/drawing/2014/main" id="{52F5FBEA-45C6-0A7F-0CBE-68E313E1FB9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472" name="Grafik 36">
                  <a:extLst>
                    <a:ext uri="{FF2B5EF4-FFF2-40B4-BE49-F238E27FC236}">
                      <a16:creationId xmlns:a16="http://schemas.microsoft.com/office/drawing/2014/main" id="{D664C8C5-08A4-714C-19AA-A1621679AF2B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473" name="Grafik 36">
                    <a:extLst>
                      <a:ext uri="{FF2B5EF4-FFF2-40B4-BE49-F238E27FC236}">
                        <a16:creationId xmlns:a16="http://schemas.microsoft.com/office/drawing/2014/main" id="{2D27957C-478F-7C81-3B12-969B7C36AD9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74" name="Grafik 36">
                    <a:extLst>
                      <a:ext uri="{FF2B5EF4-FFF2-40B4-BE49-F238E27FC236}">
                        <a16:creationId xmlns:a16="http://schemas.microsoft.com/office/drawing/2014/main" id="{E6E2F7F4-B64B-BE82-74C5-7DBF36BD650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75" name="Grafik 36">
                    <a:extLst>
                      <a:ext uri="{FF2B5EF4-FFF2-40B4-BE49-F238E27FC236}">
                        <a16:creationId xmlns:a16="http://schemas.microsoft.com/office/drawing/2014/main" id="{9EB067E6-03E8-F369-32AC-8A0297BB9E7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460" name="Grafik 36">
                <a:extLst>
                  <a:ext uri="{FF2B5EF4-FFF2-40B4-BE49-F238E27FC236}">
                    <a16:creationId xmlns:a16="http://schemas.microsoft.com/office/drawing/2014/main" id="{46ADEC6A-B91D-3644-8670-CE782AA70EB4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461" name="Grafik 36">
                  <a:extLst>
                    <a:ext uri="{FF2B5EF4-FFF2-40B4-BE49-F238E27FC236}">
                      <a16:creationId xmlns:a16="http://schemas.microsoft.com/office/drawing/2014/main" id="{36B10834-2420-7C15-4BD2-31967E6B3244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467" name="Grafik 36">
                    <a:extLst>
                      <a:ext uri="{FF2B5EF4-FFF2-40B4-BE49-F238E27FC236}">
                        <a16:creationId xmlns:a16="http://schemas.microsoft.com/office/drawing/2014/main" id="{4DCD798D-2158-6574-BD50-20BC97526E4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68" name="Grafik 36">
                    <a:extLst>
                      <a:ext uri="{FF2B5EF4-FFF2-40B4-BE49-F238E27FC236}">
                        <a16:creationId xmlns:a16="http://schemas.microsoft.com/office/drawing/2014/main" id="{2A39D075-20EE-023B-349E-FDB8FFE4A52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69" name="Grafik 36">
                    <a:extLst>
                      <a:ext uri="{FF2B5EF4-FFF2-40B4-BE49-F238E27FC236}">
                        <a16:creationId xmlns:a16="http://schemas.microsoft.com/office/drawing/2014/main" id="{61EF0E82-2384-A525-061C-8174F4C4E58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462" name="Grafik 36">
                  <a:extLst>
                    <a:ext uri="{FF2B5EF4-FFF2-40B4-BE49-F238E27FC236}">
                      <a16:creationId xmlns:a16="http://schemas.microsoft.com/office/drawing/2014/main" id="{A82A9514-880D-8657-FA5F-C1C40816B50C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463" name="Grafik 36">
                  <a:extLst>
                    <a:ext uri="{FF2B5EF4-FFF2-40B4-BE49-F238E27FC236}">
                      <a16:creationId xmlns:a16="http://schemas.microsoft.com/office/drawing/2014/main" id="{FBFA4F7E-C162-DBB1-36EF-106AF452F937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464" name="Grafik 36">
                    <a:extLst>
                      <a:ext uri="{FF2B5EF4-FFF2-40B4-BE49-F238E27FC236}">
                        <a16:creationId xmlns:a16="http://schemas.microsoft.com/office/drawing/2014/main" id="{A184EC50-6EDE-0317-2931-9F1E666DFD4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65" name="Grafik 36">
                    <a:extLst>
                      <a:ext uri="{FF2B5EF4-FFF2-40B4-BE49-F238E27FC236}">
                        <a16:creationId xmlns:a16="http://schemas.microsoft.com/office/drawing/2014/main" id="{F9BC12DB-E484-DF34-C1CD-C025A94A5F1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66" name="Grafik 36">
                    <a:extLst>
                      <a:ext uri="{FF2B5EF4-FFF2-40B4-BE49-F238E27FC236}">
                        <a16:creationId xmlns:a16="http://schemas.microsoft.com/office/drawing/2014/main" id="{E7E158B9-C45C-4B4B-BB16-8D216036317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525" name="Grafik 36">
            <a:extLst>
              <a:ext uri="{FF2B5EF4-FFF2-40B4-BE49-F238E27FC236}">
                <a16:creationId xmlns:a16="http://schemas.microsoft.com/office/drawing/2014/main" id="{51F27B46-52F7-1CE8-8499-E294122310AB}"/>
              </a:ext>
            </a:extLst>
          </p:cNvPr>
          <p:cNvGrpSpPr/>
          <p:nvPr/>
        </p:nvGrpSpPr>
        <p:grpSpPr bwMode="gray">
          <a:xfrm>
            <a:off x="7969646" y="3792032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526" name="Grafik 36">
              <a:extLst>
                <a:ext uri="{FF2B5EF4-FFF2-40B4-BE49-F238E27FC236}">
                  <a16:creationId xmlns:a16="http://schemas.microsoft.com/office/drawing/2014/main" id="{6AB99462-A60F-3A8F-1388-9A3B20BDDD7F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48" name="Grafik 36">
                <a:extLst>
                  <a:ext uri="{FF2B5EF4-FFF2-40B4-BE49-F238E27FC236}">
                    <a16:creationId xmlns:a16="http://schemas.microsoft.com/office/drawing/2014/main" id="{02202B09-7611-C267-9ED3-94C2582066B2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9" name="Grafik 36">
                <a:extLst>
                  <a:ext uri="{FF2B5EF4-FFF2-40B4-BE49-F238E27FC236}">
                    <a16:creationId xmlns:a16="http://schemas.microsoft.com/office/drawing/2014/main" id="{368D1929-A2F8-9471-DFCB-741DBE50A4A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50" name="Grafik 36">
                <a:extLst>
                  <a:ext uri="{FF2B5EF4-FFF2-40B4-BE49-F238E27FC236}">
                    <a16:creationId xmlns:a16="http://schemas.microsoft.com/office/drawing/2014/main" id="{0387A9C0-D5F3-AE57-45D9-C14E30FCE4D3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1" name="Grafik 36">
                <a:extLst>
                  <a:ext uri="{FF2B5EF4-FFF2-40B4-BE49-F238E27FC236}">
                    <a16:creationId xmlns:a16="http://schemas.microsoft.com/office/drawing/2014/main" id="{67C81542-1D86-2FC2-59E1-32FC36B80EE8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2" name="Grafik 36">
                <a:extLst>
                  <a:ext uri="{FF2B5EF4-FFF2-40B4-BE49-F238E27FC236}">
                    <a16:creationId xmlns:a16="http://schemas.microsoft.com/office/drawing/2014/main" id="{B22DFE68-C803-9D1E-94EC-CF2DD7366999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27" name="Grafik 36">
              <a:extLst>
                <a:ext uri="{FF2B5EF4-FFF2-40B4-BE49-F238E27FC236}">
                  <a16:creationId xmlns:a16="http://schemas.microsoft.com/office/drawing/2014/main" id="{B2ECF051-5BD9-E4B5-D654-60C4C214619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28" name="Grafik 36">
                <a:extLst>
                  <a:ext uri="{FF2B5EF4-FFF2-40B4-BE49-F238E27FC236}">
                    <a16:creationId xmlns:a16="http://schemas.microsoft.com/office/drawing/2014/main" id="{89EF8779-553B-0314-E9A8-38C01B9FCA8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39" name="Grafik 36">
                  <a:extLst>
                    <a:ext uri="{FF2B5EF4-FFF2-40B4-BE49-F238E27FC236}">
                      <a16:creationId xmlns:a16="http://schemas.microsoft.com/office/drawing/2014/main" id="{7C766AE4-2A63-6511-CA3C-6948A8AD7C5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45" name="Grafik 36">
                    <a:extLst>
                      <a:ext uri="{FF2B5EF4-FFF2-40B4-BE49-F238E27FC236}">
                        <a16:creationId xmlns:a16="http://schemas.microsoft.com/office/drawing/2014/main" id="{AF67264D-AAC5-C56F-8CDC-7CF08366A95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46" name="Grafik 36">
                    <a:extLst>
                      <a:ext uri="{FF2B5EF4-FFF2-40B4-BE49-F238E27FC236}">
                        <a16:creationId xmlns:a16="http://schemas.microsoft.com/office/drawing/2014/main" id="{462B41FE-2BE7-955F-8960-1EF97DE98CB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47" name="Grafik 36">
                    <a:extLst>
                      <a:ext uri="{FF2B5EF4-FFF2-40B4-BE49-F238E27FC236}">
                        <a16:creationId xmlns:a16="http://schemas.microsoft.com/office/drawing/2014/main" id="{CA097F32-DB66-E5BE-4C34-5A40FDA2C1E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40" name="Grafik 36">
                  <a:extLst>
                    <a:ext uri="{FF2B5EF4-FFF2-40B4-BE49-F238E27FC236}">
                      <a16:creationId xmlns:a16="http://schemas.microsoft.com/office/drawing/2014/main" id="{C9989026-A0D5-4B48-31AD-3127B72DA281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541" name="Grafik 36">
                  <a:extLst>
                    <a:ext uri="{FF2B5EF4-FFF2-40B4-BE49-F238E27FC236}">
                      <a16:creationId xmlns:a16="http://schemas.microsoft.com/office/drawing/2014/main" id="{96E65EA7-9D53-D9FE-14D3-4C705EDF309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42" name="Grafik 36">
                    <a:extLst>
                      <a:ext uri="{FF2B5EF4-FFF2-40B4-BE49-F238E27FC236}">
                        <a16:creationId xmlns:a16="http://schemas.microsoft.com/office/drawing/2014/main" id="{189F78F4-C983-51A9-13B4-B243A68B4F0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43" name="Grafik 36">
                    <a:extLst>
                      <a:ext uri="{FF2B5EF4-FFF2-40B4-BE49-F238E27FC236}">
                        <a16:creationId xmlns:a16="http://schemas.microsoft.com/office/drawing/2014/main" id="{D78B6E40-A473-53E8-5B73-E5E1E7E24AB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44" name="Grafik 36">
                    <a:extLst>
                      <a:ext uri="{FF2B5EF4-FFF2-40B4-BE49-F238E27FC236}">
                        <a16:creationId xmlns:a16="http://schemas.microsoft.com/office/drawing/2014/main" id="{3A9501E9-6754-F0F4-3458-8FCABF62F6F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529" name="Grafik 36">
                <a:extLst>
                  <a:ext uri="{FF2B5EF4-FFF2-40B4-BE49-F238E27FC236}">
                    <a16:creationId xmlns:a16="http://schemas.microsoft.com/office/drawing/2014/main" id="{86B2B120-A214-8F0A-B3AE-C1BAE4CE0D31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30" name="Grafik 36">
                  <a:extLst>
                    <a:ext uri="{FF2B5EF4-FFF2-40B4-BE49-F238E27FC236}">
                      <a16:creationId xmlns:a16="http://schemas.microsoft.com/office/drawing/2014/main" id="{3F15202E-5E85-FEB3-F38F-A15C168D3AF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36" name="Grafik 36">
                    <a:extLst>
                      <a:ext uri="{FF2B5EF4-FFF2-40B4-BE49-F238E27FC236}">
                        <a16:creationId xmlns:a16="http://schemas.microsoft.com/office/drawing/2014/main" id="{D2C59FDF-F2EF-9D8D-451D-266A3E9E401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7" name="Grafik 36">
                    <a:extLst>
                      <a:ext uri="{FF2B5EF4-FFF2-40B4-BE49-F238E27FC236}">
                        <a16:creationId xmlns:a16="http://schemas.microsoft.com/office/drawing/2014/main" id="{4C7BDA4A-82D2-F6FE-612B-202CA3E18C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8" name="Grafik 36">
                    <a:extLst>
                      <a:ext uri="{FF2B5EF4-FFF2-40B4-BE49-F238E27FC236}">
                        <a16:creationId xmlns:a16="http://schemas.microsoft.com/office/drawing/2014/main" id="{9ADB848A-D584-1B6E-69AE-83CBDE101AA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31" name="Grafik 36">
                  <a:extLst>
                    <a:ext uri="{FF2B5EF4-FFF2-40B4-BE49-F238E27FC236}">
                      <a16:creationId xmlns:a16="http://schemas.microsoft.com/office/drawing/2014/main" id="{66FB8C5F-7AD0-E575-ABAE-A2DC0132F4AC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32" name="Grafik 36">
                  <a:extLst>
                    <a:ext uri="{FF2B5EF4-FFF2-40B4-BE49-F238E27FC236}">
                      <a16:creationId xmlns:a16="http://schemas.microsoft.com/office/drawing/2014/main" id="{CDE6DF90-4EBF-3688-1765-DF1EF639E3D3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33" name="Grafik 36">
                    <a:extLst>
                      <a:ext uri="{FF2B5EF4-FFF2-40B4-BE49-F238E27FC236}">
                        <a16:creationId xmlns:a16="http://schemas.microsoft.com/office/drawing/2014/main" id="{4A92999E-8D85-CC3F-E538-C93E66BBECC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4" name="Grafik 36">
                    <a:extLst>
                      <a:ext uri="{FF2B5EF4-FFF2-40B4-BE49-F238E27FC236}">
                        <a16:creationId xmlns:a16="http://schemas.microsoft.com/office/drawing/2014/main" id="{998D6E2B-5AA7-F7E7-4E08-0ABE3F6F84F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5" name="Grafik 36">
                    <a:extLst>
                      <a:ext uri="{FF2B5EF4-FFF2-40B4-BE49-F238E27FC236}">
                        <a16:creationId xmlns:a16="http://schemas.microsoft.com/office/drawing/2014/main" id="{A7A4B305-FA03-4DA5-78D1-1287D106155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cxnSp>
        <p:nvCxnSpPr>
          <p:cNvPr id="594" name="Straight Connector 593">
            <a:extLst>
              <a:ext uri="{FF2B5EF4-FFF2-40B4-BE49-F238E27FC236}">
                <a16:creationId xmlns:a16="http://schemas.microsoft.com/office/drawing/2014/main" id="{D5D91236-C061-AB90-B12B-514297167FBA}"/>
              </a:ext>
            </a:extLst>
          </p:cNvPr>
          <p:cNvCxnSpPr>
            <a:cxnSpLocks/>
          </p:cNvCxnSpPr>
          <p:nvPr/>
        </p:nvCxnSpPr>
        <p:spPr>
          <a:xfrm>
            <a:off x="6616197" y="3978019"/>
            <a:ext cx="1353430" cy="0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5" name="Straight Connector 594">
            <a:extLst>
              <a:ext uri="{FF2B5EF4-FFF2-40B4-BE49-F238E27FC236}">
                <a16:creationId xmlns:a16="http://schemas.microsoft.com/office/drawing/2014/main" id="{752AE8CF-397B-9573-C627-4FE916C95320}"/>
              </a:ext>
            </a:extLst>
          </p:cNvPr>
          <p:cNvCxnSpPr>
            <a:cxnSpLocks/>
          </p:cNvCxnSpPr>
          <p:nvPr/>
        </p:nvCxnSpPr>
        <p:spPr>
          <a:xfrm>
            <a:off x="6404571" y="4163033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6" name="Straight Connector 595">
            <a:extLst>
              <a:ext uri="{FF2B5EF4-FFF2-40B4-BE49-F238E27FC236}">
                <a16:creationId xmlns:a16="http://schemas.microsoft.com/office/drawing/2014/main" id="{EB6EC0A2-DF1E-6BCC-6F72-ECF557FF65BD}"/>
              </a:ext>
            </a:extLst>
          </p:cNvPr>
          <p:cNvCxnSpPr>
            <a:cxnSpLocks/>
          </p:cNvCxnSpPr>
          <p:nvPr/>
        </p:nvCxnSpPr>
        <p:spPr>
          <a:xfrm flipV="1">
            <a:off x="7450153" y="4164974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7" name="Straight Connector 596">
            <a:extLst>
              <a:ext uri="{FF2B5EF4-FFF2-40B4-BE49-F238E27FC236}">
                <a16:creationId xmlns:a16="http://schemas.microsoft.com/office/drawing/2014/main" id="{5D7E4354-858E-EBAD-4CAB-040D21372EA1}"/>
              </a:ext>
            </a:extLst>
          </p:cNvPr>
          <p:cNvCxnSpPr>
            <a:cxnSpLocks/>
          </p:cNvCxnSpPr>
          <p:nvPr/>
        </p:nvCxnSpPr>
        <p:spPr>
          <a:xfrm flipV="1">
            <a:off x="6411769" y="2929361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8" name="Straight Connector 597">
            <a:extLst>
              <a:ext uri="{FF2B5EF4-FFF2-40B4-BE49-F238E27FC236}">
                <a16:creationId xmlns:a16="http://schemas.microsoft.com/office/drawing/2014/main" id="{036EA21F-F1E5-1575-7D5E-CB817227D365}"/>
              </a:ext>
            </a:extLst>
          </p:cNvPr>
          <p:cNvCxnSpPr>
            <a:cxnSpLocks/>
          </p:cNvCxnSpPr>
          <p:nvPr/>
        </p:nvCxnSpPr>
        <p:spPr>
          <a:xfrm>
            <a:off x="7459613" y="2924523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0" name="Straight Connector 599">
            <a:extLst>
              <a:ext uri="{FF2B5EF4-FFF2-40B4-BE49-F238E27FC236}">
                <a16:creationId xmlns:a16="http://schemas.microsoft.com/office/drawing/2014/main" id="{C36AAACE-3C40-F712-0C9A-9A7CB7E98570}"/>
              </a:ext>
            </a:extLst>
          </p:cNvPr>
          <p:cNvCxnSpPr>
            <a:cxnSpLocks/>
          </p:cNvCxnSpPr>
          <p:nvPr/>
        </p:nvCxnSpPr>
        <p:spPr>
          <a:xfrm>
            <a:off x="7255459" y="3070822"/>
            <a:ext cx="22491" cy="1748546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5" name="Rectangle: Rounded Corners 604">
            <a:extLst>
              <a:ext uri="{FF2B5EF4-FFF2-40B4-BE49-F238E27FC236}">
                <a16:creationId xmlns:a16="http://schemas.microsoft.com/office/drawing/2014/main" id="{C29E85A1-A2FF-0AB6-24BD-A5FA5D17809C}"/>
              </a:ext>
            </a:extLst>
          </p:cNvPr>
          <p:cNvSpPr/>
          <p:nvPr/>
        </p:nvSpPr>
        <p:spPr>
          <a:xfrm>
            <a:off x="5880908" y="1816330"/>
            <a:ext cx="4799533" cy="451019"/>
          </a:xfrm>
          <a:custGeom>
            <a:avLst/>
            <a:gdLst>
              <a:gd name="connsiteX0" fmla="*/ 0 w 4799533"/>
              <a:gd name="connsiteY0" fmla="*/ 75171 h 451019"/>
              <a:gd name="connsiteX1" fmla="*/ 75171 w 4799533"/>
              <a:gd name="connsiteY1" fmla="*/ 0 h 451019"/>
              <a:gd name="connsiteX2" fmla="*/ 692849 w 4799533"/>
              <a:gd name="connsiteY2" fmla="*/ 0 h 451019"/>
              <a:gd name="connsiteX3" fmla="*/ 1310527 w 4799533"/>
              <a:gd name="connsiteY3" fmla="*/ 0 h 451019"/>
              <a:gd name="connsiteX4" fmla="*/ 1881714 w 4799533"/>
              <a:gd name="connsiteY4" fmla="*/ 0 h 451019"/>
              <a:gd name="connsiteX5" fmla="*/ 2406408 w 4799533"/>
              <a:gd name="connsiteY5" fmla="*/ 0 h 451019"/>
              <a:gd name="connsiteX6" fmla="*/ 3024086 w 4799533"/>
              <a:gd name="connsiteY6" fmla="*/ 0 h 451019"/>
              <a:gd name="connsiteX7" fmla="*/ 3641765 w 4799533"/>
              <a:gd name="connsiteY7" fmla="*/ 0 h 451019"/>
              <a:gd name="connsiteX8" fmla="*/ 4724362 w 4799533"/>
              <a:gd name="connsiteY8" fmla="*/ 0 h 451019"/>
              <a:gd name="connsiteX9" fmla="*/ 4799533 w 4799533"/>
              <a:gd name="connsiteY9" fmla="*/ 75171 h 451019"/>
              <a:gd name="connsiteX10" fmla="*/ 4799533 w 4799533"/>
              <a:gd name="connsiteY10" fmla="*/ 375848 h 451019"/>
              <a:gd name="connsiteX11" fmla="*/ 4724362 w 4799533"/>
              <a:gd name="connsiteY11" fmla="*/ 451019 h 451019"/>
              <a:gd name="connsiteX12" fmla="*/ 3967208 w 4799533"/>
              <a:gd name="connsiteY12" fmla="*/ 451019 h 451019"/>
              <a:gd name="connsiteX13" fmla="*/ 3349530 w 4799533"/>
              <a:gd name="connsiteY13" fmla="*/ 451019 h 451019"/>
              <a:gd name="connsiteX14" fmla="*/ 2778343 w 4799533"/>
              <a:gd name="connsiteY14" fmla="*/ 451019 h 451019"/>
              <a:gd name="connsiteX15" fmla="*/ 2253649 w 4799533"/>
              <a:gd name="connsiteY15" fmla="*/ 451019 h 451019"/>
              <a:gd name="connsiteX16" fmla="*/ 1496495 w 4799533"/>
              <a:gd name="connsiteY16" fmla="*/ 451019 h 451019"/>
              <a:gd name="connsiteX17" fmla="*/ 785833 w 4799533"/>
              <a:gd name="connsiteY17" fmla="*/ 451019 h 451019"/>
              <a:gd name="connsiteX18" fmla="*/ 75171 w 4799533"/>
              <a:gd name="connsiteY18" fmla="*/ 451019 h 451019"/>
              <a:gd name="connsiteX19" fmla="*/ 0 w 4799533"/>
              <a:gd name="connsiteY19" fmla="*/ 375848 h 451019"/>
              <a:gd name="connsiteX20" fmla="*/ 0 w 4799533"/>
              <a:gd name="connsiteY20" fmla="*/ 75171 h 451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799533" h="451019" extrusionOk="0">
                <a:moveTo>
                  <a:pt x="0" y="75171"/>
                </a:moveTo>
                <a:cubicBezTo>
                  <a:pt x="8196" y="39141"/>
                  <a:pt x="26684" y="2509"/>
                  <a:pt x="75171" y="0"/>
                </a:cubicBezTo>
                <a:cubicBezTo>
                  <a:pt x="238305" y="1119"/>
                  <a:pt x="477588" y="-6405"/>
                  <a:pt x="692849" y="0"/>
                </a:cubicBezTo>
                <a:cubicBezTo>
                  <a:pt x="908110" y="6405"/>
                  <a:pt x="1107576" y="5797"/>
                  <a:pt x="1310527" y="0"/>
                </a:cubicBezTo>
                <a:cubicBezTo>
                  <a:pt x="1513478" y="-5797"/>
                  <a:pt x="1674427" y="-27817"/>
                  <a:pt x="1881714" y="0"/>
                </a:cubicBezTo>
                <a:cubicBezTo>
                  <a:pt x="2089001" y="27817"/>
                  <a:pt x="2297632" y="26203"/>
                  <a:pt x="2406408" y="0"/>
                </a:cubicBezTo>
                <a:cubicBezTo>
                  <a:pt x="2515184" y="-26203"/>
                  <a:pt x="2818843" y="-19447"/>
                  <a:pt x="3024086" y="0"/>
                </a:cubicBezTo>
                <a:cubicBezTo>
                  <a:pt x="3229329" y="19447"/>
                  <a:pt x="3411472" y="9837"/>
                  <a:pt x="3641765" y="0"/>
                </a:cubicBezTo>
                <a:cubicBezTo>
                  <a:pt x="3872058" y="-9837"/>
                  <a:pt x="4502559" y="-50765"/>
                  <a:pt x="4724362" y="0"/>
                </a:cubicBezTo>
                <a:cubicBezTo>
                  <a:pt x="4760015" y="-7709"/>
                  <a:pt x="4797946" y="23909"/>
                  <a:pt x="4799533" y="75171"/>
                </a:cubicBezTo>
                <a:cubicBezTo>
                  <a:pt x="4804935" y="164638"/>
                  <a:pt x="4799059" y="301472"/>
                  <a:pt x="4799533" y="375848"/>
                </a:cubicBezTo>
                <a:cubicBezTo>
                  <a:pt x="4798240" y="422320"/>
                  <a:pt x="4760151" y="449822"/>
                  <a:pt x="4724362" y="451019"/>
                </a:cubicBezTo>
                <a:cubicBezTo>
                  <a:pt x="4518749" y="437294"/>
                  <a:pt x="4207042" y="419084"/>
                  <a:pt x="3967208" y="451019"/>
                </a:cubicBezTo>
                <a:cubicBezTo>
                  <a:pt x="3727374" y="482954"/>
                  <a:pt x="3532602" y="430438"/>
                  <a:pt x="3349530" y="451019"/>
                </a:cubicBezTo>
                <a:cubicBezTo>
                  <a:pt x="3166458" y="471600"/>
                  <a:pt x="2973146" y="470546"/>
                  <a:pt x="2778343" y="451019"/>
                </a:cubicBezTo>
                <a:cubicBezTo>
                  <a:pt x="2583540" y="431492"/>
                  <a:pt x="2472498" y="441321"/>
                  <a:pt x="2253649" y="451019"/>
                </a:cubicBezTo>
                <a:cubicBezTo>
                  <a:pt x="2034800" y="460717"/>
                  <a:pt x="1866457" y="436615"/>
                  <a:pt x="1496495" y="451019"/>
                </a:cubicBezTo>
                <a:cubicBezTo>
                  <a:pt x="1126533" y="465423"/>
                  <a:pt x="1068631" y="440755"/>
                  <a:pt x="785833" y="451019"/>
                </a:cubicBezTo>
                <a:cubicBezTo>
                  <a:pt x="503035" y="461283"/>
                  <a:pt x="348748" y="416528"/>
                  <a:pt x="75171" y="451019"/>
                </a:cubicBezTo>
                <a:cubicBezTo>
                  <a:pt x="38493" y="450270"/>
                  <a:pt x="3511" y="419835"/>
                  <a:pt x="0" y="375848"/>
                </a:cubicBezTo>
                <a:cubicBezTo>
                  <a:pt x="616" y="230040"/>
                  <a:pt x="-4540" y="214613"/>
                  <a:pt x="0" y="75171"/>
                </a:cubicBezTo>
                <a:close/>
              </a:path>
            </a:pathLst>
          </a:custGeom>
          <a:noFill/>
          <a:ln w="3175">
            <a:solidFill>
              <a:schemeClr val="tx2">
                <a:lumMod val="60000"/>
                <a:lumOff val="40000"/>
              </a:schemeClr>
            </a:solidFill>
            <a:extLst>
              <a:ext uri="{C807C97D-BFC1-408E-A445-0C87EB9F89A2}">
                <ask:lineSketchStyleProps xmlns:ask="http://schemas.microsoft.com/office/drawing/2018/sketchyshapes" sd="1545093656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dirty="0">
                <a:solidFill>
                  <a:schemeClr val="accent2">
                    <a:lumMod val="75000"/>
                  </a:schemeClr>
                </a:solidFill>
              </a:rPr>
              <a:t>Application Layer</a:t>
            </a:r>
          </a:p>
        </p:txBody>
      </p:sp>
      <p:sp>
        <p:nvSpPr>
          <p:cNvPr id="606" name="Rectangle: Rounded Corners 605">
            <a:extLst>
              <a:ext uri="{FF2B5EF4-FFF2-40B4-BE49-F238E27FC236}">
                <a16:creationId xmlns:a16="http://schemas.microsoft.com/office/drawing/2014/main" id="{6837C27C-9F35-1578-C2E8-E196D8AA5C8F}"/>
              </a:ext>
            </a:extLst>
          </p:cNvPr>
          <p:cNvSpPr/>
          <p:nvPr/>
        </p:nvSpPr>
        <p:spPr>
          <a:xfrm>
            <a:off x="5880908" y="2601436"/>
            <a:ext cx="4799534" cy="526218"/>
          </a:xfrm>
          <a:custGeom>
            <a:avLst/>
            <a:gdLst>
              <a:gd name="connsiteX0" fmla="*/ 0 w 4799534"/>
              <a:gd name="connsiteY0" fmla="*/ 87705 h 526218"/>
              <a:gd name="connsiteX1" fmla="*/ 87705 w 4799534"/>
              <a:gd name="connsiteY1" fmla="*/ 0 h 526218"/>
              <a:gd name="connsiteX2" fmla="*/ 655812 w 4799534"/>
              <a:gd name="connsiteY2" fmla="*/ 0 h 526218"/>
              <a:gd name="connsiteX3" fmla="*/ 1223918 w 4799534"/>
              <a:gd name="connsiteY3" fmla="*/ 0 h 526218"/>
              <a:gd name="connsiteX4" fmla="*/ 1745784 w 4799534"/>
              <a:gd name="connsiteY4" fmla="*/ 0 h 526218"/>
              <a:gd name="connsiteX5" fmla="*/ 2313890 w 4799534"/>
              <a:gd name="connsiteY5" fmla="*/ 0 h 526218"/>
              <a:gd name="connsiteX6" fmla="*/ 2928238 w 4799534"/>
              <a:gd name="connsiteY6" fmla="*/ 0 h 526218"/>
              <a:gd name="connsiteX7" fmla="*/ 3681310 w 4799534"/>
              <a:gd name="connsiteY7" fmla="*/ 0 h 526218"/>
              <a:gd name="connsiteX8" fmla="*/ 4711829 w 4799534"/>
              <a:gd name="connsiteY8" fmla="*/ 0 h 526218"/>
              <a:gd name="connsiteX9" fmla="*/ 4799534 w 4799534"/>
              <a:gd name="connsiteY9" fmla="*/ 87705 h 526218"/>
              <a:gd name="connsiteX10" fmla="*/ 4799534 w 4799534"/>
              <a:gd name="connsiteY10" fmla="*/ 438513 h 526218"/>
              <a:gd name="connsiteX11" fmla="*/ 4711829 w 4799534"/>
              <a:gd name="connsiteY11" fmla="*/ 526218 h 526218"/>
              <a:gd name="connsiteX12" fmla="*/ 4143722 w 4799534"/>
              <a:gd name="connsiteY12" fmla="*/ 526218 h 526218"/>
              <a:gd name="connsiteX13" fmla="*/ 3483133 w 4799534"/>
              <a:gd name="connsiteY13" fmla="*/ 526218 h 526218"/>
              <a:gd name="connsiteX14" fmla="*/ 2961268 w 4799534"/>
              <a:gd name="connsiteY14" fmla="*/ 526218 h 526218"/>
              <a:gd name="connsiteX15" fmla="*/ 2208196 w 4799534"/>
              <a:gd name="connsiteY15" fmla="*/ 526218 h 526218"/>
              <a:gd name="connsiteX16" fmla="*/ 1455125 w 4799534"/>
              <a:gd name="connsiteY16" fmla="*/ 526218 h 526218"/>
              <a:gd name="connsiteX17" fmla="*/ 887018 w 4799534"/>
              <a:gd name="connsiteY17" fmla="*/ 526218 h 526218"/>
              <a:gd name="connsiteX18" fmla="*/ 87705 w 4799534"/>
              <a:gd name="connsiteY18" fmla="*/ 526218 h 526218"/>
              <a:gd name="connsiteX19" fmla="*/ 0 w 4799534"/>
              <a:gd name="connsiteY19" fmla="*/ 438513 h 526218"/>
              <a:gd name="connsiteX20" fmla="*/ 0 w 4799534"/>
              <a:gd name="connsiteY20" fmla="*/ 87705 h 5262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799534" h="526218" extrusionOk="0">
                <a:moveTo>
                  <a:pt x="0" y="87705"/>
                </a:moveTo>
                <a:cubicBezTo>
                  <a:pt x="-9078" y="38895"/>
                  <a:pt x="47037" y="-4302"/>
                  <a:pt x="87705" y="0"/>
                </a:cubicBezTo>
                <a:cubicBezTo>
                  <a:pt x="339729" y="-15566"/>
                  <a:pt x="449255" y="-26977"/>
                  <a:pt x="655812" y="0"/>
                </a:cubicBezTo>
                <a:cubicBezTo>
                  <a:pt x="862369" y="26977"/>
                  <a:pt x="1050708" y="-13277"/>
                  <a:pt x="1223918" y="0"/>
                </a:cubicBezTo>
                <a:cubicBezTo>
                  <a:pt x="1397128" y="13277"/>
                  <a:pt x="1580133" y="13450"/>
                  <a:pt x="1745784" y="0"/>
                </a:cubicBezTo>
                <a:cubicBezTo>
                  <a:pt x="1911435" y="-13450"/>
                  <a:pt x="2147865" y="19655"/>
                  <a:pt x="2313890" y="0"/>
                </a:cubicBezTo>
                <a:cubicBezTo>
                  <a:pt x="2479915" y="-19655"/>
                  <a:pt x="2674594" y="-5617"/>
                  <a:pt x="2928238" y="0"/>
                </a:cubicBezTo>
                <a:cubicBezTo>
                  <a:pt x="3181882" y="5617"/>
                  <a:pt x="3347015" y="15612"/>
                  <a:pt x="3681310" y="0"/>
                </a:cubicBezTo>
                <a:cubicBezTo>
                  <a:pt x="4015605" y="-15612"/>
                  <a:pt x="4482884" y="-10142"/>
                  <a:pt x="4711829" y="0"/>
                </a:cubicBezTo>
                <a:cubicBezTo>
                  <a:pt x="4758111" y="-10941"/>
                  <a:pt x="4806967" y="33028"/>
                  <a:pt x="4799534" y="87705"/>
                </a:cubicBezTo>
                <a:cubicBezTo>
                  <a:pt x="4810491" y="233727"/>
                  <a:pt x="4783413" y="268141"/>
                  <a:pt x="4799534" y="438513"/>
                </a:cubicBezTo>
                <a:cubicBezTo>
                  <a:pt x="4799380" y="498469"/>
                  <a:pt x="4763789" y="523392"/>
                  <a:pt x="4711829" y="526218"/>
                </a:cubicBezTo>
                <a:cubicBezTo>
                  <a:pt x="4560489" y="512266"/>
                  <a:pt x="4340259" y="502207"/>
                  <a:pt x="4143722" y="526218"/>
                </a:cubicBezTo>
                <a:cubicBezTo>
                  <a:pt x="3947185" y="550229"/>
                  <a:pt x="3676595" y="528864"/>
                  <a:pt x="3483133" y="526218"/>
                </a:cubicBezTo>
                <a:cubicBezTo>
                  <a:pt x="3289671" y="523572"/>
                  <a:pt x="3204054" y="510656"/>
                  <a:pt x="2961268" y="526218"/>
                </a:cubicBezTo>
                <a:cubicBezTo>
                  <a:pt x="2718482" y="541780"/>
                  <a:pt x="2504199" y="551414"/>
                  <a:pt x="2208196" y="526218"/>
                </a:cubicBezTo>
                <a:cubicBezTo>
                  <a:pt x="1912193" y="501022"/>
                  <a:pt x="1668070" y="496365"/>
                  <a:pt x="1455125" y="526218"/>
                </a:cubicBezTo>
                <a:cubicBezTo>
                  <a:pt x="1242180" y="556071"/>
                  <a:pt x="1058683" y="520417"/>
                  <a:pt x="887018" y="526218"/>
                </a:cubicBezTo>
                <a:cubicBezTo>
                  <a:pt x="715353" y="532019"/>
                  <a:pt x="323798" y="513758"/>
                  <a:pt x="87705" y="526218"/>
                </a:cubicBezTo>
                <a:cubicBezTo>
                  <a:pt x="31351" y="533639"/>
                  <a:pt x="1952" y="485280"/>
                  <a:pt x="0" y="438513"/>
                </a:cubicBezTo>
                <a:cubicBezTo>
                  <a:pt x="-9508" y="303019"/>
                  <a:pt x="-13767" y="192803"/>
                  <a:pt x="0" y="87705"/>
                </a:cubicBezTo>
                <a:close/>
              </a:path>
            </a:pathLst>
          </a:custGeom>
          <a:noFill/>
          <a:ln w="3175">
            <a:solidFill>
              <a:schemeClr val="tx2">
                <a:lumMod val="60000"/>
                <a:lumOff val="40000"/>
              </a:schemeClr>
            </a:solidFill>
            <a:extLst>
              <a:ext uri="{C807C97D-BFC1-408E-A445-0C87EB9F89A2}">
                <ask:lineSketchStyleProps xmlns:ask="http://schemas.microsoft.com/office/drawing/2018/sketchyshapes" sd="1668284656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dirty="0">
                <a:solidFill>
                  <a:schemeClr val="accent2">
                    <a:lumMod val="75000"/>
                  </a:schemeClr>
                </a:solidFill>
              </a:rPr>
              <a:t>Control Layer</a:t>
            </a:r>
          </a:p>
        </p:txBody>
      </p:sp>
      <p:sp>
        <p:nvSpPr>
          <p:cNvPr id="607" name="Rectangle: Rounded Corners 606">
            <a:extLst>
              <a:ext uri="{FF2B5EF4-FFF2-40B4-BE49-F238E27FC236}">
                <a16:creationId xmlns:a16="http://schemas.microsoft.com/office/drawing/2014/main" id="{12628999-2513-691D-80AD-98ED70124D81}"/>
              </a:ext>
            </a:extLst>
          </p:cNvPr>
          <p:cNvSpPr/>
          <p:nvPr/>
        </p:nvSpPr>
        <p:spPr>
          <a:xfrm>
            <a:off x="5880908" y="3652519"/>
            <a:ext cx="4799533" cy="1653489"/>
          </a:xfrm>
          <a:custGeom>
            <a:avLst/>
            <a:gdLst>
              <a:gd name="connsiteX0" fmla="*/ 0 w 4799533"/>
              <a:gd name="connsiteY0" fmla="*/ 275587 h 1653489"/>
              <a:gd name="connsiteX1" fmla="*/ 275587 w 4799533"/>
              <a:gd name="connsiteY1" fmla="*/ 0 h 1653489"/>
              <a:gd name="connsiteX2" fmla="*/ 882495 w 4799533"/>
              <a:gd name="connsiteY2" fmla="*/ 0 h 1653489"/>
              <a:gd name="connsiteX3" fmla="*/ 1361953 w 4799533"/>
              <a:gd name="connsiteY3" fmla="*/ 0 h 1653489"/>
              <a:gd name="connsiteX4" fmla="*/ 1968862 w 4799533"/>
              <a:gd name="connsiteY4" fmla="*/ 0 h 1653489"/>
              <a:gd name="connsiteX5" fmla="*/ 2448319 w 4799533"/>
              <a:gd name="connsiteY5" fmla="*/ 0 h 1653489"/>
              <a:gd name="connsiteX6" fmla="*/ 2970260 w 4799533"/>
              <a:gd name="connsiteY6" fmla="*/ 0 h 1653489"/>
              <a:gd name="connsiteX7" fmla="*/ 3534685 w 4799533"/>
              <a:gd name="connsiteY7" fmla="*/ 0 h 1653489"/>
              <a:gd name="connsiteX8" fmla="*/ 4523946 w 4799533"/>
              <a:gd name="connsiteY8" fmla="*/ 0 h 1653489"/>
              <a:gd name="connsiteX9" fmla="*/ 4799533 w 4799533"/>
              <a:gd name="connsiteY9" fmla="*/ 275587 h 1653489"/>
              <a:gd name="connsiteX10" fmla="*/ 4799533 w 4799533"/>
              <a:gd name="connsiteY10" fmla="*/ 826745 h 1653489"/>
              <a:gd name="connsiteX11" fmla="*/ 4799533 w 4799533"/>
              <a:gd name="connsiteY11" fmla="*/ 1377902 h 1653489"/>
              <a:gd name="connsiteX12" fmla="*/ 4523946 w 4799533"/>
              <a:gd name="connsiteY12" fmla="*/ 1653489 h 1653489"/>
              <a:gd name="connsiteX13" fmla="*/ 3959521 w 4799533"/>
              <a:gd name="connsiteY13" fmla="*/ 1653489 h 1653489"/>
              <a:gd name="connsiteX14" fmla="*/ 3267646 w 4799533"/>
              <a:gd name="connsiteY14" fmla="*/ 1653489 h 1653489"/>
              <a:gd name="connsiteX15" fmla="*/ 2788188 w 4799533"/>
              <a:gd name="connsiteY15" fmla="*/ 1653489 h 1653489"/>
              <a:gd name="connsiteX16" fmla="*/ 2223763 w 4799533"/>
              <a:gd name="connsiteY16" fmla="*/ 1653489 h 1653489"/>
              <a:gd name="connsiteX17" fmla="*/ 1701822 w 4799533"/>
              <a:gd name="connsiteY17" fmla="*/ 1653489 h 1653489"/>
              <a:gd name="connsiteX18" fmla="*/ 1052430 w 4799533"/>
              <a:gd name="connsiteY18" fmla="*/ 1653489 h 1653489"/>
              <a:gd name="connsiteX19" fmla="*/ 275587 w 4799533"/>
              <a:gd name="connsiteY19" fmla="*/ 1653489 h 1653489"/>
              <a:gd name="connsiteX20" fmla="*/ 0 w 4799533"/>
              <a:gd name="connsiteY20" fmla="*/ 1377902 h 1653489"/>
              <a:gd name="connsiteX21" fmla="*/ 0 w 4799533"/>
              <a:gd name="connsiteY21" fmla="*/ 804698 h 1653489"/>
              <a:gd name="connsiteX22" fmla="*/ 0 w 4799533"/>
              <a:gd name="connsiteY22" fmla="*/ 275587 h 1653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4799533" h="1653489" extrusionOk="0">
                <a:moveTo>
                  <a:pt x="0" y="275587"/>
                </a:moveTo>
                <a:cubicBezTo>
                  <a:pt x="10417" y="107515"/>
                  <a:pt x="128764" y="-2787"/>
                  <a:pt x="275587" y="0"/>
                </a:cubicBezTo>
                <a:cubicBezTo>
                  <a:pt x="430298" y="2701"/>
                  <a:pt x="702968" y="16820"/>
                  <a:pt x="882495" y="0"/>
                </a:cubicBezTo>
                <a:cubicBezTo>
                  <a:pt x="1062022" y="-16820"/>
                  <a:pt x="1139873" y="-22987"/>
                  <a:pt x="1361953" y="0"/>
                </a:cubicBezTo>
                <a:cubicBezTo>
                  <a:pt x="1584033" y="22987"/>
                  <a:pt x="1667905" y="27636"/>
                  <a:pt x="1968862" y="0"/>
                </a:cubicBezTo>
                <a:cubicBezTo>
                  <a:pt x="2269819" y="-27636"/>
                  <a:pt x="2317829" y="-14612"/>
                  <a:pt x="2448319" y="0"/>
                </a:cubicBezTo>
                <a:cubicBezTo>
                  <a:pt x="2578809" y="14612"/>
                  <a:pt x="2863621" y="-14939"/>
                  <a:pt x="2970260" y="0"/>
                </a:cubicBezTo>
                <a:cubicBezTo>
                  <a:pt x="3076899" y="14939"/>
                  <a:pt x="3395997" y="25205"/>
                  <a:pt x="3534685" y="0"/>
                </a:cubicBezTo>
                <a:cubicBezTo>
                  <a:pt x="3673373" y="-25205"/>
                  <a:pt x="4076871" y="-36055"/>
                  <a:pt x="4523946" y="0"/>
                </a:cubicBezTo>
                <a:cubicBezTo>
                  <a:pt x="4686354" y="2339"/>
                  <a:pt x="4792618" y="123545"/>
                  <a:pt x="4799533" y="275587"/>
                </a:cubicBezTo>
                <a:cubicBezTo>
                  <a:pt x="4779331" y="458012"/>
                  <a:pt x="4794558" y="673234"/>
                  <a:pt x="4799533" y="826745"/>
                </a:cubicBezTo>
                <a:cubicBezTo>
                  <a:pt x="4804508" y="980256"/>
                  <a:pt x="4815709" y="1185335"/>
                  <a:pt x="4799533" y="1377902"/>
                </a:cubicBezTo>
                <a:cubicBezTo>
                  <a:pt x="4781841" y="1513493"/>
                  <a:pt x="4708108" y="1655325"/>
                  <a:pt x="4523946" y="1653489"/>
                </a:cubicBezTo>
                <a:cubicBezTo>
                  <a:pt x="4375981" y="1655155"/>
                  <a:pt x="4180478" y="1660135"/>
                  <a:pt x="3959521" y="1653489"/>
                </a:cubicBezTo>
                <a:cubicBezTo>
                  <a:pt x="3738565" y="1646843"/>
                  <a:pt x="3467247" y="1649249"/>
                  <a:pt x="3267646" y="1653489"/>
                </a:cubicBezTo>
                <a:cubicBezTo>
                  <a:pt x="3068046" y="1657729"/>
                  <a:pt x="2970111" y="1633288"/>
                  <a:pt x="2788188" y="1653489"/>
                </a:cubicBezTo>
                <a:cubicBezTo>
                  <a:pt x="2606265" y="1673690"/>
                  <a:pt x="2404409" y="1625807"/>
                  <a:pt x="2223763" y="1653489"/>
                </a:cubicBezTo>
                <a:cubicBezTo>
                  <a:pt x="2043117" y="1681171"/>
                  <a:pt x="1949628" y="1645749"/>
                  <a:pt x="1701822" y="1653489"/>
                </a:cubicBezTo>
                <a:cubicBezTo>
                  <a:pt x="1454016" y="1661229"/>
                  <a:pt x="1351353" y="1667016"/>
                  <a:pt x="1052430" y="1653489"/>
                </a:cubicBezTo>
                <a:cubicBezTo>
                  <a:pt x="753507" y="1639962"/>
                  <a:pt x="540658" y="1615138"/>
                  <a:pt x="275587" y="1653489"/>
                </a:cubicBezTo>
                <a:cubicBezTo>
                  <a:pt x="119121" y="1650688"/>
                  <a:pt x="-12023" y="1534079"/>
                  <a:pt x="0" y="1377902"/>
                </a:cubicBezTo>
                <a:cubicBezTo>
                  <a:pt x="-14852" y="1182167"/>
                  <a:pt x="-19274" y="1078604"/>
                  <a:pt x="0" y="804698"/>
                </a:cubicBezTo>
                <a:cubicBezTo>
                  <a:pt x="19274" y="530792"/>
                  <a:pt x="24641" y="436388"/>
                  <a:pt x="0" y="275587"/>
                </a:cubicBezTo>
                <a:close/>
              </a:path>
            </a:pathLst>
          </a:custGeom>
          <a:noFill/>
          <a:ln w="3175">
            <a:solidFill>
              <a:schemeClr val="tx2">
                <a:lumMod val="60000"/>
                <a:lumOff val="40000"/>
              </a:schemeClr>
            </a:solidFill>
            <a:extLst>
              <a:ext uri="{C807C97D-BFC1-408E-A445-0C87EB9F89A2}">
                <ask:lineSketchStyleProps xmlns:ask="http://schemas.microsoft.com/office/drawing/2018/sketchyshapes" sd="4173492146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dirty="0">
                <a:solidFill>
                  <a:schemeClr val="accent2">
                    <a:lumMod val="75000"/>
                  </a:schemeClr>
                </a:solidFill>
              </a:rPr>
              <a:t>Infrastructure Layer</a:t>
            </a:r>
          </a:p>
        </p:txBody>
      </p:sp>
      <p:sp>
        <p:nvSpPr>
          <p:cNvPr id="772" name="TextBox 771">
            <a:extLst>
              <a:ext uri="{FF2B5EF4-FFF2-40B4-BE49-F238E27FC236}">
                <a16:creationId xmlns:a16="http://schemas.microsoft.com/office/drawing/2014/main" id="{DC3DF3E5-05C0-C1C3-6D71-718D29EEE19B}"/>
              </a:ext>
            </a:extLst>
          </p:cNvPr>
          <p:cNvSpPr txBox="1"/>
          <p:nvPr/>
        </p:nvSpPr>
        <p:spPr>
          <a:xfrm>
            <a:off x="6219209" y="5344233"/>
            <a:ext cx="2215664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1">
                    <a:lumMod val="75000"/>
                  </a:schemeClr>
                </a:solidFill>
              </a:rPr>
              <a:t>Software-defined Network (centralised control)</a:t>
            </a:r>
          </a:p>
        </p:txBody>
      </p:sp>
      <p:sp>
        <p:nvSpPr>
          <p:cNvPr id="773" name="TextBox 772">
            <a:extLst>
              <a:ext uri="{FF2B5EF4-FFF2-40B4-BE49-F238E27FC236}">
                <a16:creationId xmlns:a16="http://schemas.microsoft.com/office/drawing/2014/main" id="{BC9AAB25-1092-38C4-BB33-9F08105F5E1F}"/>
              </a:ext>
            </a:extLst>
          </p:cNvPr>
          <p:cNvSpPr txBox="1"/>
          <p:nvPr/>
        </p:nvSpPr>
        <p:spPr>
          <a:xfrm>
            <a:off x="3371225" y="5344233"/>
            <a:ext cx="2215664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1">
                    <a:lumMod val="75000"/>
                  </a:schemeClr>
                </a:solidFill>
              </a:rPr>
              <a:t>Traditional Network (distributed control)</a:t>
            </a:r>
          </a:p>
        </p:txBody>
      </p:sp>
      <p:grpSp>
        <p:nvGrpSpPr>
          <p:cNvPr id="774" name="Group 773">
            <a:extLst>
              <a:ext uri="{FF2B5EF4-FFF2-40B4-BE49-F238E27FC236}">
                <a16:creationId xmlns:a16="http://schemas.microsoft.com/office/drawing/2014/main" id="{53D72196-6A60-B004-00F3-8D7F905B6271}"/>
              </a:ext>
            </a:extLst>
          </p:cNvPr>
          <p:cNvGrpSpPr/>
          <p:nvPr/>
        </p:nvGrpSpPr>
        <p:grpSpPr>
          <a:xfrm>
            <a:off x="7055318" y="1860678"/>
            <a:ext cx="422772" cy="337909"/>
            <a:chOff x="2292350" y="3827463"/>
            <a:chExt cx="500062" cy="406400"/>
          </a:xfrm>
          <a:solidFill>
            <a:schemeClr val="accent1">
              <a:lumMod val="75000"/>
            </a:schemeClr>
          </a:solidFill>
        </p:grpSpPr>
        <p:sp>
          <p:nvSpPr>
            <p:cNvPr id="775" name="Freeform 195">
              <a:extLst>
                <a:ext uri="{FF2B5EF4-FFF2-40B4-BE49-F238E27FC236}">
                  <a16:creationId xmlns:a16="http://schemas.microsoft.com/office/drawing/2014/main" id="{953BE852-81F2-2888-7121-1C97E5DD9E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2350" y="3827463"/>
              <a:ext cx="500062" cy="406400"/>
            </a:xfrm>
            <a:custGeom>
              <a:avLst/>
              <a:gdLst>
                <a:gd name="T0" fmla="*/ 0 w 133"/>
                <a:gd name="T1" fmla="*/ 100 h 108"/>
                <a:gd name="T2" fmla="*/ 8 w 133"/>
                <a:gd name="T3" fmla="*/ 108 h 108"/>
                <a:gd name="T4" fmla="*/ 125 w 133"/>
                <a:gd name="T5" fmla="*/ 108 h 108"/>
                <a:gd name="T6" fmla="*/ 133 w 133"/>
                <a:gd name="T7" fmla="*/ 100 h 108"/>
                <a:gd name="T8" fmla="*/ 133 w 133"/>
                <a:gd name="T9" fmla="*/ 9 h 108"/>
                <a:gd name="T10" fmla="*/ 125 w 133"/>
                <a:gd name="T11" fmla="*/ 0 h 108"/>
                <a:gd name="T12" fmla="*/ 8 w 133"/>
                <a:gd name="T13" fmla="*/ 0 h 108"/>
                <a:gd name="T14" fmla="*/ 5 w 133"/>
                <a:gd name="T15" fmla="*/ 1 h 108"/>
                <a:gd name="T16" fmla="*/ 0 w 133"/>
                <a:gd name="T17" fmla="*/ 9 h 108"/>
                <a:gd name="T18" fmla="*/ 0 w 133"/>
                <a:gd name="T19" fmla="*/ 22 h 108"/>
                <a:gd name="T20" fmla="*/ 0 w 133"/>
                <a:gd name="T21" fmla="*/ 22 h 108"/>
                <a:gd name="T22" fmla="*/ 0 w 133"/>
                <a:gd name="T23" fmla="*/ 100 h 108"/>
                <a:gd name="T24" fmla="*/ 3 w 133"/>
                <a:gd name="T25" fmla="*/ 9 h 108"/>
                <a:gd name="T26" fmla="*/ 6 w 133"/>
                <a:gd name="T27" fmla="*/ 5 h 108"/>
                <a:gd name="T28" fmla="*/ 8 w 133"/>
                <a:gd name="T29" fmla="*/ 4 h 108"/>
                <a:gd name="T30" fmla="*/ 125 w 133"/>
                <a:gd name="T31" fmla="*/ 4 h 108"/>
                <a:gd name="T32" fmla="*/ 129 w 133"/>
                <a:gd name="T33" fmla="*/ 9 h 108"/>
                <a:gd name="T34" fmla="*/ 129 w 133"/>
                <a:gd name="T35" fmla="*/ 20 h 108"/>
                <a:gd name="T36" fmla="*/ 3 w 133"/>
                <a:gd name="T37" fmla="*/ 20 h 108"/>
                <a:gd name="T38" fmla="*/ 3 w 133"/>
                <a:gd name="T39" fmla="*/ 9 h 108"/>
                <a:gd name="T40" fmla="*/ 3 w 133"/>
                <a:gd name="T41" fmla="*/ 24 h 108"/>
                <a:gd name="T42" fmla="*/ 129 w 133"/>
                <a:gd name="T43" fmla="*/ 24 h 108"/>
                <a:gd name="T44" fmla="*/ 129 w 133"/>
                <a:gd name="T45" fmla="*/ 100 h 108"/>
                <a:gd name="T46" fmla="*/ 125 w 133"/>
                <a:gd name="T47" fmla="*/ 104 h 108"/>
                <a:gd name="T48" fmla="*/ 8 w 133"/>
                <a:gd name="T49" fmla="*/ 104 h 108"/>
                <a:gd name="T50" fmla="*/ 3 w 133"/>
                <a:gd name="T51" fmla="*/ 100 h 108"/>
                <a:gd name="T52" fmla="*/ 3 w 133"/>
                <a:gd name="T53" fmla="*/ 2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3" h="108">
                  <a:moveTo>
                    <a:pt x="0" y="100"/>
                  </a:moveTo>
                  <a:cubicBezTo>
                    <a:pt x="0" y="105"/>
                    <a:pt x="3" y="108"/>
                    <a:pt x="8" y="108"/>
                  </a:cubicBezTo>
                  <a:cubicBezTo>
                    <a:pt x="125" y="108"/>
                    <a:pt x="125" y="108"/>
                    <a:pt x="125" y="108"/>
                  </a:cubicBezTo>
                  <a:cubicBezTo>
                    <a:pt x="129" y="108"/>
                    <a:pt x="133" y="105"/>
                    <a:pt x="133" y="100"/>
                  </a:cubicBezTo>
                  <a:cubicBezTo>
                    <a:pt x="133" y="9"/>
                    <a:pt x="133" y="9"/>
                    <a:pt x="133" y="9"/>
                  </a:cubicBezTo>
                  <a:cubicBezTo>
                    <a:pt x="133" y="4"/>
                    <a:pt x="129" y="0"/>
                    <a:pt x="12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2" y="2"/>
                    <a:pt x="0" y="5"/>
                    <a:pt x="0" y="9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0" y="100"/>
                  </a:lnTo>
                  <a:close/>
                  <a:moveTo>
                    <a:pt x="3" y="9"/>
                  </a:moveTo>
                  <a:cubicBezTo>
                    <a:pt x="3" y="7"/>
                    <a:pt x="5" y="5"/>
                    <a:pt x="6" y="5"/>
                  </a:cubicBezTo>
                  <a:cubicBezTo>
                    <a:pt x="7" y="4"/>
                    <a:pt x="7" y="4"/>
                    <a:pt x="8" y="4"/>
                  </a:cubicBezTo>
                  <a:cubicBezTo>
                    <a:pt x="125" y="4"/>
                    <a:pt x="125" y="4"/>
                    <a:pt x="125" y="4"/>
                  </a:cubicBezTo>
                  <a:cubicBezTo>
                    <a:pt x="127" y="4"/>
                    <a:pt x="129" y="6"/>
                    <a:pt x="129" y="9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3" y="20"/>
                    <a:pt x="3" y="20"/>
                    <a:pt x="3" y="20"/>
                  </a:cubicBezTo>
                  <a:lnTo>
                    <a:pt x="3" y="9"/>
                  </a:lnTo>
                  <a:close/>
                  <a:moveTo>
                    <a:pt x="3" y="24"/>
                  </a:moveTo>
                  <a:cubicBezTo>
                    <a:pt x="129" y="24"/>
                    <a:pt x="129" y="24"/>
                    <a:pt x="129" y="24"/>
                  </a:cubicBezTo>
                  <a:cubicBezTo>
                    <a:pt x="129" y="100"/>
                    <a:pt x="129" y="100"/>
                    <a:pt x="129" y="100"/>
                  </a:cubicBezTo>
                  <a:cubicBezTo>
                    <a:pt x="129" y="102"/>
                    <a:pt x="127" y="104"/>
                    <a:pt x="125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6" y="104"/>
                    <a:pt x="3" y="102"/>
                    <a:pt x="3" y="100"/>
                  </a:cubicBezTo>
                  <a:lnTo>
                    <a:pt x="3" y="24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76" name="Freeform 196">
              <a:extLst>
                <a:ext uri="{FF2B5EF4-FFF2-40B4-BE49-F238E27FC236}">
                  <a16:creationId xmlns:a16="http://schemas.microsoft.com/office/drawing/2014/main" id="{677258FF-F61E-8D86-61CD-7A6C4545F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8863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77" name="Freeform 197">
              <a:extLst>
                <a:ext uri="{FF2B5EF4-FFF2-40B4-BE49-F238E27FC236}">
                  <a16:creationId xmlns:a16="http://schemas.microsoft.com/office/drawing/2014/main" id="{7A2B8BE0-1FED-155E-A221-431AA15F9E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188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78" name="Freeform 198">
              <a:extLst>
                <a:ext uri="{FF2B5EF4-FFF2-40B4-BE49-F238E27FC236}">
                  <a16:creationId xmlns:a16="http://schemas.microsoft.com/office/drawing/2014/main" id="{EC528BE9-26F9-E590-7CC0-CF5C0DEC03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9025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79" name="Freeform 199">
              <a:extLst>
                <a:ext uri="{FF2B5EF4-FFF2-40B4-BE49-F238E27FC236}">
                  <a16:creationId xmlns:a16="http://schemas.microsoft.com/office/drawing/2014/main" id="{7DB44A42-EEF3-B2DB-38EE-8150785118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3000" y="4033838"/>
              <a:ext cx="104775" cy="106363"/>
            </a:xfrm>
            <a:custGeom>
              <a:avLst/>
              <a:gdLst>
                <a:gd name="T0" fmla="*/ 12 w 28"/>
                <a:gd name="T1" fmla="*/ 27 h 28"/>
                <a:gd name="T2" fmla="*/ 13 w 28"/>
                <a:gd name="T3" fmla="*/ 28 h 28"/>
                <a:gd name="T4" fmla="*/ 21 w 28"/>
                <a:gd name="T5" fmla="*/ 25 h 28"/>
                <a:gd name="T6" fmla="*/ 23 w 28"/>
                <a:gd name="T7" fmla="*/ 7 h 28"/>
                <a:gd name="T8" fmla="*/ 5 w 28"/>
                <a:gd name="T9" fmla="*/ 5 h 28"/>
                <a:gd name="T10" fmla="*/ 0 w 28"/>
                <a:gd name="T11" fmla="*/ 13 h 28"/>
                <a:gd name="T12" fmla="*/ 3 w 28"/>
                <a:gd name="T13" fmla="*/ 23 h 28"/>
                <a:gd name="T14" fmla="*/ 12 w 28"/>
                <a:gd name="T15" fmla="*/ 27 h 28"/>
                <a:gd name="T16" fmla="*/ 4 w 28"/>
                <a:gd name="T17" fmla="*/ 14 h 28"/>
                <a:gd name="T18" fmla="*/ 8 w 28"/>
                <a:gd name="T19" fmla="*/ 8 h 28"/>
                <a:gd name="T20" fmla="*/ 13 w 28"/>
                <a:gd name="T21" fmla="*/ 6 h 28"/>
                <a:gd name="T22" fmla="*/ 20 w 28"/>
                <a:gd name="T23" fmla="*/ 9 h 28"/>
                <a:gd name="T24" fmla="*/ 19 w 28"/>
                <a:gd name="T25" fmla="*/ 22 h 28"/>
                <a:gd name="T26" fmla="*/ 12 w 28"/>
                <a:gd name="T27" fmla="*/ 24 h 28"/>
                <a:gd name="T28" fmla="*/ 6 w 28"/>
                <a:gd name="T29" fmla="*/ 20 h 28"/>
                <a:gd name="T30" fmla="*/ 4 w 28"/>
                <a:gd name="T31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2" y="27"/>
                  </a:moveTo>
                  <a:cubicBezTo>
                    <a:pt x="12" y="28"/>
                    <a:pt x="13" y="28"/>
                    <a:pt x="13" y="28"/>
                  </a:cubicBezTo>
                  <a:cubicBezTo>
                    <a:pt x="16" y="28"/>
                    <a:pt x="19" y="27"/>
                    <a:pt x="21" y="25"/>
                  </a:cubicBezTo>
                  <a:cubicBezTo>
                    <a:pt x="27" y="20"/>
                    <a:pt x="28" y="12"/>
                    <a:pt x="23" y="7"/>
                  </a:cubicBezTo>
                  <a:cubicBezTo>
                    <a:pt x="19" y="1"/>
                    <a:pt x="11" y="0"/>
                    <a:pt x="5" y="5"/>
                  </a:cubicBezTo>
                  <a:cubicBezTo>
                    <a:pt x="2" y="7"/>
                    <a:pt x="1" y="10"/>
                    <a:pt x="0" y="13"/>
                  </a:cubicBezTo>
                  <a:cubicBezTo>
                    <a:pt x="0" y="17"/>
                    <a:pt x="1" y="20"/>
                    <a:pt x="3" y="23"/>
                  </a:cubicBezTo>
                  <a:cubicBezTo>
                    <a:pt x="5" y="25"/>
                    <a:pt x="8" y="27"/>
                    <a:pt x="12" y="27"/>
                  </a:cubicBezTo>
                  <a:close/>
                  <a:moveTo>
                    <a:pt x="4" y="14"/>
                  </a:moveTo>
                  <a:cubicBezTo>
                    <a:pt x="5" y="11"/>
                    <a:pt x="6" y="9"/>
                    <a:pt x="8" y="8"/>
                  </a:cubicBezTo>
                  <a:cubicBezTo>
                    <a:pt x="9" y="7"/>
                    <a:pt x="11" y="6"/>
                    <a:pt x="13" y="6"/>
                  </a:cubicBezTo>
                  <a:cubicBezTo>
                    <a:pt x="16" y="6"/>
                    <a:pt x="18" y="7"/>
                    <a:pt x="20" y="9"/>
                  </a:cubicBezTo>
                  <a:cubicBezTo>
                    <a:pt x="23" y="13"/>
                    <a:pt x="22" y="19"/>
                    <a:pt x="19" y="22"/>
                  </a:cubicBezTo>
                  <a:cubicBezTo>
                    <a:pt x="17" y="23"/>
                    <a:pt x="14" y="24"/>
                    <a:pt x="12" y="24"/>
                  </a:cubicBezTo>
                  <a:cubicBezTo>
                    <a:pt x="10" y="23"/>
                    <a:pt x="8" y="22"/>
                    <a:pt x="6" y="20"/>
                  </a:cubicBezTo>
                  <a:cubicBezTo>
                    <a:pt x="5" y="18"/>
                    <a:pt x="4" y="16"/>
                    <a:pt x="4" y="14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80" name="Freeform 200">
              <a:extLst>
                <a:ext uri="{FF2B5EF4-FFF2-40B4-BE49-F238E27FC236}">
                  <a16:creationId xmlns:a16="http://schemas.microsoft.com/office/drawing/2014/main" id="{4A8B44C8-61C9-2143-B64A-260C23438D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9025" y="3989388"/>
              <a:ext cx="204787" cy="203200"/>
            </a:xfrm>
            <a:custGeom>
              <a:avLst/>
              <a:gdLst>
                <a:gd name="T0" fmla="*/ 7 w 54"/>
                <a:gd name="T1" fmla="*/ 34 h 54"/>
                <a:gd name="T2" fmla="*/ 7 w 54"/>
                <a:gd name="T3" fmla="*/ 45 h 54"/>
                <a:gd name="T4" fmla="*/ 15 w 54"/>
                <a:gd name="T5" fmla="*/ 44 h 54"/>
                <a:gd name="T6" fmla="*/ 19 w 54"/>
                <a:gd name="T7" fmla="*/ 51 h 54"/>
                <a:gd name="T8" fmla="*/ 26 w 54"/>
                <a:gd name="T9" fmla="*/ 54 h 54"/>
                <a:gd name="T10" fmla="*/ 35 w 54"/>
                <a:gd name="T11" fmla="*/ 46 h 54"/>
                <a:gd name="T12" fmla="*/ 43 w 54"/>
                <a:gd name="T13" fmla="*/ 49 h 54"/>
                <a:gd name="T14" fmla="*/ 46 w 54"/>
                <a:gd name="T15" fmla="*/ 40 h 54"/>
                <a:gd name="T16" fmla="*/ 48 w 54"/>
                <a:gd name="T17" fmla="*/ 35 h 54"/>
                <a:gd name="T18" fmla="*/ 54 w 54"/>
                <a:gd name="T19" fmla="*/ 28 h 54"/>
                <a:gd name="T20" fmla="*/ 48 w 54"/>
                <a:gd name="T21" fmla="*/ 23 h 54"/>
                <a:gd name="T22" fmla="*/ 49 w 54"/>
                <a:gd name="T23" fmla="*/ 11 h 54"/>
                <a:gd name="T24" fmla="*/ 40 w 54"/>
                <a:gd name="T25" fmla="*/ 8 h 54"/>
                <a:gd name="T26" fmla="*/ 36 w 54"/>
                <a:gd name="T27" fmla="*/ 6 h 54"/>
                <a:gd name="T28" fmla="*/ 23 w 54"/>
                <a:gd name="T29" fmla="*/ 4 h 54"/>
                <a:gd name="T30" fmla="*/ 18 w 54"/>
                <a:gd name="T31" fmla="*/ 6 h 54"/>
                <a:gd name="T32" fmla="*/ 9 w 54"/>
                <a:gd name="T33" fmla="*/ 7 h 54"/>
                <a:gd name="T34" fmla="*/ 8 w 54"/>
                <a:gd name="T35" fmla="*/ 18 h 54"/>
                <a:gd name="T36" fmla="*/ 0 w 54"/>
                <a:gd name="T37" fmla="*/ 25 h 54"/>
                <a:gd name="T38" fmla="*/ 6 w 54"/>
                <a:gd name="T39" fmla="*/ 22 h 54"/>
                <a:gd name="T40" fmla="*/ 13 w 54"/>
                <a:gd name="T41" fmla="*/ 16 h 54"/>
                <a:gd name="T42" fmla="*/ 12 w 54"/>
                <a:gd name="T43" fmla="*/ 10 h 54"/>
                <a:gd name="T44" fmla="*/ 15 w 54"/>
                <a:gd name="T45" fmla="*/ 8 h 54"/>
                <a:gd name="T46" fmla="*/ 25 w 54"/>
                <a:gd name="T47" fmla="*/ 10 h 54"/>
                <a:gd name="T48" fmla="*/ 28 w 54"/>
                <a:gd name="T49" fmla="*/ 4 h 54"/>
                <a:gd name="T50" fmla="*/ 32 w 54"/>
                <a:gd name="T51" fmla="*/ 8 h 54"/>
                <a:gd name="T52" fmla="*/ 40 w 54"/>
                <a:gd name="T53" fmla="*/ 13 h 54"/>
                <a:gd name="T54" fmla="*/ 43 w 54"/>
                <a:gd name="T55" fmla="*/ 11 h 54"/>
                <a:gd name="T56" fmla="*/ 46 w 54"/>
                <a:gd name="T57" fmla="*/ 15 h 54"/>
                <a:gd name="T58" fmla="*/ 44 w 54"/>
                <a:gd name="T59" fmla="*/ 25 h 54"/>
                <a:gd name="T60" fmla="*/ 50 w 54"/>
                <a:gd name="T61" fmla="*/ 27 h 54"/>
                <a:gd name="T62" fmla="*/ 49 w 54"/>
                <a:gd name="T63" fmla="*/ 31 h 54"/>
                <a:gd name="T64" fmla="*/ 43 w 54"/>
                <a:gd name="T65" fmla="*/ 33 h 54"/>
                <a:gd name="T66" fmla="*/ 43 w 54"/>
                <a:gd name="T67" fmla="*/ 42 h 54"/>
                <a:gd name="T68" fmla="*/ 40 w 54"/>
                <a:gd name="T69" fmla="*/ 45 h 54"/>
                <a:gd name="T70" fmla="*/ 37 w 54"/>
                <a:gd name="T71" fmla="*/ 43 h 54"/>
                <a:gd name="T72" fmla="*/ 28 w 54"/>
                <a:gd name="T73" fmla="*/ 46 h 54"/>
                <a:gd name="T74" fmla="*/ 23 w 54"/>
                <a:gd name="T75" fmla="*/ 49 h 54"/>
                <a:gd name="T76" fmla="*/ 23 w 54"/>
                <a:gd name="T77" fmla="*/ 45 h 54"/>
                <a:gd name="T78" fmla="*/ 15 w 54"/>
                <a:gd name="T79" fmla="*/ 40 h 54"/>
                <a:gd name="T80" fmla="*/ 11 w 54"/>
                <a:gd name="T81" fmla="*/ 43 h 54"/>
                <a:gd name="T82" fmla="*/ 9 w 54"/>
                <a:gd name="T83" fmla="*/ 39 h 54"/>
                <a:gd name="T84" fmla="*/ 10 w 54"/>
                <a:gd name="T85" fmla="*/ 29 h 54"/>
                <a:gd name="T86" fmla="*/ 4 w 54"/>
                <a:gd name="T87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" h="54">
                  <a:moveTo>
                    <a:pt x="5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4" y="37"/>
                    <a:pt x="4" y="40"/>
                    <a:pt x="5" y="42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8" y="46"/>
                    <a:pt x="9" y="46"/>
                    <a:pt x="10" y="47"/>
                  </a:cubicBezTo>
                  <a:cubicBezTo>
                    <a:pt x="12" y="47"/>
                    <a:pt x="13" y="46"/>
                    <a:pt x="14" y="45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6" y="45"/>
                    <a:pt x="17" y="46"/>
                    <a:pt x="19" y="46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9"/>
                    <a:pt x="19" y="50"/>
                    <a:pt x="19" y="51"/>
                  </a:cubicBezTo>
                  <a:cubicBezTo>
                    <a:pt x="20" y="52"/>
                    <a:pt x="21" y="53"/>
                    <a:pt x="23" y="53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9" y="54"/>
                    <a:pt x="31" y="52"/>
                    <a:pt x="31" y="49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2" y="47"/>
                    <a:pt x="34" y="47"/>
                    <a:pt x="35" y="46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9"/>
                    <a:pt x="38" y="49"/>
                    <a:pt x="39" y="50"/>
                  </a:cubicBezTo>
                  <a:cubicBezTo>
                    <a:pt x="40" y="50"/>
                    <a:pt x="42" y="49"/>
                    <a:pt x="43" y="49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6"/>
                    <a:pt x="47" y="45"/>
                    <a:pt x="47" y="43"/>
                  </a:cubicBezTo>
                  <a:cubicBezTo>
                    <a:pt x="47" y="42"/>
                    <a:pt x="47" y="41"/>
                    <a:pt x="46" y="40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7"/>
                    <a:pt x="46" y="36"/>
                    <a:pt x="46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9" y="36"/>
                    <a:pt x="51" y="35"/>
                    <a:pt x="52" y="34"/>
                  </a:cubicBezTo>
                  <a:cubicBezTo>
                    <a:pt x="53" y="34"/>
                    <a:pt x="53" y="32"/>
                    <a:pt x="54" y="31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7"/>
                    <a:pt x="54" y="26"/>
                    <a:pt x="53" y="25"/>
                  </a:cubicBezTo>
                  <a:cubicBezTo>
                    <a:pt x="52" y="23"/>
                    <a:pt x="51" y="23"/>
                    <a:pt x="49" y="23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8" y="21"/>
                    <a:pt x="47" y="20"/>
                    <a:pt x="47" y="19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50" y="16"/>
                    <a:pt x="51" y="13"/>
                    <a:pt x="49" y="11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6" y="8"/>
                    <a:pt x="45" y="7"/>
                    <a:pt x="44" y="7"/>
                  </a:cubicBezTo>
                  <a:cubicBezTo>
                    <a:pt x="42" y="7"/>
                    <a:pt x="41" y="7"/>
                    <a:pt x="40" y="8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8"/>
                    <a:pt x="37" y="8"/>
                    <a:pt x="36" y="7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4" y="1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6" y="0"/>
                    <a:pt x="23" y="2"/>
                    <a:pt x="23" y="4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6"/>
                    <a:pt x="21" y="7"/>
                    <a:pt x="19" y="7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5"/>
                    <a:pt x="16" y="4"/>
                    <a:pt x="15" y="4"/>
                  </a:cubicBezTo>
                  <a:cubicBezTo>
                    <a:pt x="14" y="4"/>
                    <a:pt x="12" y="4"/>
                    <a:pt x="11" y="5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7" y="8"/>
                    <a:pt x="7" y="12"/>
                    <a:pt x="8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6"/>
                    <a:pt x="8" y="17"/>
                    <a:pt x="8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3" y="18"/>
                    <a:pt x="1" y="20"/>
                    <a:pt x="1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2" y="31"/>
                    <a:pt x="5" y="31"/>
                  </a:cubicBezTo>
                  <a:close/>
                  <a:moveTo>
                    <a:pt x="5" y="23"/>
                  </a:moveTo>
                  <a:cubicBezTo>
                    <a:pt x="5" y="22"/>
                    <a:pt x="5" y="22"/>
                    <a:pt x="6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0" y="22"/>
                    <a:pt x="11" y="22"/>
                    <a:pt x="11" y="21"/>
                  </a:cubicBezTo>
                  <a:cubicBezTo>
                    <a:pt x="11" y="19"/>
                    <a:pt x="12" y="18"/>
                    <a:pt x="13" y="16"/>
                  </a:cubicBezTo>
                  <a:cubicBezTo>
                    <a:pt x="14" y="15"/>
                    <a:pt x="14" y="14"/>
                    <a:pt x="13" y="14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0"/>
                    <a:pt x="12" y="10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1"/>
                    <a:pt x="19" y="12"/>
                    <a:pt x="20" y="11"/>
                  </a:cubicBezTo>
                  <a:cubicBezTo>
                    <a:pt x="21" y="10"/>
                    <a:pt x="23" y="10"/>
                    <a:pt x="25" y="10"/>
                  </a:cubicBezTo>
                  <a:cubicBezTo>
                    <a:pt x="26" y="10"/>
                    <a:pt x="27" y="9"/>
                    <a:pt x="27" y="8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4"/>
                    <a:pt x="28" y="4"/>
                    <a:pt x="28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4"/>
                    <a:pt x="32" y="5"/>
                    <a:pt x="32" y="5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1" y="9"/>
                    <a:pt x="32" y="10"/>
                    <a:pt x="33" y="11"/>
                  </a:cubicBezTo>
                  <a:cubicBezTo>
                    <a:pt x="35" y="11"/>
                    <a:pt x="36" y="12"/>
                    <a:pt x="38" y="13"/>
                  </a:cubicBezTo>
                  <a:cubicBezTo>
                    <a:pt x="38" y="14"/>
                    <a:pt x="39" y="14"/>
                    <a:pt x="40" y="13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4" y="11"/>
                    <a:pt x="44" y="1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5"/>
                    <a:pt x="46" y="15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2" y="18"/>
                    <a:pt x="42" y="19"/>
                    <a:pt x="43" y="19"/>
                  </a:cubicBezTo>
                  <a:cubicBezTo>
                    <a:pt x="43" y="21"/>
                    <a:pt x="44" y="23"/>
                    <a:pt x="44" y="25"/>
                  </a:cubicBezTo>
                  <a:cubicBezTo>
                    <a:pt x="44" y="25"/>
                    <a:pt x="45" y="26"/>
                    <a:pt x="46" y="26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8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49" y="31"/>
                    <a:pt x="49" y="31"/>
                  </a:cubicBezTo>
                  <a:cubicBezTo>
                    <a:pt x="49" y="31"/>
                    <a:pt x="49" y="32"/>
                    <a:pt x="49" y="32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5" y="31"/>
                    <a:pt x="44" y="32"/>
                    <a:pt x="43" y="33"/>
                  </a:cubicBezTo>
                  <a:cubicBezTo>
                    <a:pt x="43" y="34"/>
                    <a:pt x="42" y="36"/>
                    <a:pt x="41" y="37"/>
                  </a:cubicBezTo>
                  <a:cubicBezTo>
                    <a:pt x="40" y="38"/>
                    <a:pt x="40" y="39"/>
                    <a:pt x="41" y="40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3"/>
                    <a:pt x="43" y="43"/>
                  </a:cubicBezTo>
                  <a:cubicBezTo>
                    <a:pt x="43" y="43"/>
                    <a:pt x="43" y="43"/>
                    <a:pt x="43" y="44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39" y="46"/>
                    <a:pt x="39" y="46"/>
                    <a:pt x="39" y="45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6" y="42"/>
                    <a:pt x="35" y="42"/>
                    <a:pt x="34" y="42"/>
                  </a:cubicBezTo>
                  <a:cubicBezTo>
                    <a:pt x="33" y="43"/>
                    <a:pt x="31" y="44"/>
                    <a:pt x="29" y="44"/>
                  </a:cubicBezTo>
                  <a:cubicBezTo>
                    <a:pt x="28" y="44"/>
                    <a:pt x="28" y="45"/>
                    <a:pt x="28" y="46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2" y="49"/>
                    <a:pt x="22" y="49"/>
                    <a:pt x="22" y="48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2" y="43"/>
                    <a:pt x="21" y="43"/>
                  </a:cubicBezTo>
                  <a:cubicBezTo>
                    <a:pt x="20" y="42"/>
                    <a:pt x="18" y="41"/>
                    <a:pt x="17" y="40"/>
                  </a:cubicBezTo>
                  <a:cubicBezTo>
                    <a:pt x="16" y="40"/>
                    <a:pt x="16" y="40"/>
                    <a:pt x="15" y="40"/>
                  </a:cubicBezTo>
                  <a:cubicBezTo>
                    <a:pt x="15" y="40"/>
                    <a:pt x="14" y="40"/>
                    <a:pt x="14" y="40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3"/>
                    <a:pt x="10" y="43"/>
                    <a:pt x="10" y="4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39"/>
                    <a:pt x="9" y="39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2" y="36"/>
                    <a:pt x="12" y="35"/>
                    <a:pt x="12" y="34"/>
                  </a:cubicBezTo>
                  <a:cubicBezTo>
                    <a:pt x="11" y="32"/>
                    <a:pt x="10" y="31"/>
                    <a:pt x="10" y="29"/>
                  </a:cubicBezTo>
                  <a:cubicBezTo>
                    <a:pt x="10" y="28"/>
                    <a:pt x="9" y="27"/>
                    <a:pt x="8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lnTo>
                    <a:pt x="5" y="23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81" name="Freeform 201">
              <a:extLst>
                <a:ext uri="{FF2B5EF4-FFF2-40B4-BE49-F238E27FC236}">
                  <a16:creationId xmlns:a16="http://schemas.microsoft.com/office/drawing/2014/main" id="{AD83D872-9395-401A-F72A-2ADACB221A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3975" y="3992563"/>
              <a:ext cx="90487" cy="84138"/>
            </a:xfrm>
            <a:custGeom>
              <a:avLst/>
              <a:gdLst>
                <a:gd name="T0" fmla="*/ 7 w 24"/>
                <a:gd name="T1" fmla="*/ 21 h 22"/>
                <a:gd name="T2" fmla="*/ 12 w 24"/>
                <a:gd name="T3" fmla="*/ 22 h 22"/>
                <a:gd name="T4" fmla="*/ 15 w 24"/>
                <a:gd name="T5" fmla="*/ 22 h 22"/>
                <a:gd name="T6" fmla="*/ 21 w 24"/>
                <a:gd name="T7" fmla="*/ 17 h 22"/>
                <a:gd name="T8" fmla="*/ 17 w 24"/>
                <a:gd name="T9" fmla="*/ 2 h 22"/>
                <a:gd name="T10" fmla="*/ 3 w 24"/>
                <a:gd name="T11" fmla="*/ 7 h 22"/>
                <a:gd name="T12" fmla="*/ 7 w 24"/>
                <a:gd name="T13" fmla="*/ 21 h 22"/>
                <a:gd name="T14" fmla="*/ 6 w 24"/>
                <a:gd name="T15" fmla="*/ 9 h 22"/>
                <a:gd name="T16" fmla="*/ 12 w 24"/>
                <a:gd name="T17" fmla="*/ 5 h 22"/>
                <a:gd name="T18" fmla="*/ 15 w 24"/>
                <a:gd name="T19" fmla="*/ 6 h 22"/>
                <a:gd name="T20" fmla="*/ 18 w 24"/>
                <a:gd name="T21" fmla="*/ 15 h 22"/>
                <a:gd name="T22" fmla="*/ 14 w 24"/>
                <a:gd name="T23" fmla="*/ 18 h 22"/>
                <a:gd name="T24" fmla="*/ 9 w 24"/>
                <a:gd name="T25" fmla="*/ 18 h 22"/>
                <a:gd name="T26" fmla="*/ 6 w 24"/>
                <a:gd name="T27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22">
                  <a:moveTo>
                    <a:pt x="7" y="21"/>
                  </a:moveTo>
                  <a:cubicBezTo>
                    <a:pt x="8" y="22"/>
                    <a:pt x="10" y="22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ubicBezTo>
                    <a:pt x="18" y="21"/>
                    <a:pt x="20" y="19"/>
                    <a:pt x="21" y="17"/>
                  </a:cubicBezTo>
                  <a:cubicBezTo>
                    <a:pt x="24" y="12"/>
                    <a:pt x="22" y="5"/>
                    <a:pt x="17" y="2"/>
                  </a:cubicBezTo>
                  <a:cubicBezTo>
                    <a:pt x="12" y="0"/>
                    <a:pt x="5" y="2"/>
                    <a:pt x="3" y="7"/>
                  </a:cubicBezTo>
                  <a:cubicBezTo>
                    <a:pt x="0" y="12"/>
                    <a:pt x="2" y="18"/>
                    <a:pt x="7" y="21"/>
                  </a:cubicBezTo>
                  <a:close/>
                  <a:moveTo>
                    <a:pt x="6" y="9"/>
                  </a:moveTo>
                  <a:cubicBezTo>
                    <a:pt x="7" y="6"/>
                    <a:pt x="10" y="5"/>
                    <a:pt x="12" y="5"/>
                  </a:cubicBezTo>
                  <a:cubicBezTo>
                    <a:pt x="13" y="5"/>
                    <a:pt x="14" y="5"/>
                    <a:pt x="15" y="6"/>
                  </a:cubicBezTo>
                  <a:cubicBezTo>
                    <a:pt x="18" y="8"/>
                    <a:pt x="20" y="12"/>
                    <a:pt x="18" y="15"/>
                  </a:cubicBezTo>
                  <a:cubicBezTo>
                    <a:pt x="17" y="17"/>
                    <a:pt x="16" y="18"/>
                    <a:pt x="14" y="18"/>
                  </a:cubicBezTo>
                  <a:cubicBezTo>
                    <a:pt x="12" y="19"/>
                    <a:pt x="10" y="19"/>
                    <a:pt x="9" y="18"/>
                  </a:cubicBezTo>
                  <a:cubicBezTo>
                    <a:pt x="5" y="16"/>
                    <a:pt x="4" y="12"/>
                    <a:pt x="6" y="9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82" name="Freeform 202">
              <a:extLst>
                <a:ext uri="{FF2B5EF4-FFF2-40B4-BE49-F238E27FC236}">
                  <a16:creationId xmlns:a16="http://schemas.microsoft.com/office/drawing/2014/main" id="{117CDBAC-F4A6-2AB1-258D-104C09A05D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1113" y="3951288"/>
              <a:ext cx="174625" cy="169863"/>
            </a:xfrm>
            <a:custGeom>
              <a:avLst/>
              <a:gdLst>
                <a:gd name="T0" fmla="*/ 1 w 46"/>
                <a:gd name="T1" fmla="*/ 28 h 45"/>
                <a:gd name="T2" fmla="*/ 7 w 46"/>
                <a:gd name="T3" fmla="*/ 34 h 45"/>
                <a:gd name="T4" fmla="*/ 10 w 46"/>
                <a:gd name="T5" fmla="*/ 35 h 45"/>
                <a:gd name="T6" fmla="*/ 11 w 46"/>
                <a:gd name="T7" fmla="*/ 42 h 45"/>
                <a:gd name="T8" fmla="*/ 19 w 46"/>
                <a:gd name="T9" fmla="*/ 42 h 45"/>
                <a:gd name="T10" fmla="*/ 22 w 46"/>
                <a:gd name="T11" fmla="*/ 41 h 45"/>
                <a:gd name="T12" fmla="*/ 27 w 46"/>
                <a:gd name="T13" fmla="*/ 45 h 45"/>
                <a:gd name="T14" fmla="*/ 31 w 46"/>
                <a:gd name="T15" fmla="*/ 44 h 45"/>
                <a:gd name="T16" fmla="*/ 34 w 46"/>
                <a:gd name="T17" fmla="*/ 39 h 45"/>
                <a:gd name="T18" fmla="*/ 35 w 46"/>
                <a:gd name="T19" fmla="*/ 36 h 45"/>
                <a:gd name="T20" fmla="*/ 43 w 46"/>
                <a:gd name="T21" fmla="*/ 35 h 45"/>
                <a:gd name="T22" fmla="*/ 42 w 46"/>
                <a:gd name="T23" fmla="*/ 26 h 45"/>
                <a:gd name="T24" fmla="*/ 41 w 46"/>
                <a:gd name="T25" fmla="*/ 23 h 45"/>
                <a:gd name="T26" fmla="*/ 45 w 46"/>
                <a:gd name="T27" fmla="*/ 17 h 45"/>
                <a:gd name="T28" fmla="*/ 39 w 46"/>
                <a:gd name="T29" fmla="*/ 12 h 45"/>
                <a:gd name="T30" fmla="*/ 36 w 46"/>
                <a:gd name="T31" fmla="*/ 10 h 45"/>
                <a:gd name="T32" fmla="*/ 37 w 46"/>
                <a:gd name="T33" fmla="*/ 6 h 45"/>
                <a:gd name="T34" fmla="*/ 33 w 46"/>
                <a:gd name="T35" fmla="*/ 2 h 45"/>
                <a:gd name="T36" fmla="*/ 27 w 46"/>
                <a:gd name="T37" fmla="*/ 4 h 45"/>
                <a:gd name="T38" fmla="*/ 23 w 46"/>
                <a:gd name="T39" fmla="*/ 5 h 45"/>
                <a:gd name="T40" fmla="*/ 17 w 46"/>
                <a:gd name="T41" fmla="*/ 0 h 45"/>
                <a:gd name="T42" fmla="*/ 12 w 46"/>
                <a:gd name="T43" fmla="*/ 7 h 45"/>
                <a:gd name="T44" fmla="*/ 10 w 46"/>
                <a:gd name="T45" fmla="*/ 10 h 45"/>
                <a:gd name="T46" fmla="*/ 6 w 46"/>
                <a:gd name="T47" fmla="*/ 9 h 45"/>
                <a:gd name="T48" fmla="*/ 2 w 46"/>
                <a:gd name="T49" fmla="*/ 13 h 45"/>
                <a:gd name="T50" fmla="*/ 4 w 46"/>
                <a:gd name="T51" fmla="*/ 19 h 45"/>
                <a:gd name="T52" fmla="*/ 5 w 46"/>
                <a:gd name="T53" fmla="*/ 22 h 45"/>
                <a:gd name="T54" fmla="*/ 7 w 46"/>
                <a:gd name="T55" fmla="*/ 26 h 45"/>
                <a:gd name="T56" fmla="*/ 9 w 46"/>
                <a:gd name="T57" fmla="*/ 19 h 45"/>
                <a:gd name="T58" fmla="*/ 6 w 46"/>
                <a:gd name="T59" fmla="*/ 16 h 45"/>
                <a:gd name="T60" fmla="*/ 6 w 46"/>
                <a:gd name="T61" fmla="*/ 15 h 45"/>
                <a:gd name="T62" fmla="*/ 7 w 46"/>
                <a:gd name="T63" fmla="*/ 12 h 45"/>
                <a:gd name="T64" fmla="*/ 10 w 46"/>
                <a:gd name="T65" fmla="*/ 14 h 45"/>
                <a:gd name="T66" fmla="*/ 16 w 46"/>
                <a:gd name="T67" fmla="*/ 10 h 45"/>
                <a:gd name="T68" fmla="*/ 16 w 46"/>
                <a:gd name="T69" fmla="*/ 6 h 45"/>
                <a:gd name="T70" fmla="*/ 19 w 46"/>
                <a:gd name="T71" fmla="*/ 4 h 45"/>
                <a:gd name="T72" fmla="*/ 20 w 46"/>
                <a:gd name="T73" fmla="*/ 7 h 45"/>
                <a:gd name="T74" fmla="*/ 27 w 46"/>
                <a:gd name="T75" fmla="*/ 9 h 45"/>
                <a:gd name="T76" fmla="*/ 30 w 46"/>
                <a:gd name="T77" fmla="*/ 6 h 45"/>
                <a:gd name="T78" fmla="*/ 31 w 46"/>
                <a:gd name="T79" fmla="*/ 5 h 45"/>
                <a:gd name="T80" fmla="*/ 33 w 46"/>
                <a:gd name="T81" fmla="*/ 7 h 45"/>
                <a:gd name="T82" fmla="*/ 32 w 46"/>
                <a:gd name="T83" fmla="*/ 10 h 45"/>
                <a:gd name="T84" fmla="*/ 35 w 46"/>
                <a:gd name="T85" fmla="*/ 16 h 45"/>
                <a:gd name="T86" fmla="*/ 40 w 46"/>
                <a:gd name="T87" fmla="*/ 16 h 45"/>
                <a:gd name="T88" fmla="*/ 41 w 46"/>
                <a:gd name="T89" fmla="*/ 18 h 45"/>
                <a:gd name="T90" fmla="*/ 39 w 46"/>
                <a:gd name="T91" fmla="*/ 20 h 45"/>
                <a:gd name="T92" fmla="*/ 37 w 46"/>
                <a:gd name="T93" fmla="*/ 26 h 45"/>
                <a:gd name="T94" fmla="*/ 40 w 46"/>
                <a:gd name="T95" fmla="*/ 30 h 45"/>
                <a:gd name="T96" fmla="*/ 39 w 46"/>
                <a:gd name="T97" fmla="*/ 33 h 45"/>
                <a:gd name="T98" fmla="*/ 36 w 46"/>
                <a:gd name="T99" fmla="*/ 32 h 45"/>
                <a:gd name="T100" fmla="*/ 30 w 46"/>
                <a:gd name="T101" fmla="*/ 35 h 45"/>
                <a:gd name="T102" fmla="*/ 30 w 46"/>
                <a:gd name="T103" fmla="*/ 40 h 45"/>
                <a:gd name="T104" fmla="*/ 30 w 46"/>
                <a:gd name="T105" fmla="*/ 41 h 45"/>
                <a:gd name="T106" fmla="*/ 27 w 46"/>
                <a:gd name="T107" fmla="*/ 41 h 45"/>
                <a:gd name="T108" fmla="*/ 24 w 46"/>
                <a:gd name="T109" fmla="*/ 37 h 45"/>
                <a:gd name="T110" fmla="*/ 19 w 46"/>
                <a:gd name="T111" fmla="*/ 37 h 45"/>
                <a:gd name="T112" fmla="*/ 16 w 46"/>
                <a:gd name="T113" fmla="*/ 40 h 45"/>
                <a:gd name="T114" fmla="*/ 13 w 46"/>
                <a:gd name="T115" fmla="*/ 39 h 45"/>
                <a:gd name="T116" fmla="*/ 14 w 46"/>
                <a:gd name="T117" fmla="*/ 36 h 45"/>
                <a:gd name="T118" fmla="*/ 11 w 46"/>
                <a:gd name="T119" fmla="*/ 30 h 45"/>
                <a:gd name="T120" fmla="*/ 6 w 46"/>
                <a:gd name="T121" fmla="*/ 30 h 45"/>
                <a:gd name="T122" fmla="*/ 4 w 46"/>
                <a:gd name="T123" fmla="*/ 27 h 45"/>
                <a:gd name="T124" fmla="*/ 7 w 46"/>
                <a:gd name="T125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" h="45">
                  <a:moveTo>
                    <a:pt x="4" y="23"/>
                  </a:moveTo>
                  <a:cubicBezTo>
                    <a:pt x="1" y="23"/>
                    <a:pt x="0" y="26"/>
                    <a:pt x="1" y="28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2" y="33"/>
                    <a:pt x="5" y="34"/>
                    <a:pt x="7" y="3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9" y="34"/>
                    <a:pt x="9" y="35"/>
                    <a:pt x="10" y="35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8" y="39"/>
                    <a:pt x="9" y="41"/>
                    <a:pt x="11" y="42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5" y="45"/>
                    <a:pt x="18" y="44"/>
                    <a:pt x="19" y="42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1" y="41"/>
                    <a:pt x="22" y="41"/>
                    <a:pt x="22" y="41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3" y="44"/>
                    <a:pt x="25" y="45"/>
                    <a:pt x="27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2" y="44"/>
                    <a:pt x="33" y="43"/>
                    <a:pt x="33" y="42"/>
                  </a:cubicBezTo>
                  <a:cubicBezTo>
                    <a:pt x="34" y="41"/>
                    <a:pt x="34" y="40"/>
                    <a:pt x="34" y="39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37"/>
                    <a:pt x="35" y="37"/>
                    <a:pt x="35" y="36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9" y="38"/>
                    <a:pt x="41" y="37"/>
                    <a:pt x="43" y="35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5" y="30"/>
                    <a:pt x="44" y="28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5"/>
                    <a:pt x="41" y="24"/>
                    <a:pt x="41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5" y="22"/>
                    <a:pt x="46" y="20"/>
                    <a:pt x="45" y="17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4" y="13"/>
                    <a:pt x="41" y="11"/>
                    <a:pt x="39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7" y="12"/>
                    <a:pt x="37" y="11"/>
                    <a:pt x="36" y="10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8"/>
                    <a:pt x="37" y="7"/>
                    <a:pt x="37" y="6"/>
                  </a:cubicBezTo>
                  <a:cubicBezTo>
                    <a:pt x="37" y="5"/>
                    <a:pt x="36" y="4"/>
                    <a:pt x="35" y="3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1"/>
                    <a:pt x="30" y="1"/>
                    <a:pt x="29" y="2"/>
                  </a:cubicBezTo>
                  <a:cubicBezTo>
                    <a:pt x="28" y="2"/>
                    <a:pt x="27" y="3"/>
                    <a:pt x="27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5"/>
                    <a:pt x="24" y="5"/>
                    <a:pt x="23" y="5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2" y="1"/>
                    <a:pt x="20" y="0"/>
                    <a:pt x="17" y="0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3" y="2"/>
                    <a:pt x="11" y="4"/>
                    <a:pt x="12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8"/>
                    <a:pt x="7" y="8"/>
                    <a:pt x="6" y="9"/>
                  </a:cubicBezTo>
                  <a:cubicBezTo>
                    <a:pt x="5" y="9"/>
                    <a:pt x="4" y="10"/>
                    <a:pt x="3" y="11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4"/>
                    <a:pt x="1" y="15"/>
                    <a:pt x="2" y="16"/>
                  </a:cubicBezTo>
                  <a:cubicBezTo>
                    <a:pt x="2" y="18"/>
                    <a:pt x="3" y="19"/>
                    <a:pt x="4" y="1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5" y="21"/>
                    <a:pt x="5" y="22"/>
                  </a:cubicBezTo>
                  <a:lnTo>
                    <a:pt x="4" y="23"/>
                  </a:lnTo>
                  <a:close/>
                  <a:moveTo>
                    <a:pt x="7" y="26"/>
                  </a:moveTo>
                  <a:cubicBezTo>
                    <a:pt x="8" y="25"/>
                    <a:pt x="9" y="25"/>
                    <a:pt x="9" y="24"/>
                  </a:cubicBezTo>
                  <a:cubicBezTo>
                    <a:pt x="9" y="22"/>
                    <a:pt x="9" y="21"/>
                    <a:pt x="9" y="19"/>
                  </a:cubicBezTo>
                  <a:cubicBezTo>
                    <a:pt x="9" y="18"/>
                    <a:pt x="9" y="17"/>
                    <a:pt x="8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2"/>
                    <a:pt x="7" y="12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4"/>
                    <a:pt x="12" y="14"/>
                    <a:pt x="12" y="13"/>
                  </a:cubicBezTo>
                  <a:cubicBezTo>
                    <a:pt x="13" y="12"/>
                    <a:pt x="14" y="11"/>
                    <a:pt x="16" y="10"/>
                  </a:cubicBezTo>
                  <a:cubicBezTo>
                    <a:pt x="17" y="10"/>
                    <a:pt x="17" y="9"/>
                    <a:pt x="17" y="8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5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8"/>
                    <a:pt x="21" y="9"/>
                    <a:pt x="22" y="9"/>
                  </a:cubicBezTo>
                  <a:cubicBezTo>
                    <a:pt x="24" y="8"/>
                    <a:pt x="25" y="9"/>
                    <a:pt x="27" y="9"/>
                  </a:cubicBezTo>
                  <a:cubicBezTo>
                    <a:pt x="27" y="9"/>
                    <a:pt x="28" y="9"/>
                    <a:pt x="29" y="8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0" y="5"/>
                    <a:pt x="31" y="5"/>
                    <a:pt x="31" y="5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10"/>
                    <a:pt x="32" y="11"/>
                    <a:pt x="32" y="12"/>
                  </a:cubicBezTo>
                  <a:cubicBezTo>
                    <a:pt x="34" y="13"/>
                    <a:pt x="34" y="14"/>
                    <a:pt x="35" y="16"/>
                  </a:cubicBezTo>
                  <a:cubicBezTo>
                    <a:pt x="36" y="16"/>
                    <a:pt x="37" y="17"/>
                    <a:pt x="3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6"/>
                    <a:pt x="41" y="16"/>
                    <a:pt x="41" y="16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2" y="19"/>
                    <a:pt x="41" y="19"/>
                    <a:pt x="41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0"/>
                    <a:pt x="37" y="21"/>
                    <a:pt x="37" y="22"/>
                  </a:cubicBezTo>
                  <a:cubicBezTo>
                    <a:pt x="37" y="23"/>
                    <a:pt x="37" y="25"/>
                    <a:pt x="37" y="26"/>
                  </a:cubicBezTo>
                  <a:cubicBezTo>
                    <a:pt x="36" y="27"/>
                    <a:pt x="37" y="28"/>
                    <a:pt x="38" y="29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1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3"/>
                    <a:pt x="39" y="33"/>
                    <a:pt x="38" y="33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5" y="31"/>
                    <a:pt x="34" y="32"/>
                    <a:pt x="34" y="32"/>
                  </a:cubicBezTo>
                  <a:cubicBezTo>
                    <a:pt x="33" y="33"/>
                    <a:pt x="31" y="34"/>
                    <a:pt x="30" y="35"/>
                  </a:cubicBezTo>
                  <a:cubicBezTo>
                    <a:pt x="29" y="36"/>
                    <a:pt x="29" y="36"/>
                    <a:pt x="29" y="37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1"/>
                    <a:pt x="30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5" y="37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2" y="37"/>
                    <a:pt x="21" y="37"/>
                    <a:pt x="19" y="37"/>
                  </a:cubicBezTo>
                  <a:cubicBezTo>
                    <a:pt x="18" y="36"/>
                    <a:pt x="17" y="37"/>
                    <a:pt x="17" y="37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5" y="40"/>
                    <a:pt x="15" y="40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8"/>
                    <a:pt x="13" y="38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5"/>
                    <a:pt x="14" y="34"/>
                    <a:pt x="13" y="33"/>
                  </a:cubicBezTo>
                  <a:cubicBezTo>
                    <a:pt x="12" y="32"/>
                    <a:pt x="11" y="31"/>
                    <a:pt x="11" y="30"/>
                  </a:cubicBezTo>
                  <a:cubicBezTo>
                    <a:pt x="10" y="29"/>
                    <a:pt x="9" y="29"/>
                    <a:pt x="8" y="29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5" y="30"/>
                    <a:pt x="5" y="29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4" y="26"/>
                    <a:pt x="5" y="26"/>
                  </a:cubicBezTo>
                  <a:lnTo>
                    <a:pt x="7" y="26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</p:grpSp>
      <p:cxnSp>
        <p:nvCxnSpPr>
          <p:cNvPr id="783" name="Straight Connector 782">
            <a:extLst>
              <a:ext uri="{FF2B5EF4-FFF2-40B4-BE49-F238E27FC236}">
                <a16:creationId xmlns:a16="http://schemas.microsoft.com/office/drawing/2014/main" id="{FA04BAF7-1ACA-4AEE-D329-BD5586A968F7}"/>
              </a:ext>
            </a:extLst>
          </p:cNvPr>
          <p:cNvCxnSpPr>
            <a:cxnSpLocks/>
          </p:cNvCxnSpPr>
          <p:nvPr/>
        </p:nvCxnSpPr>
        <p:spPr>
          <a:xfrm>
            <a:off x="7251381" y="2198587"/>
            <a:ext cx="1270" cy="50610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8" name="Arc 787">
            <a:extLst>
              <a:ext uri="{FF2B5EF4-FFF2-40B4-BE49-F238E27FC236}">
                <a16:creationId xmlns:a16="http://schemas.microsoft.com/office/drawing/2014/main" id="{DAD0CCD8-FEE5-7FCB-8E77-3E92F0AAB04B}"/>
              </a:ext>
            </a:extLst>
          </p:cNvPr>
          <p:cNvSpPr/>
          <p:nvPr/>
        </p:nvSpPr>
        <p:spPr>
          <a:xfrm>
            <a:off x="4462041" y="2801073"/>
            <a:ext cx="888763" cy="1138897"/>
          </a:xfrm>
          <a:prstGeom prst="arc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cxnSp>
        <p:nvCxnSpPr>
          <p:cNvPr id="790" name="Straight Arrow Connector 789">
            <a:extLst>
              <a:ext uri="{FF2B5EF4-FFF2-40B4-BE49-F238E27FC236}">
                <a16:creationId xmlns:a16="http://schemas.microsoft.com/office/drawing/2014/main" id="{C4493A00-350C-1C45-3C7C-1DB830F4ED7E}"/>
              </a:ext>
            </a:extLst>
          </p:cNvPr>
          <p:cNvCxnSpPr>
            <a:cxnSpLocks/>
          </p:cNvCxnSpPr>
          <p:nvPr/>
        </p:nvCxnSpPr>
        <p:spPr>
          <a:xfrm>
            <a:off x="5347984" y="3359309"/>
            <a:ext cx="0" cy="627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3" name="TextBox 792">
            <a:extLst>
              <a:ext uri="{FF2B5EF4-FFF2-40B4-BE49-F238E27FC236}">
                <a16:creationId xmlns:a16="http://schemas.microsoft.com/office/drawing/2014/main" id="{5F660462-37FA-05E1-AF81-A7622B4315E1}"/>
              </a:ext>
            </a:extLst>
          </p:cNvPr>
          <p:cNvSpPr txBox="1"/>
          <p:nvPr/>
        </p:nvSpPr>
        <p:spPr>
          <a:xfrm>
            <a:off x="3446410" y="2443233"/>
            <a:ext cx="192000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Embedded controlling and forwarding device</a:t>
            </a:r>
          </a:p>
        </p:txBody>
      </p:sp>
      <p:sp>
        <p:nvSpPr>
          <p:cNvPr id="797" name="TextBox 796">
            <a:extLst>
              <a:ext uri="{FF2B5EF4-FFF2-40B4-BE49-F238E27FC236}">
                <a16:creationId xmlns:a16="http://schemas.microsoft.com/office/drawing/2014/main" id="{A6C423ED-1AA6-4592-2FA7-E37C6B8172CF}"/>
              </a:ext>
            </a:extLst>
          </p:cNvPr>
          <p:cNvSpPr txBox="1"/>
          <p:nvPr/>
        </p:nvSpPr>
        <p:spPr>
          <a:xfrm>
            <a:off x="7306629" y="2283956"/>
            <a:ext cx="1444215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accent1">
                    <a:lumMod val="75000"/>
                  </a:schemeClr>
                </a:solidFill>
              </a:rPr>
              <a:t>Northbound Interface </a:t>
            </a:r>
          </a:p>
        </p:txBody>
      </p:sp>
      <p:sp>
        <p:nvSpPr>
          <p:cNvPr id="798" name="TextBox 797">
            <a:extLst>
              <a:ext uri="{FF2B5EF4-FFF2-40B4-BE49-F238E27FC236}">
                <a16:creationId xmlns:a16="http://schemas.microsoft.com/office/drawing/2014/main" id="{0D6F3549-D9AF-2532-C4EE-07C73A3F4FD1}"/>
              </a:ext>
            </a:extLst>
          </p:cNvPr>
          <p:cNvSpPr txBox="1"/>
          <p:nvPr/>
        </p:nvSpPr>
        <p:spPr>
          <a:xfrm>
            <a:off x="7917194" y="3255397"/>
            <a:ext cx="1434276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accent1">
                    <a:lumMod val="75000"/>
                  </a:schemeClr>
                </a:solidFill>
              </a:rPr>
              <a:t>Southbound Interface</a:t>
            </a:r>
          </a:p>
        </p:txBody>
      </p:sp>
    </p:spTree>
    <p:extLst>
      <p:ext uri="{BB962C8B-B14F-4D97-AF65-F5344CB8AC3E}">
        <p14:creationId xmlns:p14="http://schemas.microsoft.com/office/powerpoint/2010/main" val="183985856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7180D7-B8F1-B52E-D501-55A9A007C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09" name="Grafik 36">
            <a:extLst>
              <a:ext uri="{FF2B5EF4-FFF2-40B4-BE49-F238E27FC236}">
                <a16:creationId xmlns:a16="http://schemas.microsoft.com/office/drawing/2014/main" id="{B36CE248-2FDC-926F-A540-75427B7425C2}"/>
              </a:ext>
            </a:extLst>
          </p:cNvPr>
          <p:cNvGrpSpPr/>
          <p:nvPr/>
        </p:nvGrpSpPr>
        <p:grpSpPr bwMode="gray">
          <a:xfrm>
            <a:off x="1796996" y="1779518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10" name="Grafik 36">
              <a:extLst>
                <a:ext uri="{FF2B5EF4-FFF2-40B4-BE49-F238E27FC236}">
                  <a16:creationId xmlns:a16="http://schemas.microsoft.com/office/drawing/2014/main" id="{47EEBEC7-8A13-B158-9D38-6739F66E6210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32" name="Grafik 36">
                <a:extLst>
                  <a:ext uri="{FF2B5EF4-FFF2-40B4-BE49-F238E27FC236}">
                    <a16:creationId xmlns:a16="http://schemas.microsoft.com/office/drawing/2014/main" id="{D7B8C09A-959A-4E4E-0C47-8DA8199D0BF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3" name="Grafik 36">
                <a:extLst>
                  <a:ext uri="{FF2B5EF4-FFF2-40B4-BE49-F238E27FC236}">
                    <a16:creationId xmlns:a16="http://schemas.microsoft.com/office/drawing/2014/main" id="{E5206A4E-1178-817B-5ADA-493449EBCF8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4" name="Grafik 36">
                <a:extLst>
                  <a:ext uri="{FF2B5EF4-FFF2-40B4-BE49-F238E27FC236}">
                    <a16:creationId xmlns:a16="http://schemas.microsoft.com/office/drawing/2014/main" id="{916DEC2C-5E43-6687-727C-690A5B1A4775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5" name="Grafik 36">
                <a:extLst>
                  <a:ext uri="{FF2B5EF4-FFF2-40B4-BE49-F238E27FC236}">
                    <a16:creationId xmlns:a16="http://schemas.microsoft.com/office/drawing/2014/main" id="{E75EB4B7-034A-702B-24E8-9C0A69B5132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6" name="Grafik 36">
                <a:extLst>
                  <a:ext uri="{FF2B5EF4-FFF2-40B4-BE49-F238E27FC236}">
                    <a16:creationId xmlns:a16="http://schemas.microsoft.com/office/drawing/2014/main" id="{8BBD5FE2-35FB-B67A-8398-E5C38526767D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11" name="Grafik 36">
              <a:extLst>
                <a:ext uri="{FF2B5EF4-FFF2-40B4-BE49-F238E27FC236}">
                  <a16:creationId xmlns:a16="http://schemas.microsoft.com/office/drawing/2014/main" id="{569D9EAA-7E2E-15E9-8540-858049EFB230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12" name="Grafik 36">
                <a:extLst>
                  <a:ext uri="{FF2B5EF4-FFF2-40B4-BE49-F238E27FC236}">
                    <a16:creationId xmlns:a16="http://schemas.microsoft.com/office/drawing/2014/main" id="{CB7DB215-3B8C-FE30-D00E-C9D2BF39167A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23" name="Grafik 36">
                  <a:extLst>
                    <a:ext uri="{FF2B5EF4-FFF2-40B4-BE49-F238E27FC236}">
                      <a16:creationId xmlns:a16="http://schemas.microsoft.com/office/drawing/2014/main" id="{6F452E90-59D5-0FDD-C08A-13B16A2C3888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29" name="Grafik 36">
                    <a:extLst>
                      <a:ext uri="{FF2B5EF4-FFF2-40B4-BE49-F238E27FC236}">
                        <a16:creationId xmlns:a16="http://schemas.microsoft.com/office/drawing/2014/main" id="{5DD29359-F620-C2A4-152F-CBE712A4065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0" name="Grafik 36">
                    <a:extLst>
                      <a:ext uri="{FF2B5EF4-FFF2-40B4-BE49-F238E27FC236}">
                        <a16:creationId xmlns:a16="http://schemas.microsoft.com/office/drawing/2014/main" id="{4352BBE6-B8B3-16E2-57A9-D376177463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1" name="Grafik 36">
                    <a:extLst>
                      <a:ext uri="{FF2B5EF4-FFF2-40B4-BE49-F238E27FC236}">
                        <a16:creationId xmlns:a16="http://schemas.microsoft.com/office/drawing/2014/main" id="{660B335B-BDEE-F8BC-9CD8-F561094E41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24" name="Grafik 36">
                  <a:extLst>
                    <a:ext uri="{FF2B5EF4-FFF2-40B4-BE49-F238E27FC236}">
                      <a16:creationId xmlns:a16="http://schemas.microsoft.com/office/drawing/2014/main" id="{9378E510-3D86-CB05-D238-B69AC167F3F4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225" name="Grafik 36">
                  <a:extLst>
                    <a:ext uri="{FF2B5EF4-FFF2-40B4-BE49-F238E27FC236}">
                      <a16:creationId xmlns:a16="http://schemas.microsoft.com/office/drawing/2014/main" id="{15EE2A72-C9FD-F91B-CF63-3ABC090AF00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26" name="Grafik 36">
                    <a:extLst>
                      <a:ext uri="{FF2B5EF4-FFF2-40B4-BE49-F238E27FC236}">
                        <a16:creationId xmlns:a16="http://schemas.microsoft.com/office/drawing/2014/main" id="{30532DA6-40D1-9C07-83B6-B74A8FFA113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7" name="Grafik 36">
                    <a:extLst>
                      <a:ext uri="{FF2B5EF4-FFF2-40B4-BE49-F238E27FC236}">
                        <a16:creationId xmlns:a16="http://schemas.microsoft.com/office/drawing/2014/main" id="{B41E290B-1820-855B-77D4-66D94A0FB20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8" name="Grafik 36">
                    <a:extLst>
                      <a:ext uri="{FF2B5EF4-FFF2-40B4-BE49-F238E27FC236}">
                        <a16:creationId xmlns:a16="http://schemas.microsoft.com/office/drawing/2014/main" id="{7054D80A-5837-6DD7-EF43-314296C90CA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213" name="Grafik 36">
                <a:extLst>
                  <a:ext uri="{FF2B5EF4-FFF2-40B4-BE49-F238E27FC236}">
                    <a16:creationId xmlns:a16="http://schemas.microsoft.com/office/drawing/2014/main" id="{E664AC79-4960-0F48-D36F-FD93BB7CFD0D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14" name="Grafik 36">
                  <a:extLst>
                    <a:ext uri="{FF2B5EF4-FFF2-40B4-BE49-F238E27FC236}">
                      <a16:creationId xmlns:a16="http://schemas.microsoft.com/office/drawing/2014/main" id="{0C116CC4-7565-139E-5985-904C13F5F71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20" name="Grafik 36">
                    <a:extLst>
                      <a:ext uri="{FF2B5EF4-FFF2-40B4-BE49-F238E27FC236}">
                        <a16:creationId xmlns:a16="http://schemas.microsoft.com/office/drawing/2014/main" id="{53BC0858-B907-D8DC-0610-CB552EE60E6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1" name="Grafik 36">
                    <a:extLst>
                      <a:ext uri="{FF2B5EF4-FFF2-40B4-BE49-F238E27FC236}">
                        <a16:creationId xmlns:a16="http://schemas.microsoft.com/office/drawing/2014/main" id="{7A49A812-AD7D-95EE-7BC4-B5C6437787E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2" name="Grafik 36">
                    <a:extLst>
                      <a:ext uri="{FF2B5EF4-FFF2-40B4-BE49-F238E27FC236}">
                        <a16:creationId xmlns:a16="http://schemas.microsoft.com/office/drawing/2014/main" id="{46EBB1CC-942F-C22D-4306-825AC20E8EC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15" name="Grafik 36">
                  <a:extLst>
                    <a:ext uri="{FF2B5EF4-FFF2-40B4-BE49-F238E27FC236}">
                      <a16:creationId xmlns:a16="http://schemas.microsoft.com/office/drawing/2014/main" id="{9847C69D-B5A8-131A-CF18-DE7B115914D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16" name="Grafik 36">
                  <a:extLst>
                    <a:ext uri="{FF2B5EF4-FFF2-40B4-BE49-F238E27FC236}">
                      <a16:creationId xmlns:a16="http://schemas.microsoft.com/office/drawing/2014/main" id="{9F84AAD5-9764-72EB-2F32-5AAB885D165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17" name="Grafik 36">
                    <a:extLst>
                      <a:ext uri="{FF2B5EF4-FFF2-40B4-BE49-F238E27FC236}">
                        <a16:creationId xmlns:a16="http://schemas.microsoft.com/office/drawing/2014/main" id="{33F15449-1A3A-0709-70B3-BC948532A7E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8" name="Grafik 36">
                    <a:extLst>
                      <a:ext uri="{FF2B5EF4-FFF2-40B4-BE49-F238E27FC236}">
                        <a16:creationId xmlns:a16="http://schemas.microsoft.com/office/drawing/2014/main" id="{C3344AB9-2D89-63BD-B8AB-922D3C150C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9" name="Grafik 36">
                    <a:extLst>
                      <a:ext uri="{FF2B5EF4-FFF2-40B4-BE49-F238E27FC236}">
                        <a16:creationId xmlns:a16="http://schemas.microsoft.com/office/drawing/2014/main" id="{F8058BBB-FCB4-4301-8DEC-D59901C340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237" name="Grafik 36">
            <a:extLst>
              <a:ext uri="{FF2B5EF4-FFF2-40B4-BE49-F238E27FC236}">
                <a16:creationId xmlns:a16="http://schemas.microsoft.com/office/drawing/2014/main" id="{8B7EF7A5-3CD9-E65B-1BBF-3FCFA330B4D9}"/>
              </a:ext>
            </a:extLst>
          </p:cNvPr>
          <p:cNvGrpSpPr/>
          <p:nvPr/>
        </p:nvGrpSpPr>
        <p:grpSpPr bwMode="gray">
          <a:xfrm>
            <a:off x="2660911" y="1777092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38" name="Grafik 36">
              <a:extLst>
                <a:ext uri="{FF2B5EF4-FFF2-40B4-BE49-F238E27FC236}">
                  <a16:creationId xmlns:a16="http://schemas.microsoft.com/office/drawing/2014/main" id="{A301D632-61FA-7E46-6EDA-C87A6515764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60" name="Grafik 36">
                <a:extLst>
                  <a:ext uri="{FF2B5EF4-FFF2-40B4-BE49-F238E27FC236}">
                    <a16:creationId xmlns:a16="http://schemas.microsoft.com/office/drawing/2014/main" id="{DC13F159-D6F3-CF87-D911-2EBE9EA79EB9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1" name="Grafik 36">
                <a:extLst>
                  <a:ext uri="{FF2B5EF4-FFF2-40B4-BE49-F238E27FC236}">
                    <a16:creationId xmlns:a16="http://schemas.microsoft.com/office/drawing/2014/main" id="{6B9300D6-009F-673A-C97E-1557D184D602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2" name="Grafik 36">
                <a:extLst>
                  <a:ext uri="{FF2B5EF4-FFF2-40B4-BE49-F238E27FC236}">
                    <a16:creationId xmlns:a16="http://schemas.microsoft.com/office/drawing/2014/main" id="{9F20FFF9-AF66-99B8-9CEA-3126A5E00AFE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3" name="Grafik 36">
                <a:extLst>
                  <a:ext uri="{FF2B5EF4-FFF2-40B4-BE49-F238E27FC236}">
                    <a16:creationId xmlns:a16="http://schemas.microsoft.com/office/drawing/2014/main" id="{395C6E29-30A4-F28A-3924-0FD87CEDC56C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4" name="Grafik 36">
                <a:extLst>
                  <a:ext uri="{FF2B5EF4-FFF2-40B4-BE49-F238E27FC236}">
                    <a16:creationId xmlns:a16="http://schemas.microsoft.com/office/drawing/2014/main" id="{E80E76E3-3F88-A84B-95D4-BF6991DDEBDD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39" name="Grafik 36">
              <a:extLst>
                <a:ext uri="{FF2B5EF4-FFF2-40B4-BE49-F238E27FC236}">
                  <a16:creationId xmlns:a16="http://schemas.microsoft.com/office/drawing/2014/main" id="{891B25C7-D5DD-C5E1-CABC-1C81505918A9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40" name="Grafik 36">
                <a:extLst>
                  <a:ext uri="{FF2B5EF4-FFF2-40B4-BE49-F238E27FC236}">
                    <a16:creationId xmlns:a16="http://schemas.microsoft.com/office/drawing/2014/main" id="{E82BF1DC-1634-992D-EDAC-12441A85936B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51" name="Grafik 36">
                  <a:extLst>
                    <a:ext uri="{FF2B5EF4-FFF2-40B4-BE49-F238E27FC236}">
                      <a16:creationId xmlns:a16="http://schemas.microsoft.com/office/drawing/2014/main" id="{36417644-EA50-E89A-D9CC-C1439F1ECA9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57" name="Grafik 36">
                    <a:extLst>
                      <a:ext uri="{FF2B5EF4-FFF2-40B4-BE49-F238E27FC236}">
                        <a16:creationId xmlns:a16="http://schemas.microsoft.com/office/drawing/2014/main" id="{1CD231EB-A288-4177-19FE-316CAFB4C7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8" name="Grafik 36">
                    <a:extLst>
                      <a:ext uri="{FF2B5EF4-FFF2-40B4-BE49-F238E27FC236}">
                        <a16:creationId xmlns:a16="http://schemas.microsoft.com/office/drawing/2014/main" id="{7B1E2D89-E386-D676-2A20-4907F5AD2A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9" name="Grafik 36">
                    <a:extLst>
                      <a:ext uri="{FF2B5EF4-FFF2-40B4-BE49-F238E27FC236}">
                        <a16:creationId xmlns:a16="http://schemas.microsoft.com/office/drawing/2014/main" id="{B9AE82C4-8DA0-62CF-682D-A76678C889B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52" name="Grafik 36">
                  <a:extLst>
                    <a:ext uri="{FF2B5EF4-FFF2-40B4-BE49-F238E27FC236}">
                      <a16:creationId xmlns:a16="http://schemas.microsoft.com/office/drawing/2014/main" id="{0C8A2CB8-49B0-F931-4343-F5E84227A239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253" name="Grafik 36">
                  <a:extLst>
                    <a:ext uri="{FF2B5EF4-FFF2-40B4-BE49-F238E27FC236}">
                      <a16:creationId xmlns:a16="http://schemas.microsoft.com/office/drawing/2014/main" id="{BC4227D3-E956-8353-4AEB-AEEAC21B91B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54" name="Grafik 36">
                    <a:extLst>
                      <a:ext uri="{FF2B5EF4-FFF2-40B4-BE49-F238E27FC236}">
                        <a16:creationId xmlns:a16="http://schemas.microsoft.com/office/drawing/2014/main" id="{774E4629-317B-168A-C79A-510195AC52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5" name="Grafik 36">
                    <a:extLst>
                      <a:ext uri="{FF2B5EF4-FFF2-40B4-BE49-F238E27FC236}">
                        <a16:creationId xmlns:a16="http://schemas.microsoft.com/office/drawing/2014/main" id="{966D1ABA-72AF-D1AB-7929-D47BC9AB234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6" name="Grafik 36">
                    <a:extLst>
                      <a:ext uri="{FF2B5EF4-FFF2-40B4-BE49-F238E27FC236}">
                        <a16:creationId xmlns:a16="http://schemas.microsoft.com/office/drawing/2014/main" id="{A5CE6F6E-57FF-5AD8-0D6A-758C47382E9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241" name="Grafik 36">
                <a:extLst>
                  <a:ext uri="{FF2B5EF4-FFF2-40B4-BE49-F238E27FC236}">
                    <a16:creationId xmlns:a16="http://schemas.microsoft.com/office/drawing/2014/main" id="{6C307B75-7500-CC85-C292-746AAA572E7A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42" name="Grafik 36">
                  <a:extLst>
                    <a:ext uri="{FF2B5EF4-FFF2-40B4-BE49-F238E27FC236}">
                      <a16:creationId xmlns:a16="http://schemas.microsoft.com/office/drawing/2014/main" id="{D9EE3371-41D4-AEAC-9058-E11B11E59042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48" name="Grafik 36">
                    <a:extLst>
                      <a:ext uri="{FF2B5EF4-FFF2-40B4-BE49-F238E27FC236}">
                        <a16:creationId xmlns:a16="http://schemas.microsoft.com/office/drawing/2014/main" id="{45FDEE37-46A9-D4B8-0B78-E89640F5721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9" name="Grafik 36">
                    <a:extLst>
                      <a:ext uri="{FF2B5EF4-FFF2-40B4-BE49-F238E27FC236}">
                        <a16:creationId xmlns:a16="http://schemas.microsoft.com/office/drawing/2014/main" id="{E0C42670-0383-60B6-9E7A-899ECC2190C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0" name="Grafik 36">
                    <a:extLst>
                      <a:ext uri="{FF2B5EF4-FFF2-40B4-BE49-F238E27FC236}">
                        <a16:creationId xmlns:a16="http://schemas.microsoft.com/office/drawing/2014/main" id="{7DA20B06-9DFA-3EF1-B834-7B53A342BCB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43" name="Grafik 36">
                  <a:extLst>
                    <a:ext uri="{FF2B5EF4-FFF2-40B4-BE49-F238E27FC236}">
                      <a16:creationId xmlns:a16="http://schemas.microsoft.com/office/drawing/2014/main" id="{CC54BC15-0E51-6671-D594-29DF229F2CA3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44" name="Grafik 36">
                  <a:extLst>
                    <a:ext uri="{FF2B5EF4-FFF2-40B4-BE49-F238E27FC236}">
                      <a16:creationId xmlns:a16="http://schemas.microsoft.com/office/drawing/2014/main" id="{C027C108-7DCD-38FC-0EDB-04AD52112CA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45" name="Grafik 36">
                    <a:extLst>
                      <a:ext uri="{FF2B5EF4-FFF2-40B4-BE49-F238E27FC236}">
                        <a16:creationId xmlns:a16="http://schemas.microsoft.com/office/drawing/2014/main" id="{C84C64A5-FDB2-51DA-FBFE-BAF38DE8AB0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6" name="Grafik 36">
                    <a:extLst>
                      <a:ext uri="{FF2B5EF4-FFF2-40B4-BE49-F238E27FC236}">
                        <a16:creationId xmlns:a16="http://schemas.microsoft.com/office/drawing/2014/main" id="{9F234365-9E70-1152-2C96-75E61B0895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7" name="Grafik 36">
                    <a:extLst>
                      <a:ext uri="{FF2B5EF4-FFF2-40B4-BE49-F238E27FC236}">
                        <a16:creationId xmlns:a16="http://schemas.microsoft.com/office/drawing/2014/main" id="{256A231F-E4D3-079A-5DE4-6EA6A38F762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306" name="Grafik 36">
            <a:extLst>
              <a:ext uri="{FF2B5EF4-FFF2-40B4-BE49-F238E27FC236}">
                <a16:creationId xmlns:a16="http://schemas.microsoft.com/office/drawing/2014/main" id="{82AA1D7D-E366-6EF6-A4E6-8F04E03C9D7F}"/>
              </a:ext>
            </a:extLst>
          </p:cNvPr>
          <p:cNvGrpSpPr/>
          <p:nvPr/>
        </p:nvGrpSpPr>
        <p:grpSpPr bwMode="gray">
          <a:xfrm>
            <a:off x="3524826" y="1777093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307" name="Grafik 36">
              <a:extLst>
                <a:ext uri="{FF2B5EF4-FFF2-40B4-BE49-F238E27FC236}">
                  <a16:creationId xmlns:a16="http://schemas.microsoft.com/office/drawing/2014/main" id="{41C679DB-2BBF-12E8-A0C5-D47E9E55308B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29" name="Grafik 36">
                <a:extLst>
                  <a:ext uri="{FF2B5EF4-FFF2-40B4-BE49-F238E27FC236}">
                    <a16:creationId xmlns:a16="http://schemas.microsoft.com/office/drawing/2014/main" id="{AFA119B1-C932-86A8-02AC-FC05D66828E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0" name="Grafik 36">
                <a:extLst>
                  <a:ext uri="{FF2B5EF4-FFF2-40B4-BE49-F238E27FC236}">
                    <a16:creationId xmlns:a16="http://schemas.microsoft.com/office/drawing/2014/main" id="{83EC886F-28EC-7717-AA3A-CBCB6E3FD543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31" name="Grafik 36">
                <a:extLst>
                  <a:ext uri="{FF2B5EF4-FFF2-40B4-BE49-F238E27FC236}">
                    <a16:creationId xmlns:a16="http://schemas.microsoft.com/office/drawing/2014/main" id="{4534AF5A-5919-98E2-9CB7-1C578A22537A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2" name="Grafik 36">
                <a:extLst>
                  <a:ext uri="{FF2B5EF4-FFF2-40B4-BE49-F238E27FC236}">
                    <a16:creationId xmlns:a16="http://schemas.microsoft.com/office/drawing/2014/main" id="{340B0888-6F79-0344-7D24-05DDD8C603D8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3" name="Grafik 36">
                <a:extLst>
                  <a:ext uri="{FF2B5EF4-FFF2-40B4-BE49-F238E27FC236}">
                    <a16:creationId xmlns:a16="http://schemas.microsoft.com/office/drawing/2014/main" id="{64BF3B43-3FF5-3313-2152-A5D6DD28CED3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08" name="Grafik 36">
              <a:extLst>
                <a:ext uri="{FF2B5EF4-FFF2-40B4-BE49-F238E27FC236}">
                  <a16:creationId xmlns:a16="http://schemas.microsoft.com/office/drawing/2014/main" id="{7920621D-1D26-898D-2885-AC7E211666A6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309" name="Grafik 36">
                <a:extLst>
                  <a:ext uri="{FF2B5EF4-FFF2-40B4-BE49-F238E27FC236}">
                    <a16:creationId xmlns:a16="http://schemas.microsoft.com/office/drawing/2014/main" id="{F871ADDB-2BAB-9773-A0C9-936BD4934F2E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320" name="Grafik 36">
                  <a:extLst>
                    <a:ext uri="{FF2B5EF4-FFF2-40B4-BE49-F238E27FC236}">
                      <a16:creationId xmlns:a16="http://schemas.microsoft.com/office/drawing/2014/main" id="{74D536CE-6F51-B2A6-7F72-D3EEF60DAC4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326" name="Grafik 36">
                    <a:extLst>
                      <a:ext uri="{FF2B5EF4-FFF2-40B4-BE49-F238E27FC236}">
                        <a16:creationId xmlns:a16="http://schemas.microsoft.com/office/drawing/2014/main" id="{50CAB513-2114-5CCC-FED7-C26B7DFDC1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7" name="Grafik 36">
                    <a:extLst>
                      <a:ext uri="{FF2B5EF4-FFF2-40B4-BE49-F238E27FC236}">
                        <a16:creationId xmlns:a16="http://schemas.microsoft.com/office/drawing/2014/main" id="{477B2473-1907-EBF8-0157-DC3D98E2F0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8" name="Grafik 36">
                    <a:extLst>
                      <a:ext uri="{FF2B5EF4-FFF2-40B4-BE49-F238E27FC236}">
                        <a16:creationId xmlns:a16="http://schemas.microsoft.com/office/drawing/2014/main" id="{27441F7A-614A-6223-1F18-EAD78EF020C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21" name="Grafik 36">
                  <a:extLst>
                    <a:ext uri="{FF2B5EF4-FFF2-40B4-BE49-F238E27FC236}">
                      <a16:creationId xmlns:a16="http://schemas.microsoft.com/office/drawing/2014/main" id="{22152904-301C-B7E3-706D-B0F813A9F147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322" name="Grafik 36">
                  <a:extLst>
                    <a:ext uri="{FF2B5EF4-FFF2-40B4-BE49-F238E27FC236}">
                      <a16:creationId xmlns:a16="http://schemas.microsoft.com/office/drawing/2014/main" id="{0B09753F-2A62-4158-D18B-FB0EA004036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323" name="Grafik 36">
                    <a:extLst>
                      <a:ext uri="{FF2B5EF4-FFF2-40B4-BE49-F238E27FC236}">
                        <a16:creationId xmlns:a16="http://schemas.microsoft.com/office/drawing/2014/main" id="{F6D03CC6-7B30-5AB0-E290-0F6ECE04E12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4" name="Grafik 36">
                    <a:extLst>
                      <a:ext uri="{FF2B5EF4-FFF2-40B4-BE49-F238E27FC236}">
                        <a16:creationId xmlns:a16="http://schemas.microsoft.com/office/drawing/2014/main" id="{6F10FDE2-B65D-A00B-E485-1160C552FC7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5" name="Grafik 36">
                    <a:extLst>
                      <a:ext uri="{FF2B5EF4-FFF2-40B4-BE49-F238E27FC236}">
                        <a16:creationId xmlns:a16="http://schemas.microsoft.com/office/drawing/2014/main" id="{FDE799BD-FB05-DC2E-49FC-4E06EEAF49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310" name="Grafik 36">
                <a:extLst>
                  <a:ext uri="{FF2B5EF4-FFF2-40B4-BE49-F238E27FC236}">
                    <a16:creationId xmlns:a16="http://schemas.microsoft.com/office/drawing/2014/main" id="{217DE8B5-B79E-27C3-DECB-C4DB7276D573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311" name="Grafik 36">
                  <a:extLst>
                    <a:ext uri="{FF2B5EF4-FFF2-40B4-BE49-F238E27FC236}">
                      <a16:creationId xmlns:a16="http://schemas.microsoft.com/office/drawing/2014/main" id="{C01A1FB9-BBC9-A732-867F-F0E52E34BA9F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317" name="Grafik 36">
                    <a:extLst>
                      <a:ext uri="{FF2B5EF4-FFF2-40B4-BE49-F238E27FC236}">
                        <a16:creationId xmlns:a16="http://schemas.microsoft.com/office/drawing/2014/main" id="{5ED8C192-206F-4E2E-C5E2-950D14E2202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8" name="Grafik 36">
                    <a:extLst>
                      <a:ext uri="{FF2B5EF4-FFF2-40B4-BE49-F238E27FC236}">
                        <a16:creationId xmlns:a16="http://schemas.microsoft.com/office/drawing/2014/main" id="{319DFD32-F98B-A1E9-369F-74D0E1822E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9" name="Grafik 36">
                    <a:extLst>
                      <a:ext uri="{FF2B5EF4-FFF2-40B4-BE49-F238E27FC236}">
                        <a16:creationId xmlns:a16="http://schemas.microsoft.com/office/drawing/2014/main" id="{132B42D7-D02E-4D40-6A9F-AF0347F8866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12" name="Grafik 36">
                  <a:extLst>
                    <a:ext uri="{FF2B5EF4-FFF2-40B4-BE49-F238E27FC236}">
                      <a16:creationId xmlns:a16="http://schemas.microsoft.com/office/drawing/2014/main" id="{08C0C139-F13B-F528-1ACD-D5AB4A263E57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13" name="Grafik 36">
                  <a:extLst>
                    <a:ext uri="{FF2B5EF4-FFF2-40B4-BE49-F238E27FC236}">
                      <a16:creationId xmlns:a16="http://schemas.microsoft.com/office/drawing/2014/main" id="{18AAEB47-5FF4-113F-E693-6983557653E9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314" name="Grafik 36">
                    <a:extLst>
                      <a:ext uri="{FF2B5EF4-FFF2-40B4-BE49-F238E27FC236}">
                        <a16:creationId xmlns:a16="http://schemas.microsoft.com/office/drawing/2014/main" id="{C73FC66B-3808-1533-16B6-BB8AD6C7F00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5" name="Grafik 36">
                    <a:extLst>
                      <a:ext uri="{FF2B5EF4-FFF2-40B4-BE49-F238E27FC236}">
                        <a16:creationId xmlns:a16="http://schemas.microsoft.com/office/drawing/2014/main" id="{DEF00B5B-7011-E7F2-3378-448BC916AF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6" name="Grafik 36">
                    <a:extLst>
                      <a:ext uri="{FF2B5EF4-FFF2-40B4-BE49-F238E27FC236}">
                        <a16:creationId xmlns:a16="http://schemas.microsoft.com/office/drawing/2014/main" id="{640C4613-115C-A4F9-6BDD-EE88558204A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cxnSp>
        <p:nvCxnSpPr>
          <p:cNvPr id="376" name="Straight Connector 375">
            <a:extLst>
              <a:ext uri="{FF2B5EF4-FFF2-40B4-BE49-F238E27FC236}">
                <a16:creationId xmlns:a16="http://schemas.microsoft.com/office/drawing/2014/main" id="{620718CF-6F3C-305E-9965-651910C8C334}"/>
              </a:ext>
            </a:extLst>
          </p:cNvPr>
          <p:cNvCxnSpPr>
            <a:cxnSpLocks/>
          </p:cNvCxnSpPr>
          <p:nvPr/>
        </p:nvCxnSpPr>
        <p:spPr>
          <a:xfrm flipV="1">
            <a:off x="2171377" y="1960655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2" name="TextBox 771">
            <a:extLst>
              <a:ext uri="{FF2B5EF4-FFF2-40B4-BE49-F238E27FC236}">
                <a16:creationId xmlns:a16="http://schemas.microsoft.com/office/drawing/2014/main" id="{DC3DF3E5-05C0-C1C3-6D71-718D29EEE19B}"/>
              </a:ext>
            </a:extLst>
          </p:cNvPr>
          <p:cNvSpPr txBox="1"/>
          <p:nvPr/>
        </p:nvSpPr>
        <p:spPr>
          <a:xfrm>
            <a:off x="1722399" y="2282761"/>
            <a:ext cx="2215664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a. Physically-centralised architecture</a:t>
            </a:r>
          </a:p>
        </p:txBody>
      </p:sp>
      <p:cxnSp>
        <p:nvCxnSpPr>
          <p:cNvPr id="513" name="Straight Connector 512">
            <a:extLst>
              <a:ext uri="{FF2B5EF4-FFF2-40B4-BE49-F238E27FC236}">
                <a16:creationId xmlns:a16="http://schemas.microsoft.com/office/drawing/2014/main" id="{8942332E-F01F-EEBF-01DB-9C5D33437AD8}"/>
              </a:ext>
            </a:extLst>
          </p:cNvPr>
          <p:cNvCxnSpPr>
            <a:cxnSpLocks/>
          </p:cNvCxnSpPr>
          <p:nvPr/>
        </p:nvCxnSpPr>
        <p:spPr>
          <a:xfrm flipV="1">
            <a:off x="1944187" y="941432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4" name="Straight Connector 513">
            <a:extLst>
              <a:ext uri="{FF2B5EF4-FFF2-40B4-BE49-F238E27FC236}">
                <a16:creationId xmlns:a16="http://schemas.microsoft.com/office/drawing/2014/main" id="{33A43458-659E-5556-EB8E-64BA3BBCB9E8}"/>
              </a:ext>
            </a:extLst>
          </p:cNvPr>
          <p:cNvCxnSpPr>
            <a:cxnSpLocks/>
          </p:cNvCxnSpPr>
          <p:nvPr/>
        </p:nvCxnSpPr>
        <p:spPr>
          <a:xfrm>
            <a:off x="2992031" y="936594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5" name="Straight Connector 514">
            <a:extLst>
              <a:ext uri="{FF2B5EF4-FFF2-40B4-BE49-F238E27FC236}">
                <a16:creationId xmlns:a16="http://schemas.microsoft.com/office/drawing/2014/main" id="{3ACA754B-E89A-0F60-EDB8-173FABA74CA6}"/>
              </a:ext>
            </a:extLst>
          </p:cNvPr>
          <p:cNvCxnSpPr>
            <a:cxnSpLocks/>
          </p:cNvCxnSpPr>
          <p:nvPr/>
        </p:nvCxnSpPr>
        <p:spPr>
          <a:xfrm>
            <a:off x="2787877" y="1082893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0" name="Straight Connector 519">
            <a:extLst>
              <a:ext uri="{FF2B5EF4-FFF2-40B4-BE49-F238E27FC236}">
                <a16:creationId xmlns:a16="http://schemas.microsoft.com/office/drawing/2014/main" id="{ADE651D7-3959-FEA3-8C82-9D00714AA7ED}"/>
              </a:ext>
            </a:extLst>
          </p:cNvPr>
          <p:cNvCxnSpPr>
            <a:cxnSpLocks/>
          </p:cNvCxnSpPr>
          <p:nvPr/>
        </p:nvCxnSpPr>
        <p:spPr>
          <a:xfrm flipV="1">
            <a:off x="3030045" y="1959442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22" name="Grafik 36">
            <a:extLst>
              <a:ext uri="{FF2B5EF4-FFF2-40B4-BE49-F238E27FC236}">
                <a16:creationId xmlns:a16="http://schemas.microsoft.com/office/drawing/2014/main" id="{D827D441-9EA9-4004-BE2B-FB5F3FF9DAE9}"/>
              </a:ext>
            </a:extLst>
          </p:cNvPr>
          <p:cNvGrpSpPr/>
          <p:nvPr/>
        </p:nvGrpSpPr>
        <p:grpSpPr bwMode="gray">
          <a:xfrm>
            <a:off x="5561054" y="1777092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523" name="Grafik 36">
              <a:extLst>
                <a:ext uri="{FF2B5EF4-FFF2-40B4-BE49-F238E27FC236}">
                  <a16:creationId xmlns:a16="http://schemas.microsoft.com/office/drawing/2014/main" id="{23FD435D-724A-9802-DDD2-4EEC2A57E945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73" name="Grafik 36">
                <a:extLst>
                  <a:ext uri="{FF2B5EF4-FFF2-40B4-BE49-F238E27FC236}">
                    <a16:creationId xmlns:a16="http://schemas.microsoft.com/office/drawing/2014/main" id="{B7DC085A-5D19-C3E5-46AD-3F57153172C6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4" name="Grafik 36">
                <a:extLst>
                  <a:ext uri="{FF2B5EF4-FFF2-40B4-BE49-F238E27FC236}">
                    <a16:creationId xmlns:a16="http://schemas.microsoft.com/office/drawing/2014/main" id="{B7DE59F0-0C4C-F78F-2119-B8399712FFD7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5" name="Grafik 36">
                <a:extLst>
                  <a:ext uri="{FF2B5EF4-FFF2-40B4-BE49-F238E27FC236}">
                    <a16:creationId xmlns:a16="http://schemas.microsoft.com/office/drawing/2014/main" id="{30FE5D07-9D5E-6C42-4FBC-256769D217B7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6" name="Grafik 36">
                <a:extLst>
                  <a:ext uri="{FF2B5EF4-FFF2-40B4-BE49-F238E27FC236}">
                    <a16:creationId xmlns:a16="http://schemas.microsoft.com/office/drawing/2014/main" id="{F4353564-436F-1CB3-3950-A9FC4064440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7" name="Grafik 36">
                <a:extLst>
                  <a:ext uri="{FF2B5EF4-FFF2-40B4-BE49-F238E27FC236}">
                    <a16:creationId xmlns:a16="http://schemas.microsoft.com/office/drawing/2014/main" id="{25527763-414C-B169-4779-14342535693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24" name="Grafik 36">
              <a:extLst>
                <a:ext uri="{FF2B5EF4-FFF2-40B4-BE49-F238E27FC236}">
                  <a16:creationId xmlns:a16="http://schemas.microsoft.com/office/drawing/2014/main" id="{E2F9072A-0D22-24B7-658C-52F35A229D7A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53" name="Grafik 36">
                <a:extLst>
                  <a:ext uri="{FF2B5EF4-FFF2-40B4-BE49-F238E27FC236}">
                    <a16:creationId xmlns:a16="http://schemas.microsoft.com/office/drawing/2014/main" id="{4DD37F1C-4D25-3CA7-1FAC-1A3BD62DF31B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64" name="Grafik 36">
                  <a:extLst>
                    <a:ext uri="{FF2B5EF4-FFF2-40B4-BE49-F238E27FC236}">
                      <a16:creationId xmlns:a16="http://schemas.microsoft.com/office/drawing/2014/main" id="{81966F54-3CF2-E11B-F517-6CCF37FA8DA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70" name="Grafik 36">
                    <a:extLst>
                      <a:ext uri="{FF2B5EF4-FFF2-40B4-BE49-F238E27FC236}">
                        <a16:creationId xmlns:a16="http://schemas.microsoft.com/office/drawing/2014/main" id="{BD011F4B-A5A8-A7DB-E834-474F6A6A516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71" name="Grafik 36">
                    <a:extLst>
                      <a:ext uri="{FF2B5EF4-FFF2-40B4-BE49-F238E27FC236}">
                        <a16:creationId xmlns:a16="http://schemas.microsoft.com/office/drawing/2014/main" id="{EE34C147-286B-30D8-2E4C-4F75EB8183C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72" name="Grafik 36">
                    <a:extLst>
                      <a:ext uri="{FF2B5EF4-FFF2-40B4-BE49-F238E27FC236}">
                        <a16:creationId xmlns:a16="http://schemas.microsoft.com/office/drawing/2014/main" id="{9E7A7F8C-F18C-907C-7122-3E86CF7FDC9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65" name="Grafik 36">
                  <a:extLst>
                    <a:ext uri="{FF2B5EF4-FFF2-40B4-BE49-F238E27FC236}">
                      <a16:creationId xmlns:a16="http://schemas.microsoft.com/office/drawing/2014/main" id="{058061C0-E0F4-8C36-2EDE-E4194DBC0B61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566" name="Grafik 36">
                  <a:extLst>
                    <a:ext uri="{FF2B5EF4-FFF2-40B4-BE49-F238E27FC236}">
                      <a16:creationId xmlns:a16="http://schemas.microsoft.com/office/drawing/2014/main" id="{57D28924-50FB-5E47-6768-0439254B424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67" name="Grafik 36">
                    <a:extLst>
                      <a:ext uri="{FF2B5EF4-FFF2-40B4-BE49-F238E27FC236}">
                        <a16:creationId xmlns:a16="http://schemas.microsoft.com/office/drawing/2014/main" id="{AB2FDAF7-6C34-B180-0C6B-10F627229FF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68" name="Grafik 36">
                    <a:extLst>
                      <a:ext uri="{FF2B5EF4-FFF2-40B4-BE49-F238E27FC236}">
                        <a16:creationId xmlns:a16="http://schemas.microsoft.com/office/drawing/2014/main" id="{171BF190-6DB6-F7DA-BF4C-92D54EC0E45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69" name="Grafik 36">
                    <a:extLst>
                      <a:ext uri="{FF2B5EF4-FFF2-40B4-BE49-F238E27FC236}">
                        <a16:creationId xmlns:a16="http://schemas.microsoft.com/office/drawing/2014/main" id="{CE8A401F-AC75-6CF6-3DD2-D805966AC56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554" name="Grafik 36">
                <a:extLst>
                  <a:ext uri="{FF2B5EF4-FFF2-40B4-BE49-F238E27FC236}">
                    <a16:creationId xmlns:a16="http://schemas.microsoft.com/office/drawing/2014/main" id="{B544BADF-DA04-2D5D-8769-7806231F6F04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55" name="Grafik 36">
                  <a:extLst>
                    <a:ext uri="{FF2B5EF4-FFF2-40B4-BE49-F238E27FC236}">
                      <a16:creationId xmlns:a16="http://schemas.microsoft.com/office/drawing/2014/main" id="{D9CC7EDD-4B82-E1A1-B048-9439B274DABD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61" name="Grafik 36">
                    <a:extLst>
                      <a:ext uri="{FF2B5EF4-FFF2-40B4-BE49-F238E27FC236}">
                        <a16:creationId xmlns:a16="http://schemas.microsoft.com/office/drawing/2014/main" id="{64782B8E-9688-5301-25AE-95A7B75A09B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62" name="Grafik 36">
                    <a:extLst>
                      <a:ext uri="{FF2B5EF4-FFF2-40B4-BE49-F238E27FC236}">
                        <a16:creationId xmlns:a16="http://schemas.microsoft.com/office/drawing/2014/main" id="{8DF47378-09C2-F852-E313-C29265C1A8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63" name="Grafik 36">
                    <a:extLst>
                      <a:ext uri="{FF2B5EF4-FFF2-40B4-BE49-F238E27FC236}">
                        <a16:creationId xmlns:a16="http://schemas.microsoft.com/office/drawing/2014/main" id="{ED29B447-DAA4-5573-E313-D5B35E1B066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56" name="Grafik 36">
                  <a:extLst>
                    <a:ext uri="{FF2B5EF4-FFF2-40B4-BE49-F238E27FC236}">
                      <a16:creationId xmlns:a16="http://schemas.microsoft.com/office/drawing/2014/main" id="{0901CBC2-9394-B6A7-F93B-43088E79C990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57" name="Grafik 36">
                  <a:extLst>
                    <a:ext uri="{FF2B5EF4-FFF2-40B4-BE49-F238E27FC236}">
                      <a16:creationId xmlns:a16="http://schemas.microsoft.com/office/drawing/2014/main" id="{69565AB0-14F9-C5F5-2451-44276F9C239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58" name="Grafik 36">
                    <a:extLst>
                      <a:ext uri="{FF2B5EF4-FFF2-40B4-BE49-F238E27FC236}">
                        <a16:creationId xmlns:a16="http://schemas.microsoft.com/office/drawing/2014/main" id="{590395B3-6137-B90C-1BA4-B1E4C4CB45D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59" name="Grafik 36">
                    <a:extLst>
                      <a:ext uri="{FF2B5EF4-FFF2-40B4-BE49-F238E27FC236}">
                        <a16:creationId xmlns:a16="http://schemas.microsoft.com/office/drawing/2014/main" id="{CBC94737-4DA4-4E1A-DD0E-66D6380EE67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60" name="Grafik 36">
                    <a:extLst>
                      <a:ext uri="{FF2B5EF4-FFF2-40B4-BE49-F238E27FC236}">
                        <a16:creationId xmlns:a16="http://schemas.microsoft.com/office/drawing/2014/main" id="{7980F5AA-4151-0FBE-6A7F-22BB5524982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578" name="Grafik 36">
            <a:extLst>
              <a:ext uri="{FF2B5EF4-FFF2-40B4-BE49-F238E27FC236}">
                <a16:creationId xmlns:a16="http://schemas.microsoft.com/office/drawing/2014/main" id="{D367D235-F96F-1E39-34E4-B59D4176036D}"/>
              </a:ext>
            </a:extLst>
          </p:cNvPr>
          <p:cNvGrpSpPr/>
          <p:nvPr/>
        </p:nvGrpSpPr>
        <p:grpSpPr bwMode="gray">
          <a:xfrm>
            <a:off x="6424969" y="1774666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579" name="Grafik 36">
              <a:extLst>
                <a:ext uri="{FF2B5EF4-FFF2-40B4-BE49-F238E27FC236}">
                  <a16:creationId xmlns:a16="http://schemas.microsoft.com/office/drawing/2014/main" id="{658E2507-F5C9-0715-3BA0-546118488A2B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610" name="Grafik 36">
                <a:extLst>
                  <a:ext uri="{FF2B5EF4-FFF2-40B4-BE49-F238E27FC236}">
                    <a16:creationId xmlns:a16="http://schemas.microsoft.com/office/drawing/2014/main" id="{8C2CD9CE-2748-656F-9FD3-B2851F72AA94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1" name="Grafik 36">
                <a:extLst>
                  <a:ext uri="{FF2B5EF4-FFF2-40B4-BE49-F238E27FC236}">
                    <a16:creationId xmlns:a16="http://schemas.microsoft.com/office/drawing/2014/main" id="{EB1A8F44-C4C3-7996-87D3-10AE951FBF7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12" name="Grafik 36">
                <a:extLst>
                  <a:ext uri="{FF2B5EF4-FFF2-40B4-BE49-F238E27FC236}">
                    <a16:creationId xmlns:a16="http://schemas.microsoft.com/office/drawing/2014/main" id="{A6D3CCF0-B2C3-494B-EEA0-BC187463C117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3" name="Grafik 36">
                <a:extLst>
                  <a:ext uri="{FF2B5EF4-FFF2-40B4-BE49-F238E27FC236}">
                    <a16:creationId xmlns:a16="http://schemas.microsoft.com/office/drawing/2014/main" id="{FA621734-0C1A-4123-9868-E6CDDD7BDFF5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4" name="Grafik 36">
                <a:extLst>
                  <a:ext uri="{FF2B5EF4-FFF2-40B4-BE49-F238E27FC236}">
                    <a16:creationId xmlns:a16="http://schemas.microsoft.com/office/drawing/2014/main" id="{AA79F91A-D306-B336-BA00-90C8A22C16C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80" name="Grafik 36">
              <a:extLst>
                <a:ext uri="{FF2B5EF4-FFF2-40B4-BE49-F238E27FC236}">
                  <a16:creationId xmlns:a16="http://schemas.microsoft.com/office/drawing/2014/main" id="{75B8F48F-7B42-41B6-4BD8-08987C3D40A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81" name="Grafik 36">
                <a:extLst>
                  <a:ext uri="{FF2B5EF4-FFF2-40B4-BE49-F238E27FC236}">
                    <a16:creationId xmlns:a16="http://schemas.microsoft.com/office/drawing/2014/main" id="{554FE78F-B08D-F377-587A-DF3F60D50839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92" name="Grafik 36">
                  <a:extLst>
                    <a:ext uri="{FF2B5EF4-FFF2-40B4-BE49-F238E27FC236}">
                      <a16:creationId xmlns:a16="http://schemas.microsoft.com/office/drawing/2014/main" id="{421CC08E-986C-3873-9C2C-83B7476091D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604" name="Grafik 36">
                    <a:extLst>
                      <a:ext uri="{FF2B5EF4-FFF2-40B4-BE49-F238E27FC236}">
                        <a16:creationId xmlns:a16="http://schemas.microsoft.com/office/drawing/2014/main" id="{C2919D63-DAAE-083D-7BD1-ECADCF21DA6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08" name="Grafik 36">
                    <a:extLst>
                      <a:ext uri="{FF2B5EF4-FFF2-40B4-BE49-F238E27FC236}">
                        <a16:creationId xmlns:a16="http://schemas.microsoft.com/office/drawing/2014/main" id="{6BF127A3-710C-BADB-0CF9-0BEB002ABEC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09" name="Grafik 36">
                    <a:extLst>
                      <a:ext uri="{FF2B5EF4-FFF2-40B4-BE49-F238E27FC236}">
                        <a16:creationId xmlns:a16="http://schemas.microsoft.com/office/drawing/2014/main" id="{957E321F-27AB-F212-BD8F-9DF4D70C632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93" name="Grafik 36">
                  <a:extLst>
                    <a:ext uri="{FF2B5EF4-FFF2-40B4-BE49-F238E27FC236}">
                      <a16:creationId xmlns:a16="http://schemas.microsoft.com/office/drawing/2014/main" id="{BFB2D0E6-A3C9-AFB0-B501-57C905829BE9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599" name="Grafik 36">
                  <a:extLst>
                    <a:ext uri="{FF2B5EF4-FFF2-40B4-BE49-F238E27FC236}">
                      <a16:creationId xmlns:a16="http://schemas.microsoft.com/office/drawing/2014/main" id="{677507F4-6DC4-E818-05E4-642DA1DE8F17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601" name="Grafik 36">
                    <a:extLst>
                      <a:ext uri="{FF2B5EF4-FFF2-40B4-BE49-F238E27FC236}">
                        <a16:creationId xmlns:a16="http://schemas.microsoft.com/office/drawing/2014/main" id="{7E4FE5FA-53F9-CEFD-7216-67E57B1F794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02" name="Grafik 36">
                    <a:extLst>
                      <a:ext uri="{FF2B5EF4-FFF2-40B4-BE49-F238E27FC236}">
                        <a16:creationId xmlns:a16="http://schemas.microsoft.com/office/drawing/2014/main" id="{82791244-67AB-DCAB-E918-6AF0085F71B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03" name="Grafik 36">
                    <a:extLst>
                      <a:ext uri="{FF2B5EF4-FFF2-40B4-BE49-F238E27FC236}">
                        <a16:creationId xmlns:a16="http://schemas.microsoft.com/office/drawing/2014/main" id="{E3DB505E-4EEC-4F1E-B458-60BE8B8E42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582" name="Grafik 36">
                <a:extLst>
                  <a:ext uri="{FF2B5EF4-FFF2-40B4-BE49-F238E27FC236}">
                    <a16:creationId xmlns:a16="http://schemas.microsoft.com/office/drawing/2014/main" id="{1CA01C3C-847B-A060-78EA-3E9C9658E597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83" name="Grafik 36">
                  <a:extLst>
                    <a:ext uri="{FF2B5EF4-FFF2-40B4-BE49-F238E27FC236}">
                      <a16:creationId xmlns:a16="http://schemas.microsoft.com/office/drawing/2014/main" id="{3365DF03-3C6F-12BE-E979-A1DFD68ED362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89" name="Grafik 36">
                    <a:extLst>
                      <a:ext uri="{FF2B5EF4-FFF2-40B4-BE49-F238E27FC236}">
                        <a16:creationId xmlns:a16="http://schemas.microsoft.com/office/drawing/2014/main" id="{D44619E7-1BB4-8EEC-C4ED-91F11B1E14C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90" name="Grafik 36">
                    <a:extLst>
                      <a:ext uri="{FF2B5EF4-FFF2-40B4-BE49-F238E27FC236}">
                        <a16:creationId xmlns:a16="http://schemas.microsoft.com/office/drawing/2014/main" id="{BD150410-1A67-03A8-28CA-B8BA4B383A0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91" name="Grafik 36">
                    <a:extLst>
                      <a:ext uri="{FF2B5EF4-FFF2-40B4-BE49-F238E27FC236}">
                        <a16:creationId xmlns:a16="http://schemas.microsoft.com/office/drawing/2014/main" id="{BFFCE5AD-7DF7-E041-F17C-331AF7D131A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84" name="Grafik 36">
                  <a:extLst>
                    <a:ext uri="{FF2B5EF4-FFF2-40B4-BE49-F238E27FC236}">
                      <a16:creationId xmlns:a16="http://schemas.microsoft.com/office/drawing/2014/main" id="{6C276F6B-96DC-15FB-61A4-0E12401A852E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85" name="Grafik 36">
                  <a:extLst>
                    <a:ext uri="{FF2B5EF4-FFF2-40B4-BE49-F238E27FC236}">
                      <a16:creationId xmlns:a16="http://schemas.microsoft.com/office/drawing/2014/main" id="{D9838B2B-2508-89FA-51A0-C8F873F1F0C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86" name="Grafik 36">
                    <a:extLst>
                      <a:ext uri="{FF2B5EF4-FFF2-40B4-BE49-F238E27FC236}">
                        <a16:creationId xmlns:a16="http://schemas.microsoft.com/office/drawing/2014/main" id="{23C2F80B-CD28-1272-7D57-A9266CFA9FA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87" name="Grafik 36">
                    <a:extLst>
                      <a:ext uri="{FF2B5EF4-FFF2-40B4-BE49-F238E27FC236}">
                        <a16:creationId xmlns:a16="http://schemas.microsoft.com/office/drawing/2014/main" id="{AD5CD0C9-7C2D-546F-C10C-D6223EA4EB7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88" name="Grafik 36">
                    <a:extLst>
                      <a:ext uri="{FF2B5EF4-FFF2-40B4-BE49-F238E27FC236}">
                        <a16:creationId xmlns:a16="http://schemas.microsoft.com/office/drawing/2014/main" id="{E1BB7F85-4ACA-0389-D32C-88F9DA0BF3D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615" name="Grafik 36">
            <a:extLst>
              <a:ext uri="{FF2B5EF4-FFF2-40B4-BE49-F238E27FC236}">
                <a16:creationId xmlns:a16="http://schemas.microsoft.com/office/drawing/2014/main" id="{4CB5B5ED-4B83-4BD0-088F-C364DFF87471}"/>
              </a:ext>
            </a:extLst>
          </p:cNvPr>
          <p:cNvGrpSpPr/>
          <p:nvPr/>
        </p:nvGrpSpPr>
        <p:grpSpPr bwMode="gray">
          <a:xfrm>
            <a:off x="7288884" y="1774667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616" name="Grafik 36">
              <a:extLst>
                <a:ext uri="{FF2B5EF4-FFF2-40B4-BE49-F238E27FC236}">
                  <a16:creationId xmlns:a16="http://schemas.microsoft.com/office/drawing/2014/main" id="{FE40540F-2972-17E4-4A03-F2DF821E071F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638" name="Grafik 36">
                <a:extLst>
                  <a:ext uri="{FF2B5EF4-FFF2-40B4-BE49-F238E27FC236}">
                    <a16:creationId xmlns:a16="http://schemas.microsoft.com/office/drawing/2014/main" id="{5D0D1CA8-2578-8A6E-00AB-BB346AB7EBB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39" name="Grafik 36">
                <a:extLst>
                  <a:ext uri="{FF2B5EF4-FFF2-40B4-BE49-F238E27FC236}">
                    <a16:creationId xmlns:a16="http://schemas.microsoft.com/office/drawing/2014/main" id="{61B92ACE-8138-D933-83EB-28A48916B9F8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8" name="Grafik 36">
                <a:extLst>
                  <a:ext uri="{FF2B5EF4-FFF2-40B4-BE49-F238E27FC236}">
                    <a16:creationId xmlns:a16="http://schemas.microsoft.com/office/drawing/2014/main" id="{AF7753B3-1502-7955-8FE7-2D6231E4A65B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9" name="Grafik 36">
                <a:extLst>
                  <a:ext uri="{FF2B5EF4-FFF2-40B4-BE49-F238E27FC236}">
                    <a16:creationId xmlns:a16="http://schemas.microsoft.com/office/drawing/2014/main" id="{787B2567-4C94-4E63-31C9-19A5134DA70E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0" name="Grafik 36">
                <a:extLst>
                  <a:ext uri="{FF2B5EF4-FFF2-40B4-BE49-F238E27FC236}">
                    <a16:creationId xmlns:a16="http://schemas.microsoft.com/office/drawing/2014/main" id="{0188306B-4E35-9F1D-98F3-C3E9BFDAA951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17" name="Grafik 36">
              <a:extLst>
                <a:ext uri="{FF2B5EF4-FFF2-40B4-BE49-F238E27FC236}">
                  <a16:creationId xmlns:a16="http://schemas.microsoft.com/office/drawing/2014/main" id="{BD604B78-61B2-B879-D6D1-2F2654ED6B21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18" name="Grafik 36">
                <a:extLst>
                  <a:ext uri="{FF2B5EF4-FFF2-40B4-BE49-F238E27FC236}">
                    <a16:creationId xmlns:a16="http://schemas.microsoft.com/office/drawing/2014/main" id="{234ABD8D-248E-CDEB-E0E1-7DCBA01239F3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629" name="Grafik 36">
                  <a:extLst>
                    <a:ext uri="{FF2B5EF4-FFF2-40B4-BE49-F238E27FC236}">
                      <a16:creationId xmlns:a16="http://schemas.microsoft.com/office/drawing/2014/main" id="{3A6A2212-DE9F-0210-DA05-CD193FA1451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635" name="Grafik 36">
                    <a:extLst>
                      <a:ext uri="{FF2B5EF4-FFF2-40B4-BE49-F238E27FC236}">
                        <a16:creationId xmlns:a16="http://schemas.microsoft.com/office/drawing/2014/main" id="{EA950A83-0B63-D4CA-D740-0F4605EBC70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36" name="Grafik 36">
                    <a:extLst>
                      <a:ext uri="{FF2B5EF4-FFF2-40B4-BE49-F238E27FC236}">
                        <a16:creationId xmlns:a16="http://schemas.microsoft.com/office/drawing/2014/main" id="{D5686D99-5CF5-73A2-BD3D-42B4A782FEF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37" name="Grafik 36">
                    <a:extLst>
                      <a:ext uri="{FF2B5EF4-FFF2-40B4-BE49-F238E27FC236}">
                        <a16:creationId xmlns:a16="http://schemas.microsoft.com/office/drawing/2014/main" id="{52971E8B-63EA-5411-68F1-B87FAA3A0E5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30" name="Grafik 36">
                  <a:extLst>
                    <a:ext uri="{FF2B5EF4-FFF2-40B4-BE49-F238E27FC236}">
                      <a16:creationId xmlns:a16="http://schemas.microsoft.com/office/drawing/2014/main" id="{9FD15FBE-5904-E2BB-7B54-E350D8F2F296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631" name="Grafik 36">
                  <a:extLst>
                    <a:ext uri="{FF2B5EF4-FFF2-40B4-BE49-F238E27FC236}">
                      <a16:creationId xmlns:a16="http://schemas.microsoft.com/office/drawing/2014/main" id="{455D0304-5DDC-0E82-848D-6334647D8C0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632" name="Grafik 36">
                    <a:extLst>
                      <a:ext uri="{FF2B5EF4-FFF2-40B4-BE49-F238E27FC236}">
                        <a16:creationId xmlns:a16="http://schemas.microsoft.com/office/drawing/2014/main" id="{CE1A7157-0C99-3619-95CB-FC875CF3637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33" name="Grafik 36">
                    <a:extLst>
                      <a:ext uri="{FF2B5EF4-FFF2-40B4-BE49-F238E27FC236}">
                        <a16:creationId xmlns:a16="http://schemas.microsoft.com/office/drawing/2014/main" id="{0A3C3519-D4AB-7D85-22B0-BC2E90A17FB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34" name="Grafik 36">
                    <a:extLst>
                      <a:ext uri="{FF2B5EF4-FFF2-40B4-BE49-F238E27FC236}">
                        <a16:creationId xmlns:a16="http://schemas.microsoft.com/office/drawing/2014/main" id="{560C967A-B57B-B3C9-01C9-C8A812FE7A6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619" name="Grafik 36">
                <a:extLst>
                  <a:ext uri="{FF2B5EF4-FFF2-40B4-BE49-F238E27FC236}">
                    <a16:creationId xmlns:a16="http://schemas.microsoft.com/office/drawing/2014/main" id="{C51C84A7-9006-130B-91DE-6132CA4624E4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20" name="Grafik 36">
                  <a:extLst>
                    <a:ext uri="{FF2B5EF4-FFF2-40B4-BE49-F238E27FC236}">
                      <a16:creationId xmlns:a16="http://schemas.microsoft.com/office/drawing/2014/main" id="{3D371AFD-D671-E154-146A-3E431B87B5D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26" name="Grafik 36">
                    <a:extLst>
                      <a:ext uri="{FF2B5EF4-FFF2-40B4-BE49-F238E27FC236}">
                        <a16:creationId xmlns:a16="http://schemas.microsoft.com/office/drawing/2014/main" id="{B6C1C2E1-B91C-3E94-EACE-0F7597501D5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7" name="Grafik 36">
                    <a:extLst>
                      <a:ext uri="{FF2B5EF4-FFF2-40B4-BE49-F238E27FC236}">
                        <a16:creationId xmlns:a16="http://schemas.microsoft.com/office/drawing/2014/main" id="{A5469013-5743-D292-FC4A-0A82DFEF3FA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8" name="Grafik 36">
                    <a:extLst>
                      <a:ext uri="{FF2B5EF4-FFF2-40B4-BE49-F238E27FC236}">
                        <a16:creationId xmlns:a16="http://schemas.microsoft.com/office/drawing/2014/main" id="{AE4E6E19-7B36-B5DD-A700-8F8C94958AF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21" name="Grafik 36">
                  <a:extLst>
                    <a:ext uri="{FF2B5EF4-FFF2-40B4-BE49-F238E27FC236}">
                      <a16:creationId xmlns:a16="http://schemas.microsoft.com/office/drawing/2014/main" id="{09D9A746-7AF0-8882-784F-C2B34D39E8CC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22" name="Grafik 36">
                  <a:extLst>
                    <a:ext uri="{FF2B5EF4-FFF2-40B4-BE49-F238E27FC236}">
                      <a16:creationId xmlns:a16="http://schemas.microsoft.com/office/drawing/2014/main" id="{A8248E3C-CBFD-E34D-1898-39E987D06B63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23" name="Grafik 36">
                    <a:extLst>
                      <a:ext uri="{FF2B5EF4-FFF2-40B4-BE49-F238E27FC236}">
                        <a16:creationId xmlns:a16="http://schemas.microsoft.com/office/drawing/2014/main" id="{DEA6B010-C02A-B5C4-9F8B-C06CF1C8446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4" name="Grafik 36">
                    <a:extLst>
                      <a:ext uri="{FF2B5EF4-FFF2-40B4-BE49-F238E27FC236}">
                        <a16:creationId xmlns:a16="http://schemas.microsoft.com/office/drawing/2014/main" id="{B7437E6A-D1E3-E3AE-AA34-A23AE26577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5" name="Grafik 36">
                    <a:extLst>
                      <a:ext uri="{FF2B5EF4-FFF2-40B4-BE49-F238E27FC236}">
                        <a16:creationId xmlns:a16="http://schemas.microsoft.com/office/drawing/2014/main" id="{A994066A-256D-0ED3-146D-229019FBB20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B7682D03-C455-933A-175E-FFF55FF3EB7A}"/>
              </a:ext>
            </a:extLst>
          </p:cNvPr>
          <p:cNvCxnSpPr>
            <a:cxnSpLocks/>
          </p:cNvCxnSpPr>
          <p:nvPr/>
        </p:nvCxnSpPr>
        <p:spPr>
          <a:xfrm flipV="1">
            <a:off x="5935435" y="1958229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8" name="Straight Connector 377">
            <a:extLst>
              <a:ext uri="{FF2B5EF4-FFF2-40B4-BE49-F238E27FC236}">
                <a16:creationId xmlns:a16="http://schemas.microsoft.com/office/drawing/2014/main" id="{36280590-4205-3068-5614-BE1EA7650509}"/>
              </a:ext>
            </a:extLst>
          </p:cNvPr>
          <p:cNvCxnSpPr>
            <a:cxnSpLocks/>
          </p:cNvCxnSpPr>
          <p:nvPr/>
        </p:nvCxnSpPr>
        <p:spPr>
          <a:xfrm>
            <a:off x="6551935" y="1080467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0" name="Straight Connector 379">
            <a:extLst>
              <a:ext uri="{FF2B5EF4-FFF2-40B4-BE49-F238E27FC236}">
                <a16:creationId xmlns:a16="http://schemas.microsoft.com/office/drawing/2014/main" id="{ED0956F6-81CA-B6ED-6CA9-8AA13FF7E537}"/>
              </a:ext>
            </a:extLst>
          </p:cNvPr>
          <p:cNvCxnSpPr>
            <a:cxnSpLocks/>
          </p:cNvCxnSpPr>
          <p:nvPr/>
        </p:nvCxnSpPr>
        <p:spPr>
          <a:xfrm flipV="1">
            <a:off x="6794103" y="1957016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2" name="Rectangle: Rounded Corners 861">
            <a:extLst>
              <a:ext uri="{FF2B5EF4-FFF2-40B4-BE49-F238E27FC236}">
                <a16:creationId xmlns:a16="http://schemas.microsoft.com/office/drawing/2014/main" id="{D72F2D22-3D20-DE9E-ED46-69E75653C981}"/>
              </a:ext>
            </a:extLst>
          </p:cNvPr>
          <p:cNvSpPr/>
          <p:nvPr/>
        </p:nvSpPr>
        <p:spPr>
          <a:xfrm>
            <a:off x="1688258" y="3591660"/>
            <a:ext cx="2345860" cy="610231"/>
          </a:xfrm>
          <a:prstGeom prst="roundRect">
            <a:avLst/>
          </a:prstGeom>
          <a:noFill/>
          <a:ln w="95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grpSp>
        <p:nvGrpSpPr>
          <p:cNvPr id="863" name="Grafik 23">
            <a:extLst>
              <a:ext uri="{FF2B5EF4-FFF2-40B4-BE49-F238E27FC236}">
                <a16:creationId xmlns:a16="http://schemas.microsoft.com/office/drawing/2014/main" id="{6D70219B-8C69-1163-73FD-C7C06DFDB61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612908" y="612945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864" name="Grafik 23">
              <a:extLst>
                <a:ext uri="{FF2B5EF4-FFF2-40B4-BE49-F238E27FC236}">
                  <a16:creationId xmlns:a16="http://schemas.microsoft.com/office/drawing/2014/main" id="{017E9E7D-A45F-6BC9-CBB5-9F0E9947F9B1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65" name="Grafik 23">
              <a:extLst>
                <a:ext uri="{FF2B5EF4-FFF2-40B4-BE49-F238E27FC236}">
                  <a16:creationId xmlns:a16="http://schemas.microsoft.com/office/drawing/2014/main" id="{5597B53D-85CE-9649-3C69-6C688AE1C9B7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66" name="Grafik 23">
              <a:extLst>
                <a:ext uri="{FF2B5EF4-FFF2-40B4-BE49-F238E27FC236}">
                  <a16:creationId xmlns:a16="http://schemas.microsoft.com/office/drawing/2014/main" id="{9D0560E8-9C05-EE85-8160-7914C2A3A437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67" name="Grafik 23">
              <a:extLst>
                <a:ext uri="{FF2B5EF4-FFF2-40B4-BE49-F238E27FC236}">
                  <a16:creationId xmlns:a16="http://schemas.microsoft.com/office/drawing/2014/main" id="{D4A4095B-A946-F0C8-4A60-1CE7DD0F29D6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68" name="Grafik 23">
              <a:extLst>
                <a:ext uri="{FF2B5EF4-FFF2-40B4-BE49-F238E27FC236}">
                  <a16:creationId xmlns:a16="http://schemas.microsoft.com/office/drawing/2014/main" id="{94BE4084-2053-7365-8C41-11C0E3BFCA7B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869" name="Grafik 23">
              <a:extLst>
                <a:ext uri="{FF2B5EF4-FFF2-40B4-BE49-F238E27FC236}">
                  <a16:creationId xmlns:a16="http://schemas.microsoft.com/office/drawing/2014/main" id="{EA1EA1F0-48DD-9036-25C5-4E8F8F6DB791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870" name="Grafik 23">
                <a:extLst>
                  <a:ext uri="{FF2B5EF4-FFF2-40B4-BE49-F238E27FC236}">
                    <a16:creationId xmlns:a16="http://schemas.microsoft.com/office/drawing/2014/main" id="{65850C8A-2349-749D-F6AB-0865EA15D10A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71" name="Grafik 23">
                <a:extLst>
                  <a:ext uri="{FF2B5EF4-FFF2-40B4-BE49-F238E27FC236}">
                    <a16:creationId xmlns:a16="http://schemas.microsoft.com/office/drawing/2014/main" id="{6F3C882D-3524-B334-C580-6359E40EAE11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72" name="Grafik 23">
                <a:extLst>
                  <a:ext uri="{FF2B5EF4-FFF2-40B4-BE49-F238E27FC236}">
                    <a16:creationId xmlns:a16="http://schemas.microsoft.com/office/drawing/2014/main" id="{A5191809-8FB5-E3C0-EB5A-A67A30A642E1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73" name="Grafik 23">
                <a:extLst>
                  <a:ext uri="{FF2B5EF4-FFF2-40B4-BE49-F238E27FC236}">
                    <a16:creationId xmlns:a16="http://schemas.microsoft.com/office/drawing/2014/main" id="{4D092DE4-02E3-5C29-98E3-AE383BC178FB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874" name="Grafik 23">
            <a:extLst>
              <a:ext uri="{FF2B5EF4-FFF2-40B4-BE49-F238E27FC236}">
                <a16:creationId xmlns:a16="http://schemas.microsoft.com/office/drawing/2014/main" id="{D8438494-9686-827D-8720-48A88857C06B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425440" y="625889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875" name="Grafik 23">
              <a:extLst>
                <a:ext uri="{FF2B5EF4-FFF2-40B4-BE49-F238E27FC236}">
                  <a16:creationId xmlns:a16="http://schemas.microsoft.com/office/drawing/2014/main" id="{A7BB8AEF-6082-DA41-7816-3AA519747A41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76" name="Grafik 23">
              <a:extLst>
                <a:ext uri="{FF2B5EF4-FFF2-40B4-BE49-F238E27FC236}">
                  <a16:creationId xmlns:a16="http://schemas.microsoft.com/office/drawing/2014/main" id="{4EAE6053-4972-6881-462C-9191D791C223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77" name="Grafik 23">
              <a:extLst>
                <a:ext uri="{FF2B5EF4-FFF2-40B4-BE49-F238E27FC236}">
                  <a16:creationId xmlns:a16="http://schemas.microsoft.com/office/drawing/2014/main" id="{8443E389-13EE-2ED7-7986-80E2232B8E38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78" name="Grafik 23">
              <a:extLst>
                <a:ext uri="{FF2B5EF4-FFF2-40B4-BE49-F238E27FC236}">
                  <a16:creationId xmlns:a16="http://schemas.microsoft.com/office/drawing/2014/main" id="{32F9B8CD-DF7B-53DC-4E86-30482E6A0BB0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79" name="Grafik 23">
              <a:extLst>
                <a:ext uri="{FF2B5EF4-FFF2-40B4-BE49-F238E27FC236}">
                  <a16:creationId xmlns:a16="http://schemas.microsoft.com/office/drawing/2014/main" id="{B952F627-11E7-ECA5-CBF0-210103C00810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880" name="Grafik 23">
              <a:extLst>
                <a:ext uri="{FF2B5EF4-FFF2-40B4-BE49-F238E27FC236}">
                  <a16:creationId xmlns:a16="http://schemas.microsoft.com/office/drawing/2014/main" id="{8B842CDC-FF1C-8933-9A5F-0BA2A4841E3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881" name="Grafik 23">
                <a:extLst>
                  <a:ext uri="{FF2B5EF4-FFF2-40B4-BE49-F238E27FC236}">
                    <a16:creationId xmlns:a16="http://schemas.microsoft.com/office/drawing/2014/main" id="{D86A39A9-A882-BB79-DC1C-DF494AF9C95B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82" name="Grafik 23">
                <a:extLst>
                  <a:ext uri="{FF2B5EF4-FFF2-40B4-BE49-F238E27FC236}">
                    <a16:creationId xmlns:a16="http://schemas.microsoft.com/office/drawing/2014/main" id="{E000023D-D2EE-F234-62CC-3C5DBC938CFA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83" name="Grafik 23">
                <a:extLst>
                  <a:ext uri="{FF2B5EF4-FFF2-40B4-BE49-F238E27FC236}">
                    <a16:creationId xmlns:a16="http://schemas.microsoft.com/office/drawing/2014/main" id="{40BAC8D2-1726-ADCB-182F-6DD120D4E35A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84" name="Grafik 23">
                <a:extLst>
                  <a:ext uri="{FF2B5EF4-FFF2-40B4-BE49-F238E27FC236}">
                    <a16:creationId xmlns:a16="http://schemas.microsoft.com/office/drawing/2014/main" id="{08ACDA54-BC61-1E34-1E7D-DCA151B42F36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885" name="Grafik 23">
            <a:extLst>
              <a:ext uri="{FF2B5EF4-FFF2-40B4-BE49-F238E27FC236}">
                <a16:creationId xmlns:a16="http://schemas.microsoft.com/office/drawing/2014/main" id="{4C2E99F1-6CAD-3DD3-9810-DEFE4655B603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561996" y="627656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886" name="Grafik 23">
              <a:extLst>
                <a:ext uri="{FF2B5EF4-FFF2-40B4-BE49-F238E27FC236}">
                  <a16:creationId xmlns:a16="http://schemas.microsoft.com/office/drawing/2014/main" id="{951587F6-E6AC-572C-F932-BF897581D9E7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87" name="Grafik 23">
              <a:extLst>
                <a:ext uri="{FF2B5EF4-FFF2-40B4-BE49-F238E27FC236}">
                  <a16:creationId xmlns:a16="http://schemas.microsoft.com/office/drawing/2014/main" id="{5982BFC3-AD5A-BC52-7CDC-50AC47FE9093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88" name="Grafik 23">
              <a:extLst>
                <a:ext uri="{FF2B5EF4-FFF2-40B4-BE49-F238E27FC236}">
                  <a16:creationId xmlns:a16="http://schemas.microsoft.com/office/drawing/2014/main" id="{CF0C9DA7-41E7-807A-4DF2-821CF067D315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89" name="Grafik 23">
              <a:extLst>
                <a:ext uri="{FF2B5EF4-FFF2-40B4-BE49-F238E27FC236}">
                  <a16:creationId xmlns:a16="http://schemas.microsoft.com/office/drawing/2014/main" id="{169CC8C6-4E1D-5B9D-91A6-261C80CBEC72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90" name="Grafik 23">
              <a:extLst>
                <a:ext uri="{FF2B5EF4-FFF2-40B4-BE49-F238E27FC236}">
                  <a16:creationId xmlns:a16="http://schemas.microsoft.com/office/drawing/2014/main" id="{A59FC796-C513-180D-964E-4AEC7B17FE59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891" name="Grafik 23">
              <a:extLst>
                <a:ext uri="{FF2B5EF4-FFF2-40B4-BE49-F238E27FC236}">
                  <a16:creationId xmlns:a16="http://schemas.microsoft.com/office/drawing/2014/main" id="{A37A0F27-27AA-D14C-15AB-A2A1481B0DC1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892" name="Grafik 23">
                <a:extLst>
                  <a:ext uri="{FF2B5EF4-FFF2-40B4-BE49-F238E27FC236}">
                    <a16:creationId xmlns:a16="http://schemas.microsoft.com/office/drawing/2014/main" id="{DBD3436B-E596-0E3B-62E3-5693FDBC911A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93" name="Grafik 23">
                <a:extLst>
                  <a:ext uri="{FF2B5EF4-FFF2-40B4-BE49-F238E27FC236}">
                    <a16:creationId xmlns:a16="http://schemas.microsoft.com/office/drawing/2014/main" id="{E3788748-90D2-F868-B1DE-4F7764680D6A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94" name="Grafik 23">
                <a:extLst>
                  <a:ext uri="{FF2B5EF4-FFF2-40B4-BE49-F238E27FC236}">
                    <a16:creationId xmlns:a16="http://schemas.microsoft.com/office/drawing/2014/main" id="{FC2C15D2-6C0A-0F8A-8C3F-5F3865B22A4D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95" name="Grafik 23">
                <a:extLst>
                  <a:ext uri="{FF2B5EF4-FFF2-40B4-BE49-F238E27FC236}">
                    <a16:creationId xmlns:a16="http://schemas.microsoft.com/office/drawing/2014/main" id="{C039BFD2-70AD-BA7A-D407-FF819FAE5E3E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896" name="Grafik 23">
            <a:extLst>
              <a:ext uri="{FF2B5EF4-FFF2-40B4-BE49-F238E27FC236}">
                <a16:creationId xmlns:a16="http://schemas.microsoft.com/office/drawing/2014/main" id="{021F7707-0DCC-C366-842B-9F798BB11ED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288884" y="632340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897" name="Grafik 23">
              <a:extLst>
                <a:ext uri="{FF2B5EF4-FFF2-40B4-BE49-F238E27FC236}">
                  <a16:creationId xmlns:a16="http://schemas.microsoft.com/office/drawing/2014/main" id="{E3E486F3-2B6E-52AD-F214-B97AEFC7836F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98" name="Grafik 23">
              <a:extLst>
                <a:ext uri="{FF2B5EF4-FFF2-40B4-BE49-F238E27FC236}">
                  <a16:creationId xmlns:a16="http://schemas.microsoft.com/office/drawing/2014/main" id="{1A81026A-6F59-725C-C62D-350578F08341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99" name="Grafik 23">
              <a:extLst>
                <a:ext uri="{FF2B5EF4-FFF2-40B4-BE49-F238E27FC236}">
                  <a16:creationId xmlns:a16="http://schemas.microsoft.com/office/drawing/2014/main" id="{23F87B86-D31D-0B3C-55AA-EC6B49E2661C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900" name="Grafik 23">
              <a:extLst>
                <a:ext uri="{FF2B5EF4-FFF2-40B4-BE49-F238E27FC236}">
                  <a16:creationId xmlns:a16="http://schemas.microsoft.com/office/drawing/2014/main" id="{8EBB4E50-2F6F-E78B-5514-289FA276CF49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901" name="Grafik 23">
              <a:extLst>
                <a:ext uri="{FF2B5EF4-FFF2-40B4-BE49-F238E27FC236}">
                  <a16:creationId xmlns:a16="http://schemas.microsoft.com/office/drawing/2014/main" id="{951CF29E-BAAD-0B93-452C-77B6644AA2EE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902" name="Grafik 23">
              <a:extLst>
                <a:ext uri="{FF2B5EF4-FFF2-40B4-BE49-F238E27FC236}">
                  <a16:creationId xmlns:a16="http://schemas.microsoft.com/office/drawing/2014/main" id="{B993D06F-45AF-212F-3822-A2E9D52AD427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903" name="Grafik 23">
                <a:extLst>
                  <a:ext uri="{FF2B5EF4-FFF2-40B4-BE49-F238E27FC236}">
                    <a16:creationId xmlns:a16="http://schemas.microsoft.com/office/drawing/2014/main" id="{4B695BD1-71A6-09DA-7DB7-23893128208A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4" name="Grafik 23">
                <a:extLst>
                  <a:ext uri="{FF2B5EF4-FFF2-40B4-BE49-F238E27FC236}">
                    <a16:creationId xmlns:a16="http://schemas.microsoft.com/office/drawing/2014/main" id="{219DB6B3-350E-4F0C-59EE-ED9BD3E91084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5" name="Grafik 23">
                <a:extLst>
                  <a:ext uri="{FF2B5EF4-FFF2-40B4-BE49-F238E27FC236}">
                    <a16:creationId xmlns:a16="http://schemas.microsoft.com/office/drawing/2014/main" id="{44F9A8BE-3F98-630D-6BB0-3A7F776F81C5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6" name="Grafik 23">
                <a:extLst>
                  <a:ext uri="{FF2B5EF4-FFF2-40B4-BE49-F238E27FC236}">
                    <a16:creationId xmlns:a16="http://schemas.microsoft.com/office/drawing/2014/main" id="{E099D2C6-EF8C-E62D-192D-9233D3FB560B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cxnSp>
        <p:nvCxnSpPr>
          <p:cNvPr id="907" name="Straight Connector 906">
            <a:extLst>
              <a:ext uri="{FF2B5EF4-FFF2-40B4-BE49-F238E27FC236}">
                <a16:creationId xmlns:a16="http://schemas.microsoft.com/office/drawing/2014/main" id="{4F9D4879-3130-13F7-ABA0-F64BEC78AAB9}"/>
              </a:ext>
            </a:extLst>
          </p:cNvPr>
          <p:cNvCxnSpPr>
            <a:cxnSpLocks/>
          </p:cNvCxnSpPr>
          <p:nvPr/>
        </p:nvCxnSpPr>
        <p:spPr>
          <a:xfrm flipV="1">
            <a:off x="5938010" y="866280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8" name="Straight Connector 907">
            <a:extLst>
              <a:ext uri="{FF2B5EF4-FFF2-40B4-BE49-F238E27FC236}">
                <a16:creationId xmlns:a16="http://schemas.microsoft.com/office/drawing/2014/main" id="{757A9C29-9266-3BA7-4E41-FE34A8AF7D9F}"/>
              </a:ext>
            </a:extLst>
          </p:cNvPr>
          <p:cNvCxnSpPr>
            <a:cxnSpLocks/>
          </p:cNvCxnSpPr>
          <p:nvPr/>
        </p:nvCxnSpPr>
        <p:spPr>
          <a:xfrm flipV="1">
            <a:off x="6801454" y="865067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10" name="Grafik 36">
            <a:extLst>
              <a:ext uri="{FF2B5EF4-FFF2-40B4-BE49-F238E27FC236}">
                <a16:creationId xmlns:a16="http://schemas.microsoft.com/office/drawing/2014/main" id="{5BEE929F-BCAD-6D95-8AF8-1CF18E7AC66F}"/>
              </a:ext>
            </a:extLst>
          </p:cNvPr>
          <p:cNvGrpSpPr/>
          <p:nvPr/>
        </p:nvGrpSpPr>
        <p:grpSpPr bwMode="gray">
          <a:xfrm>
            <a:off x="1812394" y="4834541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911" name="Grafik 36">
              <a:extLst>
                <a:ext uri="{FF2B5EF4-FFF2-40B4-BE49-F238E27FC236}">
                  <a16:creationId xmlns:a16="http://schemas.microsoft.com/office/drawing/2014/main" id="{24CB5AEF-A0A8-342C-8A90-FC8312F1E597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933" name="Grafik 36">
                <a:extLst>
                  <a:ext uri="{FF2B5EF4-FFF2-40B4-BE49-F238E27FC236}">
                    <a16:creationId xmlns:a16="http://schemas.microsoft.com/office/drawing/2014/main" id="{FC4B76EE-983F-D7C2-7802-45E9928D02B5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34" name="Grafik 36">
                <a:extLst>
                  <a:ext uri="{FF2B5EF4-FFF2-40B4-BE49-F238E27FC236}">
                    <a16:creationId xmlns:a16="http://schemas.microsoft.com/office/drawing/2014/main" id="{80532028-9EEF-DA3B-4BE6-9EB13024911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35" name="Grafik 36">
                <a:extLst>
                  <a:ext uri="{FF2B5EF4-FFF2-40B4-BE49-F238E27FC236}">
                    <a16:creationId xmlns:a16="http://schemas.microsoft.com/office/drawing/2014/main" id="{43EC97B8-BAB2-1B82-9E1F-9CDA176AB104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36" name="Grafik 36">
                <a:extLst>
                  <a:ext uri="{FF2B5EF4-FFF2-40B4-BE49-F238E27FC236}">
                    <a16:creationId xmlns:a16="http://schemas.microsoft.com/office/drawing/2014/main" id="{754E84A4-080C-9792-ED82-891B8F8569A2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37" name="Grafik 36">
                <a:extLst>
                  <a:ext uri="{FF2B5EF4-FFF2-40B4-BE49-F238E27FC236}">
                    <a16:creationId xmlns:a16="http://schemas.microsoft.com/office/drawing/2014/main" id="{7F7BF558-28EA-5C41-80CD-B4CBA85BC5E7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912" name="Grafik 36">
              <a:extLst>
                <a:ext uri="{FF2B5EF4-FFF2-40B4-BE49-F238E27FC236}">
                  <a16:creationId xmlns:a16="http://schemas.microsoft.com/office/drawing/2014/main" id="{87FDA785-B451-FBD8-AEE3-A5B1B63B6AC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913" name="Grafik 36">
                <a:extLst>
                  <a:ext uri="{FF2B5EF4-FFF2-40B4-BE49-F238E27FC236}">
                    <a16:creationId xmlns:a16="http://schemas.microsoft.com/office/drawing/2014/main" id="{FF21FF33-6D7C-EB3F-E898-5AEFE00AC81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924" name="Grafik 36">
                  <a:extLst>
                    <a:ext uri="{FF2B5EF4-FFF2-40B4-BE49-F238E27FC236}">
                      <a16:creationId xmlns:a16="http://schemas.microsoft.com/office/drawing/2014/main" id="{7C502287-7411-16B7-70E3-54AF1B9B623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930" name="Grafik 36">
                    <a:extLst>
                      <a:ext uri="{FF2B5EF4-FFF2-40B4-BE49-F238E27FC236}">
                        <a16:creationId xmlns:a16="http://schemas.microsoft.com/office/drawing/2014/main" id="{23B990FE-2E2E-1327-FD42-7C48A78E25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31" name="Grafik 36">
                    <a:extLst>
                      <a:ext uri="{FF2B5EF4-FFF2-40B4-BE49-F238E27FC236}">
                        <a16:creationId xmlns:a16="http://schemas.microsoft.com/office/drawing/2014/main" id="{C74CDE89-3DE2-2CB4-BFB6-E6C9CB4446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32" name="Grafik 36">
                    <a:extLst>
                      <a:ext uri="{FF2B5EF4-FFF2-40B4-BE49-F238E27FC236}">
                        <a16:creationId xmlns:a16="http://schemas.microsoft.com/office/drawing/2014/main" id="{C073CF66-8084-E8D8-98F2-0E439E36494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925" name="Grafik 36">
                  <a:extLst>
                    <a:ext uri="{FF2B5EF4-FFF2-40B4-BE49-F238E27FC236}">
                      <a16:creationId xmlns:a16="http://schemas.microsoft.com/office/drawing/2014/main" id="{69D6E5D2-BE34-160E-E31F-5C2F471D86CC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926" name="Grafik 36">
                  <a:extLst>
                    <a:ext uri="{FF2B5EF4-FFF2-40B4-BE49-F238E27FC236}">
                      <a16:creationId xmlns:a16="http://schemas.microsoft.com/office/drawing/2014/main" id="{A91198F1-DABE-FDEA-A887-A1E070A7FD9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927" name="Grafik 36">
                    <a:extLst>
                      <a:ext uri="{FF2B5EF4-FFF2-40B4-BE49-F238E27FC236}">
                        <a16:creationId xmlns:a16="http://schemas.microsoft.com/office/drawing/2014/main" id="{4E8AFF46-B3A5-85BE-6FDB-451AE0D7769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28" name="Grafik 36">
                    <a:extLst>
                      <a:ext uri="{FF2B5EF4-FFF2-40B4-BE49-F238E27FC236}">
                        <a16:creationId xmlns:a16="http://schemas.microsoft.com/office/drawing/2014/main" id="{CFBF421F-0905-5C25-4093-47F4AC3996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29" name="Grafik 36">
                    <a:extLst>
                      <a:ext uri="{FF2B5EF4-FFF2-40B4-BE49-F238E27FC236}">
                        <a16:creationId xmlns:a16="http://schemas.microsoft.com/office/drawing/2014/main" id="{62F677B0-FDF0-F69B-5F93-5BC8E18821B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914" name="Grafik 36">
                <a:extLst>
                  <a:ext uri="{FF2B5EF4-FFF2-40B4-BE49-F238E27FC236}">
                    <a16:creationId xmlns:a16="http://schemas.microsoft.com/office/drawing/2014/main" id="{889249F6-48CF-952D-A079-7B67F66C422A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15" name="Grafik 36">
                  <a:extLst>
                    <a:ext uri="{FF2B5EF4-FFF2-40B4-BE49-F238E27FC236}">
                      <a16:creationId xmlns:a16="http://schemas.microsoft.com/office/drawing/2014/main" id="{F190CF59-B478-1207-5585-9A381EE46C36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21" name="Grafik 36">
                    <a:extLst>
                      <a:ext uri="{FF2B5EF4-FFF2-40B4-BE49-F238E27FC236}">
                        <a16:creationId xmlns:a16="http://schemas.microsoft.com/office/drawing/2014/main" id="{7E7BE235-DD54-C6FB-5067-CEFC8D59963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22" name="Grafik 36">
                    <a:extLst>
                      <a:ext uri="{FF2B5EF4-FFF2-40B4-BE49-F238E27FC236}">
                        <a16:creationId xmlns:a16="http://schemas.microsoft.com/office/drawing/2014/main" id="{80CCDDEB-E2B9-C819-B359-6DFB9B8BD47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23" name="Grafik 36">
                    <a:extLst>
                      <a:ext uri="{FF2B5EF4-FFF2-40B4-BE49-F238E27FC236}">
                        <a16:creationId xmlns:a16="http://schemas.microsoft.com/office/drawing/2014/main" id="{0DE07438-FCD8-66F7-EE39-965BA4300C1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916" name="Grafik 36">
                  <a:extLst>
                    <a:ext uri="{FF2B5EF4-FFF2-40B4-BE49-F238E27FC236}">
                      <a16:creationId xmlns:a16="http://schemas.microsoft.com/office/drawing/2014/main" id="{BEDBDA41-51CB-CA1A-ECAD-10329F20B37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17" name="Grafik 36">
                  <a:extLst>
                    <a:ext uri="{FF2B5EF4-FFF2-40B4-BE49-F238E27FC236}">
                      <a16:creationId xmlns:a16="http://schemas.microsoft.com/office/drawing/2014/main" id="{D45D7E2A-A0C6-93FF-65B9-1EDE001A1F89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18" name="Grafik 36">
                    <a:extLst>
                      <a:ext uri="{FF2B5EF4-FFF2-40B4-BE49-F238E27FC236}">
                        <a16:creationId xmlns:a16="http://schemas.microsoft.com/office/drawing/2014/main" id="{D5594289-C97B-898E-DB84-718D5B6CA5F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19" name="Grafik 36">
                    <a:extLst>
                      <a:ext uri="{FF2B5EF4-FFF2-40B4-BE49-F238E27FC236}">
                        <a16:creationId xmlns:a16="http://schemas.microsoft.com/office/drawing/2014/main" id="{E44609D6-29AC-459A-EC88-B3E1329E3F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20" name="Grafik 36">
                    <a:extLst>
                      <a:ext uri="{FF2B5EF4-FFF2-40B4-BE49-F238E27FC236}">
                        <a16:creationId xmlns:a16="http://schemas.microsoft.com/office/drawing/2014/main" id="{258DF758-1B44-44CF-0C49-C76434F6C58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938" name="Grafik 36">
            <a:extLst>
              <a:ext uri="{FF2B5EF4-FFF2-40B4-BE49-F238E27FC236}">
                <a16:creationId xmlns:a16="http://schemas.microsoft.com/office/drawing/2014/main" id="{94CD0D79-A6A9-3C44-1E06-ACDC3445E963}"/>
              </a:ext>
            </a:extLst>
          </p:cNvPr>
          <p:cNvGrpSpPr/>
          <p:nvPr/>
        </p:nvGrpSpPr>
        <p:grpSpPr bwMode="gray">
          <a:xfrm>
            <a:off x="2676309" y="483211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939" name="Grafik 36">
              <a:extLst>
                <a:ext uri="{FF2B5EF4-FFF2-40B4-BE49-F238E27FC236}">
                  <a16:creationId xmlns:a16="http://schemas.microsoft.com/office/drawing/2014/main" id="{DDB67F45-F4B9-FA22-84DF-7D9804E5EF3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961" name="Grafik 36">
                <a:extLst>
                  <a:ext uri="{FF2B5EF4-FFF2-40B4-BE49-F238E27FC236}">
                    <a16:creationId xmlns:a16="http://schemas.microsoft.com/office/drawing/2014/main" id="{344A7877-0708-5C7F-40F9-34A05D1EE2A0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62" name="Grafik 36">
                <a:extLst>
                  <a:ext uri="{FF2B5EF4-FFF2-40B4-BE49-F238E27FC236}">
                    <a16:creationId xmlns:a16="http://schemas.microsoft.com/office/drawing/2014/main" id="{F01B05E7-0119-5D79-57B5-FC61885FCF2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63" name="Grafik 36">
                <a:extLst>
                  <a:ext uri="{FF2B5EF4-FFF2-40B4-BE49-F238E27FC236}">
                    <a16:creationId xmlns:a16="http://schemas.microsoft.com/office/drawing/2014/main" id="{3F3287D3-6DAD-84E8-5B4F-97021C03C206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64" name="Grafik 36">
                <a:extLst>
                  <a:ext uri="{FF2B5EF4-FFF2-40B4-BE49-F238E27FC236}">
                    <a16:creationId xmlns:a16="http://schemas.microsoft.com/office/drawing/2014/main" id="{FE2712FC-4FE3-003D-6F09-556AC1589C45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65" name="Grafik 36">
                <a:extLst>
                  <a:ext uri="{FF2B5EF4-FFF2-40B4-BE49-F238E27FC236}">
                    <a16:creationId xmlns:a16="http://schemas.microsoft.com/office/drawing/2014/main" id="{30E3862D-3247-125F-CC13-EAE044926773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940" name="Grafik 36">
              <a:extLst>
                <a:ext uri="{FF2B5EF4-FFF2-40B4-BE49-F238E27FC236}">
                  <a16:creationId xmlns:a16="http://schemas.microsoft.com/office/drawing/2014/main" id="{5D128AEF-47F0-293D-3B49-DC7A90130923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941" name="Grafik 36">
                <a:extLst>
                  <a:ext uri="{FF2B5EF4-FFF2-40B4-BE49-F238E27FC236}">
                    <a16:creationId xmlns:a16="http://schemas.microsoft.com/office/drawing/2014/main" id="{FD1834F9-71A0-D0DB-C5F3-96A46B14138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952" name="Grafik 36">
                  <a:extLst>
                    <a:ext uri="{FF2B5EF4-FFF2-40B4-BE49-F238E27FC236}">
                      <a16:creationId xmlns:a16="http://schemas.microsoft.com/office/drawing/2014/main" id="{E7020299-D7D0-8833-3A9E-FBA93D103443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958" name="Grafik 36">
                    <a:extLst>
                      <a:ext uri="{FF2B5EF4-FFF2-40B4-BE49-F238E27FC236}">
                        <a16:creationId xmlns:a16="http://schemas.microsoft.com/office/drawing/2014/main" id="{04DB41EE-BFA7-5446-0F4B-862EDC7EBFC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59" name="Grafik 36">
                    <a:extLst>
                      <a:ext uri="{FF2B5EF4-FFF2-40B4-BE49-F238E27FC236}">
                        <a16:creationId xmlns:a16="http://schemas.microsoft.com/office/drawing/2014/main" id="{B59CFE99-B56F-91AC-B263-4F4D0369AA7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60" name="Grafik 36">
                    <a:extLst>
                      <a:ext uri="{FF2B5EF4-FFF2-40B4-BE49-F238E27FC236}">
                        <a16:creationId xmlns:a16="http://schemas.microsoft.com/office/drawing/2014/main" id="{6A9326D3-B12A-1A58-E4B2-700E499D2CB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953" name="Grafik 36">
                  <a:extLst>
                    <a:ext uri="{FF2B5EF4-FFF2-40B4-BE49-F238E27FC236}">
                      <a16:creationId xmlns:a16="http://schemas.microsoft.com/office/drawing/2014/main" id="{4C0ED63D-763E-0823-7213-FCE14108308F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954" name="Grafik 36">
                  <a:extLst>
                    <a:ext uri="{FF2B5EF4-FFF2-40B4-BE49-F238E27FC236}">
                      <a16:creationId xmlns:a16="http://schemas.microsoft.com/office/drawing/2014/main" id="{75CB3B63-2998-2B4B-D451-4168DA34294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955" name="Grafik 36">
                    <a:extLst>
                      <a:ext uri="{FF2B5EF4-FFF2-40B4-BE49-F238E27FC236}">
                        <a16:creationId xmlns:a16="http://schemas.microsoft.com/office/drawing/2014/main" id="{DC58237A-E7A5-B8FF-F99C-775D7237799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56" name="Grafik 36">
                    <a:extLst>
                      <a:ext uri="{FF2B5EF4-FFF2-40B4-BE49-F238E27FC236}">
                        <a16:creationId xmlns:a16="http://schemas.microsoft.com/office/drawing/2014/main" id="{AC94103A-40AE-18E9-D910-DFF4AD12127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57" name="Grafik 36">
                    <a:extLst>
                      <a:ext uri="{FF2B5EF4-FFF2-40B4-BE49-F238E27FC236}">
                        <a16:creationId xmlns:a16="http://schemas.microsoft.com/office/drawing/2014/main" id="{D7665129-5FF3-2B8B-4679-B6A9277A985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942" name="Grafik 36">
                <a:extLst>
                  <a:ext uri="{FF2B5EF4-FFF2-40B4-BE49-F238E27FC236}">
                    <a16:creationId xmlns:a16="http://schemas.microsoft.com/office/drawing/2014/main" id="{E9CE9484-02AC-7ADD-BE4E-C1D11D825AA6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43" name="Grafik 36">
                  <a:extLst>
                    <a:ext uri="{FF2B5EF4-FFF2-40B4-BE49-F238E27FC236}">
                      <a16:creationId xmlns:a16="http://schemas.microsoft.com/office/drawing/2014/main" id="{6E11C559-A7CE-EB3C-C64B-DED295C062FF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49" name="Grafik 36">
                    <a:extLst>
                      <a:ext uri="{FF2B5EF4-FFF2-40B4-BE49-F238E27FC236}">
                        <a16:creationId xmlns:a16="http://schemas.microsoft.com/office/drawing/2014/main" id="{FC1499D1-DB4F-C764-44DE-A05C124207B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50" name="Grafik 36">
                    <a:extLst>
                      <a:ext uri="{FF2B5EF4-FFF2-40B4-BE49-F238E27FC236}">
                        <a16:creationId xmlns:a16="http://schemas.microsoft.com/office/drawing/2014/main" id="{625CA12B-DEA5-6C92-F887-57B74CBBE0C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51" name="Grafik 36">
                    <a:extLst>
                      <a:ext uri="{FF2B5EF4-FFF2-40B4-BE49-F238E27FC236}">
                        <a16:creationId xmlns:a16="http://schemas.microsoft.com/office/drawing/2014/main" id="{4CE30A5E-3A32-60AC-F7FF-7A51F41F67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944" name="Grafik 36">
                  <a:extLst>
                    <a:ext uri="{FF2B5EF4-FFF2-40B4-BE49-F238E27FC236}">
                      <a16:creationId xmlns:a16="http://schemas.microsoft.com/office/drawing/2014/main" id="{92FC5B6B-43BC-B14D-4A87-188A5A006EAE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45" name="Grafik 36">
                  <a:extLst>
                    <a:ext uri="{FF2B5EF4-FFF2-40B4-BE49-F238E27FC236}">
                      <a16:creationId xmlns:a16="http://schemas.microsoft.com/office/drawing/2014/main" id="{5D8C8356-D1BD-D143-EFE0-C655965C4D4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46" name="Grafik 36">
                    <a:extLst>
                      <a:ext uri="{FF2B5EF4-FFF2-40B4-BE49-F238E27FC236}">
                        <a16:creationId xmlns:a16="http://schemas.microsoft.com/office/drawing/2014/main" id="{46A2165E-71E2-D53B-5AED-F17150FA46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47" name="Grafik 36">
                    <a:extLst>
                      <a:ext uri="{FF2B5EF4-FFF2-40B4-BE49-F238E27FC236}">
                        <a16:creationId xmlns:a16="http://schemas.microsoft.com/office/drawing/2014/main" id="{CD64D103-C8BC-425D-E040-E2A511CE00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48" name="Grafik 36">
                    <a:extLst>
                      <a:ext uri="{FF2B5EF4-FFF2-40B4-BE49-F238E27FC236}">
                        <a16:creationId xmlns:a16="http://schemas.microsoft.com/office/drawing/2014/main" id="{5970322E-C4C5-D2A1-C751-FDB13C2CC48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966" name="Grafik 36">
            <a:extLst>
              <a:ext uri="{FF2B5EF4-FFF2-40B4-BE49-F238E27FC236}">
                <a16:creationId xmlns:a16="http://schemas.microsoft.com/office/drawing/2014/main" id="{1C8AE124-2514-9262-1CD6-025F908CD29F}"/>
              </a:ext>
            </a:extLst>
          </p:cNvPr>
          <p:cNvGrpSpPr/>
          <p:nvPr/>
        </p:nvGrpSpPr>
        <p:grpSpPr bwMode="gray">
          <a:xfrm>
            <a:off x="3540224" y="4832116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967" name="Grafik 36">
              <a:extLst>
                <a:ext uri="{FF2B5EF4-FFF2-40B4-BE49-F238E27FC236}">
                  <a16:creationId xmlns:a16="http://schemas.microsoft.com/office/drawing/2014/main" id="{95A56719-E47A-206E-3BF2-3A155E61993C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989" name="Grafik 36">
                <a:extLst>
                  <a:ext uri="{FF2B5EF4-FFF2-40B4-BE49-F238E27FC236}">
                    <a16:creationId xmlns:a16="http://schemas.microsoft.com/office/drawing/2014/main" id="{215EB43C-5F98-2239-FA56-1D3E3184B421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90" name="Grafik 36">
                <a:extLst>
                  <a:ext uri="{FF2B5EF4-FFF2-40B4-BE49-F238E27FC236}">
                    <a16:creationId xmlns:a16="http://schemas.microsoft.com/office/drawing/2014/main" id="{78640623-95F7-71B4-5086-223357A6C5E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91" name="Grafik 36">
                <a:extLst>
                  <a:ext uri="{FF2B5EF4-FFF2-40B4-BE49-F238E27FC236}">
                    <a16:creationId xmlns:a16="http://schemas.microsoft.com/office/drawing/2014/main" id="{8D6BE646-096D-42BF-8D91-C5FD9DDA84C6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92" name="Grafik 36">
                <a:extLst>
                  <a:ext uri="{FF2B5EF4-FFF2-40B4-BE49-F238E27FC236}">
                    <a16:creationId xmlns:a16="http://schemas.microsoft.com/office/drawing/2014/main" id="{7EC15A8B-8E9F-DDE1-9940-2DB0B99BD9C3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93" name="Grafik 36">
                <a:extLst>
                  <a:ext uri="{FF2B5EF4-FFF2-40B4-BE49-F238E27FC236}">
                    <a16:creationId xmlns:a16="http://schemas.microsoft.com/office/drawing/2014/main" id="{462666FE-8ADF-20F3-122B-3FF8EBBA0DD0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968" name="Grafik 36">
              <a:extLst>
                <a:ext uri="{FF2B5EF4-FFF2-40B4-BE49-F238E27FC236}">
                  <a16:creationId xmlns:a16="http://schemas.microsoft.com/office/drawing/2014/main" id="{EB41FF50-D012-F02F-5D3F-28921D67F043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969" name="Grafik 36">
                <a:extLst>
                  <a:ext uri="{FF2B5EF4-FFF2-40B4-BE49-F238E27FC236}">
                    <a16:creationId xmlns:a16="http://schemas.microsoft.com/office/drawing/2014/main" id="{6143DE2F-6056-D02F-963F-9540439FB749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980" name="Grafik 36">
                  <a:extLst>
                    <a:ext uri="{FF2B5EF4-FFF2-40B4-BE49-F238E27FC236}">
                      <a16:creationId xmlns:a16="http://schemas.microsoft.com/office/drawing/2014/main" id="{6326CD06-5F01-EDB3-2048-460B84B9C5D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986" name="Grafik 36">
                    <a:extLst>
                      <a:ext uri="{FF2B5EF4-FFF2-40B4-BE49-F238E27FC236}">
                        <a16:creationId xmlns:a16="http://schemas.microsoft.com/office/drawing/2014/main" id="{BAB98017-87E7-00AA-519D-D3FD9C9A66D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87" name="Grafik 36">
                    <a:extLst>
                      <a:ext uri="{FF2B5EF4-FFF2-40B4-BE49-F238E27FC236}">
                        <a16:creationId xmlns:a16="http://schemas.microsoft.com/office/drawing/2014/main" id="{842BA7BE-2428-ACD2-718F-FE63EED54BA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88" name="Grafik 36">
                    <a:extLst>
                      <a:ext uri="{FF2B5EF4-FFF2-40B4-BE49-F238E27FC236}">
                        <a16:creationId xmlns:a16="http://schemas.microsoft.com/office/drawing/2014/main" id="{5C69CC6B-00CD-0C1A-CC54-789629085DD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981" name="Grafik 36">
                  <a:extLst>
                    <a:ext uri="{FF2B5EF4-FFF2-40B4-BE49-F238E27FC236}">
                      <a16:creationId xmlns:a16="http://schemas.microsoft.com/office/drawing/2014/main" id="{45353635-D385-CB18-43A1-FC531A2C0F74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982" name="Grafik 36">
                  <a:extLst>
                    <a:ext uri="{FF2B5EF4-FFF2-40B4-BE49-F238E27FC236}">
                      <a16:creationId xmlns:a16="http://schemas.microsoft.com/office/drawing/2014/main" id="{F4792AEC-5877-FE15-CC63-28F64EC5700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983" name="Grafik 36">
                    <a:extLst>
                      <a:ext uri="{FF2B5EF4-FFF2-40B4-BE49-F238E27FC236}">
                        <a16:creationId xmlns:a16="http://schemas.microsoft.com/office/drawing/2014/main" id="{6D82BCDC-3480-A689-029A-7054FD57810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84" name="Grafik 36">
                    <a:extLst>
                      <a:ext uri="{FF2B5EF4-FFF2-40B4-BE49-F238E27FC236}">
                        <a16:creationId xmlns:a16="http://schemas.microsoft.com/office/drawing/2014/main" id="{1A88B2B0-BCBC-2A56-0E7E-C1C45FC75C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85" name="Grafik 36">
                    <a:extLst>
                      <a:ext uri="{FF2B5EF4-FFF2-40B4-BE49-F238E27FC236}">
                        <a16:creationId xmlns:a16="http://schemas.microsoft.com/office/drawing/2014/main" id="{475FE890-3060-F303-C0D1-4147730B0E0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970" name="Grafik 36">
                <a:extLst>
                  <a:ext uri="{FF2B5EF4-FFF2-40B4-BE49-F238E27FC236}">
                    <a16:creationId xmlns:a16="http://schemas.microsoft.com/office/drawing/2014/main" id="{072267B1-FB42-32B8-59F0-339DB24E00A4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71" name="Grafik 36">
                  <a:extLst>
                    <a:ext uri="{FF2B5EF4-FFF2-40B4-BE49-F238E27FC236}">
                      <a16:creationId xmlns:a16="http://schemas.microsoft.com/office/drawing/2014/main" id="{1AB03711-34A6-0D2F-6268-85B961E1AC9D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77" name="Grafik 36">
                    <a:extLst>
                      <a:ext uri="{FF2B5EF4-FFF2-40B4-BE49-F238E27FC236}">
                        <a16:creationId xmlns:a16="http://schemas.microsoft.com/office/drawing/2014/main" id="{3231E53C-D8BC-8D2A-4046-0DBB62086C8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78" name="Grafik 36">
                    <a:extLst>
                      <a:ext uri="{FF2B5EF4-FFF2-40B4-BE49-F238E27FC236}">
                        <a16:creationId xmlns:a16="http://schemas.microsoft.com/office/drawing/2014/main" id="{92A2A328-291E-2E7F-E7C2-2C20C4A2F2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79" name="Grafik 36">
                    <a:extLst>
                      <a:ext uri="{FF2B5EF4-FFF2-40B4-BE49-F238E27FC236}">
                        <a16:creationId xmlns:a16="http://schemas.microsoft.com/office/drawing/2014/main" id="{0A87DBE1-05F7-EF6D-B2D8-B9708548FF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972" name="Grafik 36">
                  <a:extLst>
                    <a:ext uri="{FF2B5EF4-FFF2-40B4-BE49-F238E27FC236}">
                      <a16:creationId xmlns:a16="http://schemas.microsoft.com/office/drawing/2014/main" id="{6E8FBC8B-76D4-36C9-E69B-B32DEDD8017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73" name="Grafik 36">
                  <a:extLst>
                    <a:ext uri="{FF2B5EF4-FFF2-40B4-BE49-F238E27FC236}">
                      <a16:creationId xmlns:a16="http://schemas.microsoft.com/office/drawing/2014/main" id="{A1BCA577-8E1D-CC32-A85D-B978889DE46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74" name="Grafik 36">
                    <a:extLst>
                      <a:ext uri="{FF2B5EF4-FFF2-40B4-BE49-F238E27FC236}">
                        <a16:creationId xmlns:a16="http://schemas.microsoft.com/office/drawing/2014/main" id="{1942490C-D888-9880-5474-2217A273B01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75" name="Grafik 36">
                    <a:extLst>
                      <a:ext uri="{FF2B5EF4-FFF2-40B4-BE49-F238E27FC236}">
                        <a16:creationId xmlns:a16="http://schemas.microsoft.com/office/drawing/2014/main" id="{2C08EA54-F16E-DD3E-10EF-FB35C8CBCC3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76" name="Grafik 36">
                    <a:extLst>
                      <a:ext uri="{FF2B5EF4-FFF2-40B4-BE49-F238E27FC236}">
                        <a16:creationId xmlns:a16="http://schemas.microsoft.com/office/drawing/2014/main" id="{4F3D7EA8-63A5-D56A-96B2-89481A58558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cxnSp>
        <p:nvCxnSpPr>
          <p:cNvPr id="994" name="Straight Connector 993">
            <a:extLst>
              <a:ext uri="{FF2B5EF4-FFF2-40B4-BE49-F238E27FC236}">
                <a16:creationId xmlns:a16="http://schemas.microsoft.com/office/drawing/2014/main" id="{24D5E324-F394-AF22-1824-5FC56D096DAA}"/>
              </a:ext>
            </a:extLst>
          </p:cNvPr>
          <p:cNvCxnSpPr>
            <a:cxnSpLocks/>
          </p:cNvCxnSpPr>
          <p:nvPr/>
        </p:nvCxnSpPr>
        <p:spPr>
          <a:xfrm flipV="1">
            <a:off x="2186775" y="5015678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5" name="Straight Connector 994">
            <a:extLst>
              <a:ext uri="{FF2B5EF4-FFF2-40B4-BE49-F238E27FC236}">
                <a16:creationId xmlns:a16="http://schemas.microsoft.com/office/drawing/2014/main" id="{73588C8F-B4CC-89D0-54FF-D4F5F00B19AC}"/>
              </a:ext>
            </a:extLst>
          </p:cNvPr>
          <p:cNvCxnSpPr>
            <a:cxnSpLocks/>
          </p:cNvCxnSpPr>
          <p:nvPr/>
        </p:nvCxnSpPr>
        <p:spPr>
          <a:xfrm flipH="1" flipV="1">
            <a:off x="1951200" y="4221273"/>
            <a:ext cx="8385" cy="64475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6" name="Straight Connector 995">
            <a:extLst>
              <a:ext uri="{FF2B5EF4-FFF2-40B4-BE49-F238E27FC236}">
                <a16:creationId xmlns:a16="http://schemas.microsoft.com/office/drawing/2014/main" id="{BC536172-BEE3-451A-94D6-1A361849A709}"/>
              </a:ext>
            </a:extLst>
          </p:cNvPr>
          <p:cNvCxnSpPr>
            <a:cxnSpLocks/>
          </p:cNvCxnSpPr>
          <p:nvPr/>
        </p:nvCxnSpPr>
        <p:spPr>
          <a:xfrm>
            <a:off x="3670717" y="4210187"/>
            <a:ext cx="22897" cy="65100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8" name="Straight Connector 997">
            <a:extLst>
              <a:ext uri="{FF2B5EF4-FFF2-40B4-BE49-F238E27FC236}">
                <a16:creationId xmlns:a16="http://schemas.microsoft.com/office/drawing/2014/main" id="{6581029D-45DD-B212-BF62-90AF3961B16E}"/>
              </a:ext>
            </a:extLst>
          </p:cNvPr>
          <p:cNvCxnSpPr>
            <a:cxnSpLocks/>
          </p:cNvCxnSpPr>
          <p:nvPr/>
        </p:nvCxnSpPr>
        <p:spPr>
          <a:xfrm flipV="1">
            <a:off x="3045443" y="5014465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99" name="Grafik 23">
            <a:extLst>
              <a:ext uri="{FF2B5EF4-FFF2-40B4-BE49-F238E27FC236}">
                <a16:creationId xmlns:a16="http://schemas.microsoft.com/office/drawing/2014/main" id="{5FF12E85-E859-74E4-EC0C-9BF3127C522C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676780" y="3683338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000" name="Grafik 23">
              <a:extLst>
                <a:ext uri="{FF2B5EF4-FFF2-40B4-BE49-F238E27FC236}">
                  <a16:creationId xmlns:a16="http://schemas.microsoft.com/office/drawing/2014/main" id="{9CEF8794-55F6-FE44-C237-F4B8F57DC947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01" name="Grafik 23">
              <a:extLst>
                <a:ext uri="{FF2B5EF4-FFF2-40B4-BE49-F238E27FC236}">
                  <a16:creationId xmlns:a16="http://schemas.microsoft.com/office/drawing/2014/main" id="{AD2AABE4-265C-417D-92D6-9FD8187F6F51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02" name="Grafik 23">
              <a:extLst>
                <a:ext uri="{FF2B5EF4-FFF2-40B4-BE49-F238E27FC236}">
                  <a16:creationId xmlns:a16="http://schemas.microsoft.com/office/drawing/2014/main" id="{2B5CB43F-82BF-3A76-D76B-6710C454CABA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03" name="Grafik 23">
              <a:extLst>
                <a:ext uri="{FF2B5EF4-FFF2-40B4-BE49-F238E27FC236}">
                  <a16:creationId xmlns:a16="http://schemas.microsoft.com/office/drawing/2014/main" id="{4C4DB11A-9D10-94E8-E345-0C95332B2D10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04" name="Grafik 23">
              <a:extLst>
                <a:ext uri="{FF2B5EF4-FFF2-40B4-BE49-F238E27FC236}">
                  <a16:creationId xmlns:a16="http://schemas.microsoft.com/office/drawing/2014/main" id="{7289A5BC-9556-4D9E-98AA-A061B6FE0474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005" name="Grafik 23">
              <a:extLst>
                <a:ext uri="{FF2B5EF4-FFF2-40B4-BE49-F238E27FC236}">
                  <a16:creationId xmlns:a16="http://schemas.microsoft.com/office/drawing/2014/main" id="{431B31C5-6C01-FEAE-41D8-0D84850A745E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006" name="Grafik 23">
                <a:extLst>
                  <a:ext uri="{FF2B5EF4-FFF2-40B4-BE49-F238E27FC236}">
                    <a16:creationId xmlns:a16="http://schemas.microsoft.com/office/drawing/2014/main" id="{363E718B-53CB-666F-9574-D7D9B6AA06F8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07" name="Grafik 23">
                <a:extLst>
                  <a:ext uri="{FF2B5EF4-FFF2-40B4-BE49-F238E27FC236}">
                    <a16:creationId xmlns:a16="http://schemas.microsoft.com/office/drawing/2014/main" id="{1125C3AE-C6DD-C357-9F01-5805175F766E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08" name="Grafik 23">
                <a:extLst>
                  <a:ext uri="{FF2B5EF4-FFF2-40B4-BE49-F238E27FC236}">
                    <a16:creationId xmlns:a16="http://schemas.microsoft.com/office/drawing/2014/main" id="{4C945B4C-0603-5629-3A4C-039ED99B5115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09" name="Grafik 23">
                <a:extLst>
                  <a:ext uri="{FF2B5EF4-FFF2-40B4-BE49-F238E27FC236}">
                    <a16:creationId xmlns:a16="http://schemas.microsoft.com/office/drawing/2014/main" id="{F6E08AD0-870F-51E7-0DF2-24AFFF1F4B61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010" name="Grafik 23">
            <a:extLst>
              <a:ext uri="{FF2B5EF4-FFF2-40B4-BE49-F238E27FC236}">
                <a16:creationId xmlns:a16="http://schemas.microsoft.com/office/drawing/2014/main" id="{29925B5A-DFC1-5056-5BE0-527297A10EA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813336" y="3685105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011" name="Grafik 23">
              <a:extLst>
                <a:ext uri="{FF2B5EF4-FFF2-40B4-BE49-F238E27FC236}">
                  <a16:creationId xmlns:a16="http://schemas.microsoft.com/office/drawing/2014/main" id="{E4FF41E0-870D-FA0D-4343-7A3F3D253FE7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12" name="Grafik 23">
              <a:extLst>
                <a:ext uri="{FF2B5EF4-FFF2-40B4-BE49-F238E27FC236}">
                  <a16:creationId xmlns:a16="http://schemas.microsoft.com/office/drawing/2014/main" id="{C65677BB-49D0-AA9F-1800-90C471CA4A7F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13" name="Grafik 23">
              <a:extLst>
                <a:ext uri="{FF2B5EF4-FFF2-40B4-BE49-F238E27FC236}">
                  <a16:creationId xmlns:a16="http://schemas.microsoft.com/office/drawing/2014/main" id="{1E14C6E0-CD90-12DE-DBAD-541D1C1E9045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14" name="Grafik 23">
              <a:extLst>
                <a:ext uri="{FF2B5EF4-FFF2-40B4-BE49-F238E27FC236}">
                  <a16:creationId xmlns:a16="http://schemas.microsoft.com/office/drawing/2014/main" id="{5DF5A33F-EB19-9B1D-42D9-2AADB5F9099C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15" name="Grafik 23">
              <a:extLst>
                <a:ext uri="{FF2B5EF4-FFF2-40B4-BE49-F238E27FC236}">
                  <a16:creationId xmlns:a16="http://schemas.microsoft.com/office/drawing/2014/main" id="{305D05D0-D8D5-EB47-148E-EAC8331BCDA7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016" name="Grafik 23">
              <a:extLst>
                <a:ext uri="{FF2B5EF4-FFF2-40B4-BE49-F238E27FC236}">
                  <a16:creationId xmlns:a16="http://schemas.microsoft.com/office/drawing/2014/main" id="{60F74286-073B-8939-07CC-139A9E5272C8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017" name="Grafik 23">
                <a:extLst>
                  <a:ext uri="{FF2B5EF4-FFF2-40B4-BE49-F238E27FC236}">
                    <a16:creationId xmlns:a16="http://schemas.microsoft.com/office/drawing/2014/main" id="{31490BA2-2CF5-078C-63AC-4443DB646FC4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18" name="Grafik 23">
                <a:extLst>
                  <a:ext uri="{FF2B5EF4-FFF2-40B4-BE49-F238E27FC236}">
                    <a16:creationId xmlns:a16="http://schemas.microsoft.com/office/drawing/2014/main" id="{CDB5A41F-44C8-DD55-6215-F607FB40E044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19" name="Grafik 23">
                <a:extLst>
                  <a:ext uri="{FF2B5EF4-FFF2-40B4-BE49-F238E27FC236}">
                    <a16:creationId xmlns:a16="http://schemas.microsoft.com/office/drawing/2014/main" id="{BCA6B46D-E59E-2199-A4CA-D0A824D734AF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20" name="Grafik 23">
                <a:extLst>
                  <a:ext uri="{FF2B5EF4-FFF2-40B4-BE49-F238E27FC236}">
                    <a16:creationId xmlns:a16="http://schemas.microsoft.com/office/drawing/2014/main" id="{6D6B5D99-F2D5-99CE-9BD9-56681F24739D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021" name="Grafik 23">
            <a:extLst>
              <a:ext uri="{FF2B5EF4-FFF2-40B4-BE49-F238E27FC236}">
                <a16:creationId xmlns:a16="http://schemas.microsoft.com/office/drawing/2014/main" id="{19B5D05D-F268-8A58-8431-C96760C74A93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540224" y="3689789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022" name="Grafik 23">
              <a:extLst>
                <a:ext uri="{FF2B5EF4-FFF2-40B4-BE49-F238E27FC236}">
                  <a16:creationId xmlns:a16="http://schemas.microsoft.com/office/drawing/2014/main" id="{3910422A-21AD-3835-45AC-D4C03AC8C0B2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23" name="Grafik 23">
              <a:extLst>
                <a:ext uri="{FF2B5EF4-FFF2-40B4-BE49-F238E27FC236}">
                  <a16:creationId xmlns:a16="http://schemas.microsoft.com/office/drawing/2014/main" id="{4A153320-106A-9D72-2BA2-BE9E459B2C84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24" name="Grafik 23">
              <a:extLst>
                <a:ext uri="{FF2B5EF4-FFF2-40B4-BE49-F238E27FC236}">
                  <a16:creationId xmlns:a16="http://schemas.microsoft.com/office/drawing/2014/main" id="{829699F7-A2AA-FE27-54E6-D9F84DE3E12C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25" name="Grafik 23">
              <a:extLst>
                <a:ext uri="{FF2B5EF4-FFF2-40B4-BE49-F238E27FC236}">
                  <a16:creationId xmlns:a16="http://schemas.microsoft.com/office/drawing/2014/main" id="{45C3BB69-C570-764A-D43E-F0667F5C1CAD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26" name="Grafik 23">
              <a:extLst>
                <a:ext uri="{FF2B5EF4-FFF2-40B4-BE49-F238E27FC236}">
                  <a16:creationId xmlns:a16="http://schemas.microsoft.com/office/drawing/2014/main" id="{BD756B27-EB8F-C2C5-D905-2CAC745FBCE2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027" name="Grafik 23">
              <a:extLst>
                <a:ext uri="{FF2B5EF4-FFF2-40B4-BE49-F238E27FC236}">
                  <a16:creationId xmlns:a16="http://schemas.microsoft.com/office/drawing/2014/main" id="{200A56AD-3DAC-579A-5961-58B89533AB6D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028" name="Grafik 23">
                <a:extLst>
                  <a:ext uri="{FF2B5EF4-FFF2-40B4-BE49-F238E27FC236}">
                    <a16:creationId xmlns:a16="http://schemas.microsoft.com/office/drawing/2014/main" id="{744D2988-0674-3C7C-BAA6-84753533D1B1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29" name="Grafik 23">
                <a:extLst>
                  <a:ext uri="{FF2B5EF4-FFF2-40B4-BE49-F238E27FC236}">
                    <a16:creationId xmlns:a16="http://schemas.microsoft.com/office/drawing/2014/main" id="{5529D63B-F3E5-26DA-F843-3A9E2A49D80B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30" name="Grafik 23">
                <a:extLst>
                  <a:ext uri="{FF2B5EF4-FFF2-40B4-BE49-F238E27FC236}">
                    <a16:creationId xmlns:a16="http://schemas.microsoft.com/office/drawing/2014/main" id="{E26E7C85-BD6A-3514-8B52-41D4F4D42F92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31" name="Grafik 23">
                <a:extLst>
                  <a:ext uri="{FF2B5EF4-FFF2-40B4-BE49-F238E27FC236}">
                    <a16:creationId xmlns:a16="http://schemas.microsoft.com/office/drawing/2014/main" id="{48BA2AA2-44BE-AB95-9DCC-EF53DD6F020C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cxnSp>
        <p:nvCxnSpPr>
          <p:cNvPr id="1032" name="Straight Connector 1031">
            <a:extLst>
              <a:ext uri="{FF2B5EF4-FFF2-40B4-BE49-F238E27FC236}">
                <a16:creationId xmlns:a16="http://schemas.microsoft.com/office/drawing/2014/main" id="{26F99E3E-9AC9-017D-67FD-A72DA7AE64B0}"/>
              </a:ext>
            </a:extLst>
          </p:cNvPr>
          <p:cNvCxnSpPr>
            <a:cxnSpLocks/>
          </p:cNvCxnSpPr>
          <p:nvPr/>
        </p:nvCxnSpPr>
        <p:spPr>
          <a:xfrm flipV="1">
            <a:off x="2189350" y="3923729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3" name="Straight Connector 1032">
            <a:extLst>
              <a:ext uri="{FF2B5EF4-FFF2-40B4-BE49-F238E27FC236}">
                <a16:creationId xmlns:a16="http://schemas.microsoft.com/office/drawing/2014/main" id="{35341BB9-A812-B455-FF7A-36F9B8185FFE}"/>
              </a:ext>
            </a:extLst>
          </p:cNvPr>
          <p:cNvCxnSpPr>
            <a:cxnSpLocks/>
          </p:cNvCxnSpPr>
          <p:nvPr/>
        </p:nvCxnSpPr>
        <p:spPr>
          <a:xfrm flipV="1">
            <a:off x="3052794" y="3922516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4" name="Grafik 36">
            <a:extLst>
              <a:ext uri="{FF2B5EF4-FFF2-40B4-BE49-F238E27FC236}">
                <a16:creationId xmlns:a16="http://schemas.microsoft.com/office/drawing/2014/main" id="{A7A91011-787C-84CF-F87F-957CD46B6793}"/>
              </a:ext>
            </a:extLst>
          </p:cNvPr>
          <p:cNvGrpSpPr/>
          <p:nvPr/>
        </p:nvGrpSpPr>
        <p:grpSpPr bwMode="gray">
          <a:xfrm>
            <a:off x="5570400" y="4880590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1035" name="Grafik 36">
              <a:extLst>
                <a:ext uri="{FF2B5EF4-FFF2-40B4-BE49-F238E27FC236}">
                  <a16:creationId xmlns:a16="http://schemas.microsoft.com/office/drawing/2014/main" id="{2D2E38D6-DBFC-C64D-F567-8732E100FC0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057" name="Grafik 36">
                <a:extLst>
                  <a:ext uri="{FF2B5EF4-FFF2-40B4-BE49-F238E27FC236}">
                    <a16:creationId xmlns:a16="http://schemas.microsoft.com/office/drawing/2014/main" id="{1D821A22-FBD0-63CD-3463-F16CD70225E9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58" name="Grafik 36">
                <a:extLst>
                  <a:ext uri="{FF2B5EF4-FFF2-40B4-BE49-F238E27FC236}">
                    <a16:creationId xmlns:a16="http://schemas.microsoft.com/office/drawing/2014/main" id="{32BF723C-95EE-A7E6-D700-EFD850DDC9C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59" name="Grafik 36">
                <a:extLst>
                  <a:ext uri="{FF2B5EF4-FFF2-40B4-BE49-F238E27FC236}">
                    <a16:creationId xmlns:a16="http://schemas.microsoft.com/office/drawing/2014/main" id="{6A10ECF8-2585-F23D-65DA-B362A43E074E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60" name="Grafik 36">
                <a:extLst>
                  <a:ext uri="{FF2B5EF4-FFF2-40B4-BE49-F238E27FC236}">
                    <a16:creationId xmlns:a16="http://schemas.microsoft.com/office/drawing/2014/main" id="{123358F3-70B9-535D-5143-2E3C3A6A1C2C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61" name="Grafik 36">
                <a:extLst>
                  <a:ext uri="{FF2B5EF4-FFF2-40B4-BE49-F238E27FC236}">
                    <a16:creationId xmlns:a16="http://schemas.microsoft.com/office/drawing/2014/main" id="{EFE0EAF1-365B-88E6-7003-932A48B479B5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36" name="Grafik 36">
              <a:extLst>
                <a:ext uri="{FF2B5EF4-FFF2-40B4-BE49-F238E27FC236}">
                  <a16:creationId xmlns:a16="http://schemas.microsoft.com/office/drawing/2014/main" id="{4E37CB3E-7C7A-1508-9BA1-778406680BF3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1037" name="Grafik 36">
                <a:extLst>
                  <a:ext uri="{FF2B5EF4-FFF2-40B4-BE49-F238E27FC236}">
                    <a16:creationId xmlns:a16="http://schemas.microsoft.com/office/drawing/2014/main" id="{C5017DAD-E737-AF0C-A5CA-F6E2DF14C7B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048" name="Grafik 36">
                  <a:extLst>
                    <a:ext uri="{FF2B5EF4-FFF2-40B4-BE49-F238E27FC236}">
                      <a16:creationId xmlns:a16="http://schemas.microsoft.com/office/drawing/2014/main" id="{ED4EE965-C14D-2E24-0317-C0E8A801F49B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054" name="Grafik 36">
                    <a:extLst>
                      <a:ext uri="{FF2B5EF4-FFF2-40B4-BE49-F238E27FC236}">
                        <a16:creationId xmlns:a16="http://schemas.microsoft.com/office/drawing/2014/main" id="{3CD39155-B5DE-A85F-2AD6-E63EE70715B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55" name="Grafik 36">
                    <a:extLst>
                      <a:ext uri="{FF2B5EF4-FFF2-40B4-BE49-F238E27FC236}">
                        <a16:creationId xmlns:a16="http://schemas.microsoft.com/office/drawing/2014/main" id="{E7F22EC9-AFD5-D335-845A-200A85B852C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56" name="Grafik 36">
                    <a:extLst>
                      <a:ext uri="{FF2B5EF4-FFF2-40B4-BE49-F238E27FC236}">
                        <a16:creationId xmlns:a16="http://schemas.microsoft.com/office/drawing/2014/main" id="{A539EEA3-1D3A-04E9-E1E2-4B3C12F514D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049" name="Grafik 36">
                  <a:extLst>
                    <a:ext uri="{FF2B5EF4-FFF2-40B4-BE49-F238E27FC236}">
                      <a16:creationId xmlns:a16="http://schemas.microsoft.com/office/drawing/2014/main" id="{40B89020-3755-E582-EC83-BEA3126781F0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1050" name="Grafik 36">
                  <a:extLst>
                    <a:ext uri="{FF2B5EF4-FFF2-40B4-BE49-F238E27FC236}">
                      <a16:creationId xmlns:a16="http://schemas.microsoft.com/office/drawing/2014/main" id="{689802C7-978A-BBF6-232A-AE030C62B83A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051" name="Grafik 36">
                    <a:extLst>
                      <a:ext uri="{FF2B5EF4-FFF2-40B4-BE49-F238E27FC236}">
                        <a16:creationId xmlns:a16="http://schemas.microsoft.com/office/drawing/2014/main" id="{89F502F1-D4E2-84E2-6392-CD9D5A1C4F6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52" name="Grafik 36">
                    <a:extLst>
                      <a:ext uri="{FF2B5EF4-FFF2-40B4-BE49-F238E27FC236}">
                        <a16:creationId xmlns:a16="http://schemas.microsoft.com/office/drawing/2014/main" id="{4A1939AA-15A8-85EE-F2C0-121EF2E3311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53" name="Grafik 36">
                    <a:extLst>
                      <a:ext uri="{FF2B5EF4-FFF2-40B4-BE49-F238E27FC236}">
                        <a16:creationId xmlns:a16="http://schemas.microsoft.com/office/drawing/2014/main" id="{E448F82B-2137-91D7-FB22-E361B86F3E8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1038" name="Grafik 36">
                <a:extLst>
                  <a:ext uri="{FF2B5EF4-FFF2-40B4-BE49-F238E27FC236}">
                    <a16:creationId xmlns:a16="http://schemas.microsoft.com/office/drawing/2014/main" id="{9175A992-F795-8277-4E72-2BE92DD54176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1039" name="Grafik 36">
                  <a:extLst>
                    <a:ext uri="{FF2B5EF4-FFF2-40B4-BE49-F238E27FC236}">
                      <a16:creationId xmlns:a16="http://schemas.microsoft.com/office/drawing/2014/main" id="{A72AC4AD-E702-978E-A974-D90C7557737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045" name="Grafik 36">
                    <a:extLst>
                      <a:ext uri="{FF2B5EF4-FFF2-40B4-BE49-F238E27FC236}">
                        <a16:creationId xmlns:a16="http://schemas.microsoft.com/office/drawing/2014/main" id="{4B274E98-176B-6ADB-42A5-A365FDC799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46" name="Grafik 36">
                    <a:extLst>
                      <a:ext uri="{FF2B5EF4-FFF2-40B4-BE49-F238E27FC236}">
                        <a16:creationId xmlns:a16="http://schemas.microsoft.com/office/drawing/2014/main" id="{356F73F5-5A75-1040-6A4F-767A01FCC7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47" name="Grafik 36">
                    <a:extLst>
                      <a:ext uri="{FF2B5EF4-FFF2-40B4-BE49-F238E27FC236}">
                        <a16:creationId xmlns:a16="http://schemas.microsoft.com/office/drawing/2014/main" id="{ACB77DA9-15FF-6997-16E7-8D21498C2D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040" name="Grafik 36">
                  <a:extLst>
                    <a:ext uri="{FF2B5EF4-FFF2-40B4-BE49-F238E27FC236}">
                      <a16:creationId xmlns:a16="http://schemas.microsoft.com/office/drawing/2014/main" id="{F4F5183B-AFCB-042E-F1A4-4939FB481F7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41" name="Grafik 36">
                  <a:extLst>
                    <a:ext uri="{FF2B5EF4-FFF2-40B4-BE49-F238E27FC236}">
                      <a16:creationId xmlns:a16="http://schemas.microsoft.com/office/drawing/2014/main" id="{69D7F2CF-CA26-B730-E755-2171B8DB957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42" name="Grafik 36">
                    <a:extLst>
                      <a:ext uri="{FF2B5EF4-FFF2-40B4-BE49-F238E27FC236}">
                        <a16:creationId xmlns:a16="http://schemas.microsoft.com/office/drawing/2014/main" id="{66E2C348-714D-2166-3FB4-F69ED8F2B84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43" name="Grafik 36">
                    <a:extLst>
                      <a:ext uri="{FF2B5EF4-FFF2-40B4-BE49-F238E27FC236}">
                        <a16:creationId xmlns:a16="http://schemas.microsoft.com/office/drawing/2014/main" id="{99699B25-E4E5-4F0E-6E40-63A396963C0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44" name="Grafik 36">
                    <a:extLst>
                      <a:ext uri="{FF2B5EF4-FFF2-40B4-BE49-F238E27FC236}">
                        <a16:creationId xmlns:a16="http://schemas.microsoft.com/office/drawing/2014/main" id="{3BFB4400-F798-DEEF-55DA-B1B82C8E6A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1062" name="Grafik 36">
            <a:extLst>
              <a:ext uri="{FF2B5EF4-FFF2-40B4-BE49-F238E27FC236}">
                <a16:creationId xmlns:a16="http://schemas.microsoft.com/office/drawing/2014/main" id="{55A97A6F-B77B-CC4B-2507-3C33FA433A79}"/>
              </a:ext>
            </a:extLst>
          </p:cNvPr>
          <p:cNvGrpSpPr/>
          <p:nvPr/>
        </p:nvGrpSpPr>
        <p:grpSpPr bwMode="gray">
          <a:xfrm>
            <a:off x="6434315" y="4878164"/>
            <a:ext cx="374400" cy="374400"/>
            <a:chOff x="5843587" y="3176587"/>
            <a:chExt cx="500253" cy="500253"/>
          </a:xfrm>
          <a:solidFill>
            <a:schemeClr val="accent2">
              <a:lumMod val="75000"/>
            </a:schemeClr>
          </a:solidFill>
        </p:grpSpPr>
        <p:grpSp>
          <p:nvGrpSpPr>
            <p:cNvPr id="1063" name="Grafik 36">
              <a:extLst>
                <a:ext uri="{FF2B5EF4-FFF2-40B4-BE49-F238E27FC236}">
                  <a16:creationId xmlns:a16="http://schemas.microsoft.com/office/drawing/2014/main" id="{65EA77D0-7C46-94F8-A8A0-23BCFC40CA11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085" name="Grafik 36">
                <a:extLst>
                  <a:ext uri="{FF2B5EF4-FFF2-40B4-BE49-F238E27FC236}">
                    <a16:creationId xmlns:a16="http://schemas.microsoft.com/office/drawing/2014/main" id="{D72B3A2F-56A5-BE07-34F3-440D2727B69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86" name="Grafik 36">
                <a:extLst>
                  <a:ext uri="{FF2B5EF4-FFF2-40B4-BE49-F238E27FC236}">
                    <a16:creationId xmlns:a16="http://schemas.microsoft.com/office/drawing/2014/main" id="{F9E7150F-AD74-306C-752B-DCD14D1D0A0C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87" name="Grafik 36">
                <a:extLst>
                  <a:ext uri="{FF2B5EF4-FFF2-40B4-BE49-F238E27FC236}">
                    <a16:creationId xmlns:a16="http://schemas.microsoft.com/office/drawing/2014/main" id="{8B5504E7-4E9A-6BD1-2264-43333AE54A13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88" name="Grafik 36">
                <a:extLst>
                  <a:ext uri="{FF2B5EF4-FFF2-40B4-BE49-F238E27FC236}">
                    <a16:creationId xmlns:a16="http://schemas.microsoft.com/office/drawing/2014/main" id="{C78B9D8C-E71A-E6DE-A413-FA3602EBAD20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89" name="Grafik 36">
                <a:extLst>
                  <a:ext uri="{FF2B5EF4-FFF2-40B4-BE49-F238E27FC236}">
                    <a16:creationId xmlns:a16="http://schemas.microsoft.com/office/drawing/2014/main" id="{5092ECAD-3337-55EF-7C21-3B39541E355A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64" name="Grafik 36">
              <a:extLst>
                <a:ext uri="{FF2B5EF4-FFF2-40B4-BE49-F238E27FC236}">
                  <a16:creationId xmlns:a16="http://schemas.microsoft.com/office/drawing/2014/main" id="{2492ACB8-F734-B32F-8738-63A2F227E3EE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1065" name="Grafik 36">
                <a:extLst>
                  <a:ext uri="{FF2B5EF4-FFF2-40B4-BE49-F238E27FC236}">
                    <a16:creationId xmlns:a16="http://schemas.microsoft.com/office/drawing/2014/main" id="{DC4F2C2A-E7CA-F935-57E8-9094B66C953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076" name="Grafik 36">
                  <a:extLst>
                    <a:ext uri="{FF2B5EF4-FFF2-40B4-BE49-F238E27FC236}">
                      <a16:creationId xmlns:a16="http://schemas.microsoft.com/office/drawing/2014/main" id="{123F8938-1D8A-EC27-E086-77D954D9EAD9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082" name="Grafik 36">
                    <a:extLst>
                      <a:ext uri="{FF2B5EF4-FFF2-40B4-BE49-F238E27FC236}">
                        <a16:creationId xmlns:a16="http://schemas.microsoft.com/office/drawing/2014/main" id="{77F36193-B236-8940-9356-0C26148C39B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83" name="Grafik 36">
                    <a:extLst>
                      <a:ext uri="{FF2B5EF4-FFF2-40B4-BE49-F238E27FC236}">
                        <a16:creationId xmlns:a16="http://schemas.microsoft.com/office/drawing/2014/main" id="{51B35856-C732-4C1D-1872-E20AD04C1C4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84" name="Grafik 36">
                    <a:extLst>
                      <a:ext uri="{FF2B5EF4-FFF2-40B4-BE49-F238E27FC236}">
                        <a16:creationId xmlns:a16="http://schemas.microsoft.com/office/drawing/2014/main" id="{AD796DEB-5AF4-5F75-D715-40F78DD4D42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077" name="Grafik 36">
                  <a:extLst>
                    <a:ext uri="{FF2B5EF4-FFF2-40B4-BE49-F238E27FC236}">
                      <a16:creationId xmlns:a16="http://schemas.microsoft.com/office/drawing/2014/main" id="{C8B16DD9-2F37-D3E2-DECD-6584A68697F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1078" name="Grafik 36">
                  <a:extLst>
                    <a:ext uri="{FF2B5EF4-FFF2-40B4-BE49-F238E27FC236}">
                      <a16:creationId xmlns:a16="http://schemas.microsoft.com/office/drawing/2014/main" id="{0F1D896D-0F8F-21D9-24D3-8BE03D82B377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079" name="Grafik 36">
                    <a:extLst>
                      <a:ext uri="{FF2B5EF4-FFF2-40B4-BE49-F238E27FC236}">
                        <a16:creationId xmlns:a16="http://schemas.microsoft.com/office/drawing/2014/main" id="{1BCC7F2F-9ACB-8207-0581-2CC689A6CF7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80" name="Grafik 36">
                    <a:extLst>
                      <a:ext uri="{FF2B5EF4-FFF2-40B4-BE49-F238E27FC236}">
                        <a16:creationId xmlns:a16="http://schemas.microsoft.com/office/drawing/2014/main" id="{DC872A99-3CCE-BA08-BD2E-E14E440FE72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81" name="Grafik 36">
                    <a:extLst>
                      <a:ext uri="{FF2B5EF4-FFF2-40B4-BE49-F238E27FC236}">
                        <a16:creationId xmlns:a16="http://schemas.microsoft.com/office/drawing/2014/main" id="{8B2A337A-3F65-AAB1-CCAA-F8B8D6424F9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1066" name="Grafik 36">
                <a:extLst>
                  <a:ext uri="{FF2B5EF4-FFF2-40B4-BE49-F238E27FC236}">
                    <a16:creationId xmlns:a16="http://schemas.microsoft.com/office/drawing/2014/main" id="{11EC5CB9-FB01-4ACE-3B8F-DCFFC9463476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1067" name="Grafik 36">
                  <a:extLst>
                    <a:ext uri="{FF2B5EF4-FFF2-40B4-BE49-F238E27FC236}">
                      <a16:creationId xmlns:a16="http://schemas.microsoft.com/office/drawing/2014/main" id="{566C5284-AFB4-AA6F-D2F4-4382D4B2A051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073" name="Grafik 36">
                    <a:extLst>
                      <a:ext uri="{FF2B5EF4-FFF2-40B4-BE49-F238E27FC236}">
                        <a16:creationId xmlns:a16="http://schemas.microsoft.com/office/drawing/2014/main" id="{B3BF66A4-354D-6AC3-FFB0-877129DE0B4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74" name="Grafik 36">
                    <a:extLst>
                      <a:ext uri="{FF2B5EF4-FFF2-40B4-BE49-F238E27FC236}">
                        <a16:creationId xmlns:a16="http://schemas.microsoft.com/office/drawing/2014/main" id="{73781F1F-A420-EB87-A514-D22B9306866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75" name="Grafik 36">
                    <a:extLst>
                      <a:ext uri="{FF2B5EF4-FFF2-40B4-BE49-F238E27FC236}">
                        <a16:creationId xmlns:a16="http://schemas.microsoft.com/office/drawing/2014/main" id="{5106F614-28D1-D4A1-0A64-17AEDC7B6DD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068" name="Grafik 36">
                  <a:extLst>
                    <a:ext uri="{FF2B5EF4-FFF2-40B4-BE49-F238E27FC236}">
                      <a16:creationId xmlns:a16="http://schemas.microsoft.com/office/drawing/2014/main" id="{D5AF88F1-E4B5-22E9-0C11-6D4A74F35476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69" name="Grafik 36">
                  <a:extLst>
                    <a:ext uri="{FF2B5EF4-FFF2-40B4-BE49-F238E27FC236}">
                      <a16:creationId xmlns:a16="http://schemas.microsoft.com/office/drawing/2014/main" id="{AE3C7200-A76C-4142-32E1-542D63009D7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70" name="Grafik 36">
                    <a:extLst>
                      <a:ext uri="{FF2B5EF4-FFF2-40B4-BE49-F238E27FC236}">
                        <a16:creationId xmlns:a16="http://schemas.microsoft.com/office/drawing/2014/main" id="{2698E061-E7D7-53CC-5FEB-287DDB687A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71" name="Grafik 36">
                    <a:extLst>
                      <a:ext uri="{FF2B5EF4-FFF2-40B4-BE49-F238E27FC236}">
                        <a16:creationId xmlns:a16="http://schemas.microsoft.com/office/drawing/2014/main" id="{A87C166E-FB6F-FCF4-6150-14405383E5A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72" name="Grafik 36">
                    <a:extLst>
                      <a:ext uri="{FF2B5EF4-FFF2-40B4-BE49-F238E27FC236}">
                        <a16:creationId xmlns:a16="http://schemas.microsoft.com/office/drawing/2014/main" id="{F16127BE-C378-84FF-CDC2-8FCE9B48930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1090" name="Grafik 36">
            <a:extLst>
              <a:ext uri="{FF2B5EF4-FFF2-40B4-BE49-F238E27FC236}">
                <a16:creationId xmlns:a16="http://schemas.microsoft.com/office/drawing/2014/main" id="{357DD868-E287-70A6-6D07-2034281314AA}"/>
              </a:ext>
            </a:extLst>
          </p:cNvPr>
          <p:cNvGrpSpPr/>
          <p:nvPr/>
        </p:nvGrpSpPr>
        <p:grpSpPr bwMode="gray">
          <a:xfrm>
            <a:off x="7298230" y="4878165"/>
            <a:ext cx="374400" cy="374400"/>
            <a:chOff x="5843587" y="3176587"/>
            <a:chExt cx="500253" cy="500253"/>
          </a:xfrm>
          <a:solidFill>
            <a:schemeClr val="accent6">
              <a:lumMod val="75000"/>
            </a:schemeClr>
          </a:solidFill>
        </p:grpSpPr>
        <p:grpSp>
          <p:nvGrpSpPr>
            <p:cNvPr id="1091" name="Grafik 36">
              <a:extLst>
                <a:ext uri="{FF2B5EF4-FFF2-40B4-BE49-F238E27FC236}">
                  <a16:creationId xmlns:a16="http://schemas.microsoft.com/office/drawing/2014/main" id="{1F052846-BF87-4958-04AB-40F634F3ED67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113" name="Grafik 36">
                <a:extLst>
                  <a:ext uri="{FF2B5EF4-FFF2-40B4-BE49-F238E27FC236}">
                    <a16:creationId xmlns:a16="http://schemas.microsoft.com/office/drawing/2014/main" id="{BC8DCD0E-8D45-0339-3978-530DFCE1736A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14" name="Grafik 36">
                <a:extLst>
                  <a:ext uri="{FF2B5EF4-FFF2-40B4-BE49-F238E27FC236}">
                    <a16:creationId xmlns:a16="http://schemas.microsoft.com/office/drawing/2014/main" id="{1681A79A-A0F4-8D1D-45F7-90D911C17969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15" name="Grafik 36">
                <a:extLst>
                  <a:ext uri="{FF2B5EF4-FFF2-40B4-BE49-F238E27FC236}">
                    <a16:creationId xmlns:a16="http://schemas.microsoft.com/office/drawing/2014/main" id="{C5FB4F13-30FB-A3F0-AA5B-CADDAF3917B8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16" name="Grafik 36">
                <a:extLst>
                  <a:ext uri="{FF2B5EF4-FFF2-40B4-BE49-F238E27FC236}">
                    <a16:creationId xmlns:a16="http://schemas.microsoft.com/office/drawing/2014/main" id="{B28AFA86-9F38-C01A-4DA2-46CBBB57E0C7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17" name="Grafik 36">
                <a:extLst>
                  <a:ext uri="{FF2B5EF4-FFF2-40B4-BE49-F238E27FC236}">
                    <a16:creationId xmlns:a16="http://schemas.microsoft.com/office/drawing/2014/main" id="{0E5A5D58-6B42-0E6F-C152-8A012832F953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92" name="Grafik 36">
              <a:extLst>
                <a:ext uri="{FF2B5EF4-FFF2-40B4-BE49-F238E27FC236}">
                  <a16:creationId xmlns:a16="http://schemas.microsoft.com/office/drawing/2014/main" id="{954DD442-1620-69B2-6B8A-74AC3A11961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1093" name="Grafik 36">
                <a:extLst>
                  <a:ext uri="{FF2B5EF4-FFF2-40B4-BE49-F238E27FC236}">
                    <a16:creationId xmlns:a16="http://schemas.microsoft.com/office/drawing/2014/main" id="{38984C0F-B970-92DA-2912-D5D3C27E703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104" name="Grafik 36">
                  <a:extLst>
                    <a:ext uri="{FF2B5EF4-FFF2-40B4-BE49-F238E27FC236}">
                      <a16:creationId xmlns:a16="http://schemas.microsoft.com/office/drawing/2014/main" id="{12561E83-3F8F-6464-1E6E-D00799EA7F9B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110" name="Grafik 36">
                    <a:extLst>
                      <a:ext uri="{FF2B5EF4-FFF2-40B4-BE49-F238E27FC236}">
                        <a16:creationId xmlns:a16="http://schemas.microsoft.com/office/drawing/2014/main" id="{47A1B752-AE10-59E1-744B-63F7869A1B4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11" name="Grafik 36">
                    <a:extLst>
                      <a:ext uri="{FF2B5EF4-FFF2-40B4-BE49-F238E27FC236}">
                        <a16:creationId xmlns:a16="http://schemas.microsoft.com/office/drawing/2014/main" id="{72B3680E-17C0-B813-5791-C5EE6512E2F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12" name="Grafik 36">
                    <a:extLst>
                      <a:ext uri="{FF2B5EF4-FFF2-40B4-BE49-F238E27FC236}">
                        <a16:creationId xmlns:a16="http://schemas.microsoft.com/office/drawing/2014/main" id="{BA739B5C-BABE-891A-C487-86F3EBA9B00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105" name="Grafik 36">
                  <a:extLst>
                    <a:ext uri="{FF2B5EF4-FFF2-40B4-BE49-F238E27FC236}">
                      <a16:creationId xmlns:a16="http://schemas.microsoft.com/office/drawing/2014/main" id="{17478F03-9CE2-4254-E298-C3EB1C4B3D1D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1106" name="Grafik 36">
                  <a:extLst>
                    <a:ext uri="{FF2B5EF4-FFF2-40B4-BE49-F238E27FC236}">
                      <a16:creationId xmlns:a16="http://schemas.microsoft.com/office/drawing/2014/main" id="{52267D5A-32F7-7FBD-77FE-5F9B1D0408D4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107" name="Grafik 36">
                    <a:extLst>
                      <a:ext uri="{FF2B5EF4-FFF2-40B4-BE49-F238E27FC236}">
                        <a16:creationId xmlns:a16="http://schemas.microsoft.com/office/drawing/2014/main" id="{04E5C102-1994-AFCA-2BE5-3F06B2AEA39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08" name="Grafik 36">
                    <a:extLst>
                      <a:ext uri="{FF2B5EF4-FFF2-40B4-BE49-F238E27FC236}">
                        <a16:creationId xmlns:a16="http://schemas.microsoft.com/office/drawing/2014/main" id="{B4519072-A942-7D33-DBC0-C9BF715AC68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09" name="Grafik 36">
                    <a:extLst>
                      <a:ext uri="{FF2B5EF4-FFF2-40B4-BE49-F238E27FC236}">
                        <a16:creationId xmlns:a16="http://schemas.microsoft.com/office/drawing/2014/main" id="{18CAEFDD-82CF-A69E-0035-75E9DBEAB0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1094" name="Grafik 36">
                <a:extLst>
                  <a:ext uri="{FF2B5EF4-FFF2-40B4-BE49-F238E27FC236}">
                    <a16:creationId xmlns:a16="http://schemas.microsoft.com/office/drawing/2014/main" id="{8A7D8B7A-5A37-DE45-E002-33658D50E0E5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1095" name="Grafik 36">
                  <a:extLst>
                    <a:ext uri="{FF2B5EF4-FFF2-40B4-BE49-F238E27FC236}">
                      <a16:creationId xmlns:a16="http://schemas.microsoft.com/office/drawing/2014/main" id="{00F560AA-0721-ECDC-2237-B1D8AF14D895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101" name="Grafik 36">
                    <a:extLst>
                      <a:ext uri="{FF2B5EF4-FFF2-40B4-BE49-F238E27FC236}">
                        <a16:creationId xmlns:a16="http://schemas.microsoft.com/office/drawing/2014/main" id="{E25DC920-A5F7-70B0-F120-83BB38B643A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02" name="Grafik 36">
                    <a:extLst>
                      <a:ext uri="{FF2B5EF4-FFF2-40B4-BE49-F238E27FC236}">
                        <a16:creationId xmlns:a16="http://schemas.microsoft.com/office/drawing/2014/main" id="{77FA88AD-E00A-352A-8844-0591039C17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03" name="Grafik 36">
                    <a:extLst>
                      <a:ext uri="{FF2B5EF4-FFF2-40B4-BE49-F238E27FC236}">
                        <a16:creationId xmlns:a16="http://schemas.microsoft.com/office/drawing/2014/main" id="{9CE1AC88-1263-6E70-77CC-867243B470B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096" name="Grafik 36">
                  <a:extLst>
                    <a:ext uri="{FF2B5EF4-FFF2-40B4-BE49-F238E27FC236}">
                      <a16:creationId xmlns:a16="http://schemas.microsoft.com/office/drawing/2014/main" id="{3952CC3E-A2F8-226F-2D77-01DCE66780CC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97" name="Grafik 36">
                  <a:extLst>
                    <a:ext uri="{FF2B5EF4-FFF2-40B4-BE49-F238E27FC236}">
                      <a16:creationId xmlns:a16="http://schemas.microsoft.com/office/drawing/2014/main" id="{44102A01-5D28-66D1-4956-71B03E2E4A6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98" name="Grafik 36">
                    <a:extLst>
                      <a:ext uri="{FF2B5EF4-FFF2-40B4-BE49-F238E27FC236}">
                        <a16:creationId xmlns:a16="http://schemas.microsoft.com/office/drawing/2014/main" id="{E9188EF8-32A3-2D3E-3B02-B48ECE4D3EF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99" name="Grafik 36">
                    <a:extLst>
                      <a:ext uri="{FF2B5EF4-FFF2-40B4-BE49-F238E27FC236}">
                        <a16:creationId xmlns:a16="http://schemas.microsoft.com/office/drawing/2014/main" id="{109D582D-0D11-104F-F98B-B3D6AB1AC0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00" name="Grafik 36">
                    <a:extLst>
                      <a:ext uri="{FF2B5EF4-FFF2-40B4-BE49-F238E27FC236}">
                        <a16:creationId xmlns:a16="http://schemas.microsoft.com/office/drawing/2014/main" id="{A496C018-AF1C-D9B5-BEAB-67D6177888B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cxnSp>
        <p:nvCxnSpPr>
          <p:cNvPr id="1118" name="Straight Connector 1117">
            <a:extLst>
              <a:ext uri="{FF2B5EF4-FFF2-40B4-BE49-F238E27FC236}">
                <a16:creationId xmlns:a16="http://schemas.microsoft.com/office/drawing/2014/main" id="{74BE858F-5925-0BD3-77E2-33FB92C46FE2}"/>
              </a:ext>
            </a:extLst>
          </p:cNvPr>
          <p:cNvCxnSpPr>
            <a:cxnSpLocks/>
          </p:cNvCxnSpPr>
          <p:nvPr/>
        </p:nvCxnSpPr>
        <p:spPr>
          <a:xfrm flipV="1">
            <a:off x="5944781" y="5061727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1" name="Straight Connector 1120">
            <a:extLst>
              <a:ext uri="{FF2B5EF4-FFF2-40B4-BE49-F238E27FC236}">
                <a16:creationId xmlns:a16="http://schemas.microsoft.com/office/drawing/2014/main" id="{FC02DB19-64F1-F11A-0F7F-343272D54A74}"/>
              </a:ext>
            </a:extLst>
          </p:cNvPr>
          <p:cNvCxnSpPr>
            <a:cxnSpLocks/>
          </p:cNvCxnSpPr>
          <p:nvPr/>
        </p:nvCxnSpPr>
        <p:spPr>
          <a:xfrm>
            <a:off x="6561281" y="4183965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2" name="Straight Connector 1121">
            <a:extLst>
              <a:ext uri="{FF2B5EF4-FFF2-40B4-BE49-F238E27FC236}">
                <a16:creationId xmlns:a16="http://schemas.microsoft.com/office/drawing/2014/main" id="{4394615C-AD7D-9600-60BC-22DEFC43B274}"/>
              </a:ext>
            </a:extLst>
          </p:cNvPr>
          <p:cNvCxnSpPr>
            <a:cxnSpLocks/>
          </p:cNvCxnSpPr>
          <p:nvPr/>
        </p:nvCxnSpPr>
        <p:spPr>
          <a:xfrm flipV="1">
            <a:off x="6803449" y="5060514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23" name="Grafik 23">
            <a:extLst>
              <a:ext uri="{FF2B5EF4-FFF2-40B4-BE49-F238E27FC236}">
                <a16:creationId xmlns:a16="http://schemas.microsoft.com/office/drawing/2014/main" id="{460CD34E-25EC-845C-110F-B46378D8899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434786" y="3729387"/>
            <a:ext cx="374400" cy="464640"/>
            <a:chOff x="5895975" y="3176587"/>
            <a:chExt cx="403097" cy="500253"/>
          </a:xfrm>
          <a:solidFill>
            <a:schemeClr val="accent2">
              <a:lumMod val="75000"/>
            </a:schemeClr>
          </a:solidFill>
        </p:grpSpPr>
        <p:sp>
          <p:nvSpPr>
            <p:cNvPr id="1124" name="Grafik 23">
              <a:extLst>
                <a:ext uri="{FF2B5EF4-FFF2-40B4-BE49-F238E27FC236}">
                  <a16:creationId xmlns:a16="http://schemas.microsoft.com/office/drawing/2014/main" id="{BB1A4BD5-6A42-E82F-FA8E-8B730CFA29DD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25" name="Grafik 23">
              <a:extLst>
                <a:ext uri="{FF2B5EF4-FFF2-40B4-BE49-F238E27FC236}">
                  <a16:creationId xmlns:a16="http://schemas.microsoft.com/office/drawing/2014/main" id="{906A8079-AFDA-C842-F347-067A584EBB1B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26" name="Grafik 23">
              <a:extLst>
                <a:ext uri="{FF2B5EF4-FFF2-40B4-BE49-F238E27FC236}">
                  <a16:creationId xmlns:a16="http://schemas.microsoft.com/office/drawing/2014/main" id="{72AF3BE4-473A-008E-4508-C11F08AB5A9A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27" name="Grafik 23">
              <a:extLst>
                <a:ext uri="{FF2B5EF4-FFF2-40B4-BE49-F238E27FC236}">
                  <a16:creationId xmlns:a16="http://schemas.microsoft.com/office/drawing/2014/main" id="{7DE8A192-68BC-84B7-5FCE-59C207979029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28" name="Grafik 23">
              <a:extLst>
                <a:ext uri="{FF2B5EF4-FFF2-40B4-BE49-F238E27FC236}">
                  <a16:creationId xmlns:a16="http://schemas.microsoft.com/office/drawing/2014/main" id="{E1D48BEF-7BA1-4620-F625-0511EED019BA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129" name="Grafik 23">
              <a:extLst>
                <a:ext uri="{FF2B5EF4-FFF2-40B4-BE49-F238E27FC236}">
                  <a16:creationId xmlns:a16="http://schemas.microsoft.com/office/drawing/2014/main" id="{A8A1FC89-90A3-731D-D1D6-6D7F121555D7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130" name="Grafik 23">
                <a:extLst>
                  <a:ext uri="{FF2B5EF4-FFF2-40B4-BE49-F238E27FC236}">
                    <a16:creationId xmlns:a16="http://schemas.microsoft.com/office/drawing/2014/main" id="{3588FC64-4D89-E244-5F93-B197CB1C8224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31" name="Grafik 23">
                <a:extLst>
                  <a:ext uri="{FF2B5EF4-FFF2-40B4-BE49-F238E27FC236}">
                    <a16:creationId xmlns:a16="http://schemas.microsoft.com/office/drawing/2014/main" id="{00750BFA-A93A-053D-738E-3DB0D6642127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32" name="Grafik 23">
                <a:extLst>
                  <a:ext uri="{FF2B5EF4-FFF2-40B4-BE49-F238E27FC236}">
                    <a16:creationId xmlns:a16="http://schemas.microsoft.com/office/drawing/2014/main" id="{04B37630-874E-9913-519D-031B28E0CF48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33" name="Grafik 23">
                <a:extLst>
                  <a:ext uri="{FF2B5EF4-FFF2-40B4-BE49-F238E27FC236}">
                    <a16:creationId xmlns:a16="http://schemas.microsoft.com/office/drawing/2014/main" id="{033EAC82-BC38-A80F-C700-4488E7706E36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134" name="Grafik 23">
            <a:extLst>
              <a:ext uri="{FF2B5EF4-FFF2-40B4-BE49-F238E27FC236}">
                <a16:creationId xmlns:a16="http://schemas.microsoft.com/office/drawing/2014/main" id="{96806F70-7CE6-977A-37E4-BD7F23B8D909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571342" y="3731154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135" name="Grafik 23">
              <a:extLst>
                <a:ext uri="{FF2B5EF4-FFF2-40B4-BE49-F238E27FC236}">
                  <a16:creationId xmlns:a16="http://schemas.microsoft.com/office/drawing/2014/main" id="{131C24A1-D8A7-9ADB-7A80-28E562736A79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36" name="Grafik 23">
              <a:extLst>
                <a:ext uri="{FF2B5EF4-FFF2-40B4-BE49-F238E27FC236}">
                  <a16:creationId xmlns:a16="http://schemas.microsoft.com/office/drawing/2014/main" id="{9846A8C5-8915-3CD1-7095-6E70DC1A0570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37" name="Grafik 23">
              <a:extLst>
                <a:ext uri="{FF2B5EF4-FFF2-40B4-BE49-F238E27FC236}">
                  <a16:creationId xmlns:a16="http://schemas.microsoft.com/office/drawing/2014/main" id="{4040ECB4-2626-26AB-EA00-37FA89D75EF3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38" name="Grafik 23">
              <a:extLst>
                <a:ext uri="{FF2B5EF4-FFF2-40B4-BE49-F238E27FC236}">
                  <a16:creationId xmlns:a16="http://schemas.microsoft.com/office/drawing/2014/main" id="{600164A8-AEBE-B688-41D6-B6A37E12862F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39" name="Grafik 23">
              <a:extLst>
                <a:ext uri="{FF2B5EF4-FFF2-40B4-BE49-F238E27FC236}">
                  <a16:creationId xmlns:a16="http://schemas.microsoft.com/office/drawing/2014/main" id="{485694F7-45DD-C522-A222-C951E75C1153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140" name="Grafik 23">
              <a:extLst>
                <a:ext uri="{FF2B5EF4-FFF2-40B4-BE49-F238E27FC236}">
                  <a16:creationId xmlns:a16="http://schemas.microsoft.com/office/drawing/2014/main" id="{E05FC8F8-B253-57E7-E1EF-875BA9BF7A4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141" name="Grafik 23">
                <a:extLst>
                  <a:ext uri="{FF2B5EF4-FFF2-40B4-BE49-F238E27FC236}">
                    <a16:creationId xmlns:a16="http://schemas.microsoft.com/office/drawing/2014/main" id="{2DDBC22B-A1C8-707B-3DEA-CF7340D9EAA1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42" name="Grafik 23">
                <a:extLst>
                  <a:ext uri="{FF2B5EF4-FFF2-40B4-BE49-F238E27FC236}">
                    <a16:creationId xmlns:a16="http://schemas.microsoft.com/office/drawing/2014/main" id="{08B2E959-1248-BF55-331D-C41CC35B1EA9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43" name="Grafik 23">
                <a:extLst>
                  <a:ext uri="{FF2B5EF4-FFF2-40B4-BE49-F238E27FC236}">
                    <a16:creationId xmlns:a16="http://schemas.microsoft.com/office/drawing/2014/main" id="{D3F3269F-C785-20B4-38AA-592CDCAB5AE4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44" name="Grafik 23">
                <a:extLst>
                  <a:ext uri="{FF2B5EF4-FFF2-40B4-BE49-F238E27FC236}">
                    <a16:creationId xmlns:a16="http://schemas.microsoft.com/office/drawing/2014/main" id="{70B519C9-1006-1127-2B17-ECB9AA3C8A99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145" name="Grafik 23">
            <a:extLst>
              <a:ext uri="{FF2B5EF4-FFF2-40B4-BE49-F238E27FC236}">
                <a16:creationId xmlns:a16="http://schemas.microsoft.com/office/drawing/2014/main" id="{90A41E87-D18A-CA95-208F-B1732B6FE95B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298230" y="3735838"/>
            <a:ext cx="374400" cy="464640"/>
            <a:chOff x="5895975" y="3176587"/>
            <a:chExt cx="403097" cy="500253"/>
          </a:xfrm>
          <a:solidFill>
            <a:schemeClr val="accent6">
              <a:lumMod val="75000"/>
            </a:schemeClr>
          </a:solidFill>
        </p:grpSpPr>
        <p:sp>
          <p:nvSpPr>
            <p:cNvPr id="1146" name="Grafik 23">
              <a:extLst>
                <a:ext uri="{FF2B5EF4-FFF2-40B4-BE49-F238E27FC236}">
                  <a16:creationId xmlns:a16="http://schemas.microsoft.com/office/drawing/2014/main" id="{DCADCA14-CF52-AF31-C058-BC841866EE20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47" name="Grafik 23">
              <a:extLst>
                <a:ext uri="{FF2B5EF4-FFF2-40B4-BE49-F238E27FC236}">
                  <a16:creationId xmlns:a16="http://schemas.microsoft.com/office/drawing/2014/main" id="{58180247-2CF5-EF96-8214-9B4C92C31268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48" name="Grafik 23">
              <a:extLst>
                <a:ext uri="{FF2B5EF4-FFF2-40B4-BE49-F238E27FC236}">
                  <a16:creationId xmlns:a16="http://schemas.microsoft.com/office/drawing/2014/main" id="{601B8A34-FAFD-CA08-CFD0-C57045F8BF44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49" name="Grafik 23">
              <a:extLst>
                <a:ext uri="{FF2B5EF4-FFF2-40B4-BE49-F238E27FC236}">
                  <a16:creationId xmlns:a16="http://schemas.microsoft.com/office/drawing/2014/main" id="{72FDAEBD-7A26-9B96-446B-1D123AF79FD2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50" name="Grafik 23">
              <a:extLst>
                <a:ext uri="{FF2B5EF4-FFF2-40B4-BE49-F238E27FC236}">
                  <a16:creationId xmlns:a16="http://schemas.microsoft.com/office/drawing/2014/main" id="{9AA30E2D-C6F7-8CDE-B28E-87A4FF97D76B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151" name="Grafik 23">
              <a:extLst>
                <a:ext uri="{FF2B5EF4-FFF2-40B4-BE49-F238E27FC236}">
                  <a16:creationId xmlns:a16="http://schemas.microsoft.com/office/drawing/2014/main" id="{DDC8550B-C531-70A5-DAA5-F6A74EB6025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152" name="Grafik 23">
                <a:extLst>
                  <a:ext uri="{FF2B5EF4-FFF2-40B4-BE49-F238E27FC236}">
                    <a16:creationId xmlns:a16="http://schemas.microsoft.com/office/drawing/2014/main" id="{1FC05A7E-559D-76BC-9D4A-FECBA0FDC246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53" name="Grafik 23">
                <a:extLst>
                  <a:ext uri="{FF2B5EF4-FFF2-40B4-BE49-F238E27FC236}">
                    <a16:creationId xmlns:a16="http://schemas.microsoft.com/office/drawing/2014/main" id="{4EC66771-C088-C0BE-BF78-F32F46DC49B3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54" name="Grafik 23">
                <a:extLst>
                  <a:ext uri="{FF2B5EF4-FFF2-40B4-BE49-F238E27FC236}">
                    <a16:creationId xmlns:a16="http://schemas.microsoft.com/office/drawing/2014/main" id="{10973D0A-7D05-1477-092F-6003D8443F06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55" name="Grafik 23">
                <a:extLst>
                  <a:ext uri="{FF2B5EF4-FFF2-40B4-BE49-F238E27FC236}">
                    <a16:creationId xmlns:a16="http://schemas.microsoft.com/office/drawing/2014/main" id="{6D0253F5-155D-6248-C2CA-BEAA7B07A90A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cxnSp>
        <p:nvCxnSpPr>
          <p:cNvPr id="1156" name="Straight Connector 1155">
            <a:extLst>
              <a:ext uri="{FF2B5EF4-FFF2-40B4-BE49-F238E27FC236}">
                <a16:creationId xmlns:a16="http://schemas.microsoft.com/office/drawing/2014/main" id="{3A725768-4C92-48D9-81C7-7650ED29BC5D}"/>
              </a:ext>
            </a:extLst>
          </p:cNvPr>
          <p:cNvCxnSpPr>
            <a:cxnSpLocks/>
          </p:cNvCxnSpPr>
          <p:nvPr/>
        </p:nvCxnSpPr>
        <p:spPr>
          <a:xfrm flipV="1">
            <a:off x="5947356" y="3969778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7" name="Straight Connector 1156">
            <a:extLst>
              <a:ext uri="{FF2B5EF4-FFF2-40B4-BE49-F238E27FC236}">
                <a16:creationId xmlns:a16="http://schemas.microsoft.com/office/drawing/2014/main" id="{FA42247D-E4A5-BF4D-8348-41C92EE69680}"/>
              </a:ext>
            </a:extLst>
          </p:cNvPr>
          <p:cNvCxnSpPr>
            <a:cxnSpLocks/>
          </p:cNvCxnSpPr>
          <p:nvPr/>
        </p:nvCxnSpPr>
        <p:spPr>
          <a:xfrm flipV="1">
            <a:off x="6810800" y="3968565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9" name="Straight Connector 1158">
            <a:extLst>
              <a:ext uri="{FF2B5EF4-FFF2-40B4-BE49-F238E27FC236}">
                <a16:creationId xmlns:a16="http://schemas.microsoft.com/office/drawing/2014/main" id="{94C64E48-7F5D-3A55-FEB6-D4CD013CCD97}"/>
              </a:ext>
            </a:extLst>
          </p:cNvPr>
          <p:cNvCxnSpPr>
            <a:cxnSpLocks/>
          </p:cNvCxnSpPr>
          <p:nvPr/>
        </p:nvCxnSpPr>
        <p:spPr>
          <a:xfrm>
            <a:off x="7436138" y="4189700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0" name="Straight Connector 1159">
            <a:extLst>
              <a:ext uri="{FF2B5EF4-FFF2-40B4-BE49-F238E27FC236}">
                <a16:creationId xmlns:a16="http://schemas.microsoft.com/office/drawing/2014/main" id="{F4B60887-243B-F09A-3B57-0003042D1DCA}"/>
              </a:ext>
            </a:extLst>
          </p:cNvPr>
          <p:cNvCxnSpPr>
            <a:cxnSpLocks/>
          </p:cNvCxnSpPr>
          <p:nvPr/>
        </p:nvCxnSpPr>
        <p:spPr>
          <a:xfrm>
            <a:off x="5697837" y="4189700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4" name="Straight Connector 1163">
            <a:extLst>
              <a:ext uri="{FF2B5EF4-FFF2-40B4-BE49-F238E27FC236}">
                <a16:creationId xmlns:a16="http://schemas.microsoft.com/office/drawing/2014/main" id="{FE820F4B-C3B2-10A8-691D-34F0CAAAAFE6}"/>
              </a:ext>
            </a:extLst>
          </p:cNvPr>
          <p:cNvCxnSpPr>
            <a:cxnSpLocks/>
          </p:cNvCxnSpPr>
          <p:nvPr/>
        </p:nvCxnSpPr>
        <p:spPr>
          <a:xfrm flipH="1" flipV="1">
            <a:off x="2809756" y="4219088"/>
            <a:ext cx="8385" cy="64475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5" name="TextBox 1164">
            <a:extLst>
              <a:ext uri="{FF2B5EF4-FFF2-40B4-BE49-F238E27FC236}">
                <a16:creationId xmlns:a16="http://schemas.microsoft.com/office/drawing/2014/main" id="{D8AD9840-CCB3-7C56-C549-D306B78FB356}"/>
              </a:ext>
            </a:extLst>
          </p:cNvPr>
          <p:cNvSpPr txBox="1"/>
          <p:nvPr/>
        </p:nvSpPr>
        <p:spPr>
          <a:xfrm>
            <a:off x="5534931" y="2282761"/>
            <a:ext cx="2215664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b. Physically-distributed architecture</a:t>
            </a:r>
          </a:p>
        </p:txBody>
      </p:sp>
      <p:sp>
        <p:nvSpPr>
          <p:cNvPr id="1166" name="TextBox 1165">
            <a:extLst>
              <a:ext uri="{FF2B5EF4-FFF2-40B4-BE49-F238E27FC236}">
                <a16:creationId xmlns:a16="http://schemas.microsoft.com/office/drawing/2014/main" id="{953134D5-ECE7-1BEC-E90E-4908D107B78F}"/>
              </a:ext>
            </a:extLst>
          </p:cNvPr>
          <p:cNvSpPr txBox="1"/>
          <p:nvPr/>
        </p:nvSpPr>
        <p:spPr>
          <a:xfrm>
            <a:off x="1760862" y="5316021"/>
            <a:ext cx="2215664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c. Physically-distributed &amp; Logically-centralised architecture</a:t>
            </a:r>
          </a:p>
        </p:txBody>
      </p:sp>
      <p:sp>
        <p:nvSpPr>
          <p:cNvPr id="1167" name="TextBox 1166">
            <a:extLst>
              <a:ext uri="{FF2B5EF4-FFF2-40B4-BE49-F238E27FC236}">
                <a16:creationId xmlns:a16="http://schemas.microsoft.com/office/drawing/2014/main" id="{80C7FFD7-4720-E7E4-7923-DD5500942D5D}"/>
              </a:ext>
            </a:extLst>
          </p:cNvPr>
          <p:cNvSpPr txBox="1"/>
          <p:nvPr/>
        </p:nvSpPr>
        <p:spPr>
          <a:xfrm>
            <a:off x="5509554" y="5316021"/>
            <a:ext cx="2215664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d. Physically-distributed &amp; Logically-distributed architecture</a:t>
            </a:r>
          </a:p>
        </p:txBody>
      </p:sp>
      <p:cxnSp>
        <p:nvCxnSpPr>
          <p:cNvPr id="1169" name="Straight Connector 1168">
            <a:extLst>
              <a:ext uri="{FF2B5EF4-FFF2-40B4-BE49-F238E27FC236}">
                <a16:creationId xmlns:a16="http://schemas.microsoft.com/office/drawing/2014/main" id="{A0F9DB06-F93F-72D1-7C29-9438B34E04A7}"/>
              </a:ext>
            </a:extLst>
          </p:cNvPr>
          <p:cNvCxnSpPr>
            <a:cxnSpLocks/>
          </p:cNvCxnSpPr>
          <p:nvPr/>
        </p:nvCxnSpPr>
        <p:spPr>
          <a:xfrm>
            <a:off x="7421557" y="1095443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0" name="Straight Connector 1169">
            <a:extLst>
              <a:ext uri="{FF2B5EF4-FFF2-40B4-BE49-F238E27FC236}">
                <a16:creationId xmlns:a16="http://schemas.microsoft.com/office/drawing/2014/main" id="{EF4B8604-1D0C-CFD4-4E11-D13280563A46}"/>
              </a:ext>
            </a:extLst>
          </p:cNvPr>
          <p:cNvCxnSpPr>
            <a:cxnSpLocks/>
          </p:cNvCxnSpPr>
          <p:nvPr/>
        </p:nvCxnSpPr>
        <p:spPr>
          <a:xfrm>
            <a:off x="5683256" y="1095443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1" name="TextBox 1170">
            <a:extLst>
              <a:ext uri="{FF2B5EF4-FFF2-40B4-BE49-F238E27FC236}">
                <a16:creationId xmlns:a16="http://schemas.microsoft.com/office/drawing/2014/main" id="{85EAC8E5-B529-3842-6CCE-5E7652816546}"/>
              </a:ext>
            </a:extLst>
          </p:cNvPr>
          <p:cNvSpPr txBox="1"/>
          <p:nvPr/>
        </p:nvSpPr>
        <p:spPr>
          <a:xfrm>
            <a:off x="2156003" y="3264453"/>
            <a:ext cx="3190614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Act like a single controller for network</a:t>
            </a:r>
          </a:p>
        </p:txBody>
      </p:sp>
      <p:sp>
        <p:nvSpPr>
          <p:cNvPr id="1221" name="Arc 1220">
            <a:extLst>
              <a:ext uri="{FF2B5EF4-FFF2-40B4-BE49-F238E27FC236}">
                <a16:creationId xmlns:a16="http://schemas.microsoft.com/office/drawing/2014/main" id="{FB0458C5-0488-80D2-8261-35E842A5BA91}"/>
              </a:ext>
            </a:extLst>
          </p:cNvPr>
          <p:cNvSpPr/>
          <p:nvPr/>
        </p:nvSpPr>
        <p:spPr>
          <a:xfrm rot="5400000">
            <a:off x="3662639" y="2656045"/>
            <a:ext cx="863270" cy="1138897"/>
          </a:xfrm>
          <a:prstGeom prst="arc">
            <a:avLst>
              <a:gd name="adj1" fmla="val 18644737"/>
              <a:gd name="adj2" fmla="val 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cxnSp>
        <p:nvCxnSpPr>
          <p:cNvPr id="1222" name="Straight Arrow Connector 1221">
            <a:extLst>
              <a:ext uri="{FF2B5EF4-FFF2-40B4-BE49-F238E27FC236}">
                <a16:creationId xmlns:a16="http://schemas.microsoft.com/office/drawing/2014/main" id="{61E36B77-5AB3-3A0A-7AE3-7FA98FFC163B}"/>
              </a:ext>
            </a:extLst>
          </p:cNvPr>
          <p:cNvCxnSpPr>
            <a:cxnSpLocks/>
          </p:cNvCxnSpPr>
          <p:nvPr/>
        </p:nvCxnSpPr>
        <p:spPr>
          <a:xfrm flipH="1">
            <a:off x="4031564" y="3657129"/>
            <a:ext cx="6271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5006701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7180D7-B8F1-B52E-D501-55A9A007C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3" name="TextBox 772">
            <a:extLst>
              <a:ext uri="{FF2B5EF4-FFF2-40B4-BE49-F238E27FC236}">
                <a16:creationId xmlns:a16="http://schemas.microsoft.com/office/drawing/2014/main" id="{BC9AAB25-1092-38C4-BB33-9F08105F5E1F}"/>
              </a:ext>
            </a:extLst>
          </p:cNvPr>
          <p:cNvSpPr txBox="1"/>
          <p:nvPr/>
        </p:nvSpPr>
        <p:spPr>
          <a:xfrm>
            <a:off x="6499173" y="1200957"/>
            <a:ext cx="2215664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Root controller</a:t>
            </a:r>
          </a:p>
        </p:txBody>
      </p:sp>
      <p:cxnSp>
        <p:nvCxnSpPr>
          <p:cNvPr id="513" name="Straight Connector 512">
            <a:extLst>
              <a:ext uri="{FF2B5EF4-FFF2-40B4-BE49-F238E27FC236}">
                <a16:creationId xmlns:a16="http://schemas.microsoft.com/office/drawing/2014/main" id="{8942332E-F01F-EEBF-01DB-9C5D33437AD8}"/>
              </a:ext>
            </a:extLst>
          </p:cNvPr>
          <p:cNvCxnSpPr>
            <a:cxnSpLocks/>
            <a:endCxn id="870" idx="1"/>
          </p:cNvCxnSpPr>
          <p:nvPr/>
        </p:nvCxnSpPr>
        <p:spPr>
          <a:xfrm flipV="1">
            <a:off x="5857583" y="1655600"/>
            <a:ext cx="691988" cy="528587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4" name="Straight Connector 513">
            <a:extLst>
              <a:ext uri="{FF2B5EF4-FFF2-40B4-BE49-F238E27FC236}">
                <a16:creationId xmlns:a16="http://schemas.microsoft.com/office/drawing/2014/main" id="{33A43458-659E-5556-EB8E-64BA3BBCB9E8}"/>
              </a:ext>
            </a:extLst>
          </p:cNvPr>
          <p:cNvCxnSpPr>
            <a:cxnSpLocks/>
          </p:cNvCxnSpPr>
          <p:nvPr/>
        </p:nvCxnSpPr>
        <p:spPr>
          <a:xfrm>
            <a:off x="6938966" y="1631906"/>
            <a:ext cx="652646" cy="54744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5" name="Straight Connector 514">
            <a:extLst>
              <a:ext uri="{FF2B5EF4-FFF2-40B4-BE49-F238E27FC236}">
                <a16:creationId xmlns:a16="http://schemas.microsoft.com/office/drawing/2014/main" id="{3ACA754B-E89A-0F60-EDB8-173FABA74CA6}"/>
              </a:ext>
            </a:extLst>
          </p:cNvPr>
          <p:cNvCxnSpPr>
            <a:cxnSpLocks/>
          </p:cNvCxnSpPr>
          <p:nvPr/>
        </p:nvCxnSpPr>
        <p:spPr>
          <a:xfrm>
            <a:off x="6724202" y="1825862"/>
            <a:ext cx="4403" cy="292561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63" name="Grafik 23">
            <a:extLst>
              <a:ext uri="{FF2B5EF4-FFF2-40B4-BE49-F238E27FC236}">
                <a16:creationId xmlns:a16="http://schemas.microsoft.com/office/drawing/2014/main" id="{6D70219B-8C69-1163-73FD-C7C06DFDB61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549571" y="1378161"/>
            <a:ext cx="374400" cy="464640"/>
            <a:chOff x="5895975" y="3176587"/>
            <a:chExt cx="403097" cy="500253"/>
          </a:xfrm>
          <a:solidFill>
            <a:srgbClr val="FF0000"/>
          </a:solidFill>
        </p:grpSpPr>
        <p:sp>
          <p:nvSpPr>
            <p:cNvPr id="864" name="Grafik 23">
              <a:extLst>
                <a:ext uri="{FF2B5EF4-FFF2-40B4-BE49-F238E27FC236}">
                  <a16:creationId xmlns:a16="http://schemas.microsoft.com/office/drawing/2014/main" id="{017E9E7D-A45F-6BC9-CBB5-9F0E9947F9B1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65" name="Grafik 23">
              <a:extLst>
                <a:ext uri="{FF2B5EF4-FFF2-40B4-BE49-F238E27FC236}">
                  <a16:creationId xmlns:a16="http://schemas.microsoft.com/office/drawing/2014/main" id="{5597B53D-85CE-9649-3C69-6C688AE1C9B7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66" name="Grafik 23">
              <a:extLst>
                <a:ext uri="{FF2B5EF4-FFF2-40B4-BE49-F238E27FC236}">
                  <a16:creationId xmlns:a16="http://schemas.microsoft.com/office/drawing/2014/main" id="{9D0560E8-9C05-EE85-8160-7914C2A3A437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67" name="Grafik 23">
              <a:extLst>
                <a:ext uri="{FF2B5EF4-FFF2-40B4-BE49-F238E27FC236}">
                  <a16:creationId xmlns:a16="http://schemas.microsoft.com/office/drawing/2014/main" id="{D4A4095B-A946-F0C8-4A60-1CE7DD0F29D6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68" name="Grafik 23">
              <a:extLst>
                <a:ext uri="{FF2B5EF4-FFF2-40B4-BE49-F238E27FC236}">
                  <a16:creationId xmlns:a16="http://schemas.microsoft.com/office/drawing/2014/main" id="{94BE4084-2053-7365-8C41-11C0E3BFCA7B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869" name="Grafik 23">
              <a:extLst>
                <a:ext uri="{FF2B5EF4-FFF2-40B4-BE49-F238E27FC236}">
                  <a16:creationId xmlns:a16="http://schemas.microsoft.com/office/drawing/2014/main" id="{EA1EA1F0-48DD-9036-25C5-4E8F8F6DB791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870" name="Grafik 23">
                <a:extLst>
                  <a:ext uri="{FF2B5EF4-FFF2-40B4-BE49-F238E27FC236}">
                    <a16:creationId xmlns:a16="http://schemas.microsoft.com/office/drawing/2014/main" id="{65850C8A-2349-749D-F6AB-0865EA15D10A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71" name="Grafik 23">
                <a:extLst>
                  <a:ext uri="{FF2B5EF4-FFF2-40B4-BE49-F238E27FC236}">
                    <a16:creationId xmlns:a16="http://schemas.microsoft.com/office/drawing/2014/main" id="{6F3C882D-3524-B334-C580-6359E40EAE11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72" name="Grafik 23">
                <a:extLst>
                  <a:ext uri="{FF2B5EF4-FFF2-40B4-BE49-F238E27FC236}">
                    <a16:creationId xmlns:a16="http://schemas.microsoft.com/office/drawing/2014/main" id="{A5191809-8FB5-E3C0-EB5A-A67A30A642E1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73" name="Grafik 23">
                <a:extLst>
                  <a:ext uri="{FF2B5EF4-FFF2-40B4-BE49-F238E27FC236}">
                    <a16:creationId xmlns:a16="http://schemas.microsoft.com/office/drawing/2014/main" id="{4D092DE4-02E3-5C29-98E3-AE383BC178FB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910" name="Grafik 36">
            <a:extLst>
              <a:ext uri="{FF2B5EF4-FFF2-40B4-BE49-F238E27FC236}">
                <a16:creationId xmlns:a16="http://schemas.microsoft.com/office/drawing/2014/main" id="{5BEE929F-BCAD-6D95-8AF8-1CF18E7AC66F}"/>
              </a:ext>
            </a:extLst>
          </p:cNvPr>
          <p:cNvGrpSpPr/>
          <p:nvPr/>
        </p:nvGrpSpPr>
        <p:grpSpPr bwMode="gray">
          <a:xfrm>
            <a:off x="1925565" y="3233277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911" name="Grafik 36">
              <a:extLst>
                <a:ext uri="{FF2B5EF4-FFF2-40B4-BE49-F238E27FC236}">
                  <a16:creationId xmlns:a16="http://schemas.microsoft.com/office/drawing/2014/main" id="{24CB5AEF-A0A8-342C-8A90-FC8312F1E597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933" name="Grafik 36">
                <a:extLst>
                  <a:ext uri="{FF2B5EF4-FFF2-40B4-BE49-F238E27FC236}">
                    <a16:creationId xmlns:a16="http://schemas.microsoft.com/office/drawing/2014/main" id="{FC4B76EE-983F-D7C2-7802-45E9928D02B5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34" name="Grafik 36">
                <a:extLst>
                  <a:ext uri="{FF2B5EF4-FFF2-40B4-BE49-F238E27FC236}">
                    <a16:creationId xmlns:a16="http://schemas.microsoft.com/office/drawing/2014/main" id="{80532028-9EEF-DA3B-4BE6-9EB13024911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35" name="Grafik 36">
                <a:extLst>
                  <a:ext uri="{FF2B5EF4-FFF2-40B4-BE49-F238E27FC236}">
                    <a16:creationId xmlns:a16="http://schemas.microsoft.com/office/drawing/2014/main" id="{43EC97B8-BAB2-1B82-9E1F-9CDA176AB104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36" name="Grafik 36">
                <a:extLst>
                  <a:ext uri="{FF2B5EF4-FFF2-40B4-BE49-F238E27FC236}">
                    <a16:creationId xmlns:a16="http://schemas.microsoft.com/office/drawing/2014/main" id="{754E84A4-080C-9792-ED82-891B8F8569A2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37" name="Grafik 36">
                <a:extLst>
                  <a:ext uri="{FF2B5EF4-FFF2-40B4-BE49-F238E27FC236}">
                    <a16:creationId xmlns:a16="http://schemas.microsoft.com/office/drawing/2014/main" id="{7F7BF558-28EA-5C41-80CD-B4CBA85BC5E7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912" name="Grafik 36">
              <a:extLst>
                <a:ext uri="{FF2B5EF4-FFF2-40B4-BE49-F238E27FC236}">
                  <a16:creationId xmlns:a16="http://schemas.microsoft.com/office/drawing/2014/main" id="{87FDA785-B451-FBD8-AEE3-A5B1B63B6AC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913" name="Grafik 36">
                <a:extLst>
                  <a:ext uri="{FF2B5EF4-FFF2-40B4-BE49-F238E27FC236}">
                    <a16:creationId xmlns:a16="http://schemas.microsoft.com/office/drawing/2014/main" id="{FF21FF33-6D7C-EB3F-E898-5AEFE00AC81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924" name="Grafik 36">
                  <a:extLst>
                    <a:ext uri="{FF2B5EF4-FFF2-40B4-BE49-F238E27FC236}">
                      <a16:creationId xmlns:a16="http://schemas.microsoft.com/office/drawing/2014/main" id="{7C502287-7411-16B7-70E3-54AF1B9B623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930" name="Grafik 36">
                    <a:extLst>
                      <a:ext uri="{FF2B5EF4-FFF2-40B4-BE49-F238E27FC236}">
                        <a16:creationId xmlns:a16="http://schemas.microsoft.com/office/drawing/2014/main" id="{23B990FE-2E2E-1327-FD42-7C48A78E25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31" name="Grafik 36">
                    <a:extLst>
                      <a:ext uri="{FF2B5EF4-FFF2-40B4-BE49-F238E27FC236}">
                        <a16:creationId xmlns:a16="http://schemas.microsoft.com/office/drawing/2014/main" id="{C74CDE89-3DE2-2CB4-BFB6-E6C9CB4446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32" name="Grafik 36">
                    <a:extLst>
                      <a:ext uri="{FF2B5EF4-FFF2-40B4-BE49-F238E27FC236}">
                        <a16:creationId xmlns:a16="http://schemas.microsoft.com/office/drawing/2014/main" id="{C073CF66-8084-E8D8-98F2-0E439E36494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925" name="Grafik 36">
                  <a:extLst>
                    <a:ext uri="{FF2B5EF4-FFF2-40B4-BE49-F238E27FC236}">
                      <a16:creationId xmlns:a16="http://schemas.microsoft.com/office/drawing/2014/main" id="{69D6E5D2-BE34-160E-E31F-5C2F471D86CC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926" name="Grafik 36">
                  <a:extLst>
                    <a:ext uri="{FF2B5EF4-FFF2-40B4-BE49-F238E27FC236}">
                      <a16:creationId xmlns:a16="http://schemas.microsoft.com/office/drawing/2014/main" id="{A91198F1-DABE-FDEA-A887-A1E070A7FD9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927" name="Grafik 36">
                    <a:extLst>
                      <a:ext uri="{FF2B5EF4-FFF2-40B4-BE49-F238E27FC236}">
                        <a16:creationId xmlns:a16="http://schemas.microsoft.com/office/drawing/2014/main" id="{4E8AFF46-B3A5-85BE-6FDB-451AE0D7769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28" name="Grafik 36">
                    <a:extLst>
                      <a:ext uri="{FF2B5EF4-FFF2-40B4-BE49-F238E27FC236}">
                        <a16:creationId xmlns:a16="http://schemas.microsoft.com/office/drawing/2014/main" id="{CFBF421F-0905-5C25-4093-47F4AC3996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29" name="Grafik 36">
                    <a:extLst>
                      <a:ext uri="{FF2B5EF4-FFF2-40B4-BE49-F238E27FC236}">
                        <a16:creationId xmlns:a16="http://schemas.microsoft.com/office/drawing/2014/main" id="{62F677B0-FDF0-F69B-5F93-5BC8E18821B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914" name="Grafik 36">
                <a:extLst>
                  <a:ext uri="{FF2B5EF4-FFF2-40B4-BE49-F238E27FC236}">
                    <a16:creationId xmlns:a16="http://schemas.microsoft.com/office/drawing/2014/main" id="{889249F6-48CF-952D-A079-7B67F66C422A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15" name="Grafik 36">
                  <a:extLst>
                    <a:ext uri="{FF2B5EF4-FFF2-40B4-BE49-F238E27FC236}">
                      <a16:creationId xmlns:a16="http://schemas.microsoft.com/office/drawing/2014/main" id="{F190CF59-B478-1207-5585-9A381EE46C36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21" name="Grafik 36">
                    <a:extLst>
                      <a:ext uri="{FF2B5EF4-FFF2-40B4-BE49-F238E27FC236}">
                        <a16:creationId xmlns:a16="http://schemas.microsoft.com/office/drawing/2014/main" id="{7E7BE235-DD54-C6FB-5067-CEFC8D59963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22" name="Grafik 36">
                    <a:extLst>
                      <a:ext uri="{FF2B5EF4-FFF2-40B4-BE49-F238E27FC236}">
                        <a16:creationId xmlns:a16="http://schemas.microsoft.com/office/drawing/2014/main" id="{80CCDDEB-E2B9-C819-B359-6DFB9B8BD47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23" name="Grafik 36">
                    <a:extLst>
                      <a:ext uri="{FF2B5EF4-FFF2-40B4-BE49-F238E27FC236}">
                        <a16:creationId xmlns:a16="http://schemas.microsoft.com/office/drawing/2014/main" id="{0DE07438-FCD8-66F7-EE39-965BA4300C1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916" name="Grafik 36">
                  <a:extLst>
                    <a:ext uri="{FF2B5EF4-FFF2-40B4-BE49-F238E27FC236}">
                      <a16:creationId xmlns:a16="http://schemas.microsoft.com/office/drawing/2014/main" id="{BEDBDA41-51CB-CA1A-ECAD-10329F20B37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17" name="Grafik 36">
                  <a:extLst>
                    <a:ext uri="{FF2B5EF4-FFF2-40B4-BE49-F238E27FC236}">
                      <a16:creationId xmlns:a16="http://schemas.microsoft.com/office/drawing/2014/main" id="{D45D7E2A-A0C6-93FF-65B9-1EDE001A1F89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18" name="Grafik 36">
                    <a:extLst>
                      <a:ext uri="{FF2B5EF4-FFF2-40B4-BE49-F238E27FC236}">
                        <a16:creationId xmlns:a16="http://schemas.microsoft.com/office/drawing/2014/main" id="{D5594289-C97B-898E-DB84-718D5B6CA5F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19" name="Grafik 36">
                    <a:extLst>
                      <a:ext uri="{FF2B5EF4-FFF2-40B4-BE49-F238E27FC236}">
                        <a16:creationId xmlns:a16="http://schemas.microsoft.com/office/drawing/2014/main" id="{E44609D6-29AC-459A-EC88-B3E1329E3F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20" name="Grafik 36">
                    <a:extLst>
                      <a:ext uri="{FF2B5EF4-FFF2-40B4-BE49-F238E27FC236}">
                        <a16:creationId xmlns:a16="http://schemas.microsoft.com/office/drawing/2014/main" id="{258DF758-1B44-44CF-0C49-C76434F6C58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938" name="Grafik 36">
            <a:extLst>
              <a:ext uri="{FF2B5EF4-FFF2-40B4-BE49-F238E27FC236}">
                <a16:creationId xmlns:a16="http://schemas.microsoft.com/office/drawing/2014/main" id="{94CD0D79-A6A9-3C44-1E06-ACDC3445E963}"/>
              </a:ext>
            </a:extLst>
          </p:cNvPr>
          <p:cNvGrpSpPr/>
          <p:nvPr/>
        </p:nvGrpSpPr>
        <p:grpSpPr bwMode="gray">
          <a:xfrm>
            <a:off x="2789480" y="3230851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939" name="Grafik 36">
              <a:extLst>
                <a:ext uri="{FF2B5EF4-FFF2-40B4-BE49-F238E27FC236}">
                  <a16:creationId xmlns:a16="http://schemas.microsoft.com/office/drawing/2014/main" id="{DDB67F45-F4B9-FA22-84DF-7D9804E5EF3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961" name="Grafik 36">
                <a:extLst>
                  <a:ext uri="{FF2B5EF4-FFF2-40B4-BE49-F238E27FC236}">
                    <a16:creationId xmlns:a16="http://schemas.microsoft.com/office/drawing/2014/main" id="{344A7877-0708-5C7F-40F9-34A05D1EE2A0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62" name="Grafik 36">
                <a:extLst>
                  <a:ext uri="{FF2B5EF4-FFF2-40B4-BE49-F238E27FC236}">
                    <a16:creationId xmlns:a16="http://schemas.microsoft.com/office/drawing/2014/main" id="{F01B05E7-0119-5D79-57B5-FC61885FCF2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63" name="Grafik 36">
                <a:extLst>
                  <a:ext uri="{FF2B5EF4-FFF2-40B4-BE49-F238E27FC236}">
                    <a16:creationId xmlns:a16="http://schemas.microsoft.com/office/drawing/2014/main" id="{3F3287D3-6DAD-84E8-5B4F-97021C03C206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64" name="Grafik 36">
                <a:extLst>
                  <a:ext uri="{FF2B5EF4-FFF2-40B4-BE49-F238E27FC236}">
                    <a16:creationId xmlns:a16="http://schemas.microsoft.com/office/drawing/2014/main" id="{FE2712FC-4FE3-003D-6F09-556AC1589C45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65" name="Grafik 36">
                <a:extLst>
                  <a:ext uri="{FF2B5EF4-FFF2-40B4-BE49-F238E27FC236}">
                    <a16:creationId xmlns:a16="http://schemas.microsoft.com/office/drawing/2014/main" id="{30E3862D-3247-125F-CC13-EAE044926773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940" name="Grafik 36">
              <a:extLst>
                <a:ext uri="{FF2B5EF4-FFF2-40B4-BE49-F238E27FC236}">
                  <a16:creationId xmlns:a16="http://schemas.microsoft.com/office/drawing/2014/main" id="{5D128AEF-47F0-293D-3B49-DC7A90130923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941" name="Grafik 36">
                <a:extLst>
                  <a:ext uri="{FF2B5EF4-FFF2-40B4-BE49-F238E27FC236}">
                    <a16:creationId xmlns:a16="http://schemas.microsoft.com/office/drawing/2014/main" id="{FD1834F9-71A0-D0DB-C5F3-96A46B14138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952" name="Grafik 36">
                  <a:extLst>
                    <a:ext uri="{FF2B5EF4-FFF2-40B4-BE49-F238E27FC236}">
                      <a16:creationId xmlns:a16="http://schemas.microsoft.com/office/drawing/2014/main" id="{E7020299-D7D0-8833-3A9E-FBA93D103443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958" name="Grafik 36">
                    <a:extLst>
                      <a:ext uri="{FF2B5EF4-FFF2-40B4-BE49-F238E27FC236}">
                        <a16:creationId xmlns:a16="http://schemas.microsoft.com/office/drawing/2014/main" id="{04DB41EE-BFA7-5446-0F4B-862EDC7EBFC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59" name="Grafik 36">
                    <a:extLst>
                      <a:ext uri="{FF2B5EF4-FFF2-40B4-BE49-F238E27FC236}">
                        <a16:creationId xmlns:a16="http://schemas.microsoft.com/office/drawing/2014/main" id="{B59CFE99-B56F-91AC-B263-4F4D0369AA7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60" name="Grafik 36">
                    <a:extLst>
                      <a:ext uri="{FF2B5EF4-FFF2-40B4-BE49-F238E27FC236}">
                        <a16:creationId xmlns:a16="http://schemas.microsoft.com/office/drawing/2014/main" id="{6A9326D3-B12A-1A58-E4B2-700E499D2CB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953" name="Grafik 36">
                  <a:extLst>
                    <a:ext uri="{FF2B5EF4-FFF2-40B4-BE49-F238E27FC236}">
                      <a16:creationId xmlns:a16="http://schemas.microsoft.com/office/drawing/2014/main" id="{4C0ED63D-763E-0823-7213-FCE14108308F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954" name="Grafik 36">
                  <a:extLst>
                    <a:ext uri="{FF2B5EF4-FFF2-40B4-BE49-F238E27FC236}">
                      <a16:creationId xmlns:a16="http://schemas.microsoft.com/office/drawing/2014/main" id="{75CB3B63-2998-2B4B-D451-4168DA34294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955" name="Grafik 36">
                    <a:extLst>
                      <a:ext uri="{FF2B5EF4-FFF2-40B4-BE49-F238E27FC236}">
                        <a16:creationId xmlns:a16="http://schemas.microsoft.com/office/drawing/2014/main" id="{DC58237A-E7A5-B8FF-F99C-775D7237799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56" name="Grafik 36">
                    <a:extLst>
                      <a:ext uri="{FF2B5EF4-FFF2-40B4-BE49-F238E27FC236}">
                        <a16:creationId xmlns:a16="http://schemas.microsoft.com/office/drawing/2014/main" id="{AC94103A-40AE-18E9-D910-DFF4AD12127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57" name="Grafik 36">
                    <a:extLst>
                      <a:ext uri="{FF2B5EF4-FFF2-40B4-BE49-F238E27FC236}">
                        <a16:creationId xmlns:a16="http://schemas.microsoft.com/office/drawing/2014/main" id="{D7665129-5FF3-2B8B-4679-B6A9277A985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942" name="Grafik 36">
                <a:extLst>
                  <a:ext uri="{FF2B5EF4-FFF2-40B4-BE49-F238E27FC236}">
                    <a16:creationId xmlns:a16="http://schemas.microsoft.com/office/drawing/2014/main" id="{E9CE9484-02AC-7ADD-BE4E-C1D11D825AA6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43" name="Grafik 36">
                  <a:extLst>
                    <a:ext uri="{FF2B5EF4-FFF2-40B4-BE49-F238E27FC236}">
                      <a16:creationId xmlns:a16="http://schemas.microsoft.com/office/drawing/2014/main" id="{6E11C559-A7CE-EB3C-C64B-DED295C062FF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49" name="Grafik 36">
                    <a:extLst>
                      <a:ext uri="{FF2B5EF4-FFF2-40B4-BE49-F238E27FC236}">
                        <a16:creationId xmlns:a16="http://schemas.microsoft.com/office/drawing/2014/main" id="{FC1499D1-DB4F-C764-44DE-A05C124207B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50" name="Grafik 36">
                    <a:extLst>
                      <a:ext uri="{FF2B5EF4-FFF2-40B4-BE49-F238E27FC236}">
                        <a16:creationId xmlns:a16="http://schemas.microsoft.com/office/drawing/2014/main" id="{625CA12B-DEA5-6C92-F887-57B74CBBE0C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51" name="Grafik 36">
                    <a:extLst>
                      <a:ext uri="{FF2B5EF4-FFF2-40B4-BE49-F238E27FC236}">
                        <a16:creationId xmlns:a16="http://schemas.microsoft.com/office/drawing/2014/main" id="{4CE30A5E-3A32-60AC-F7FF-7A51F41F67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944" name="Grafik 36">
                  <a:extLst>
                    <a:ext uri="{FF2B5EF4-FFF2-40B4-BE49-F238E27FC236}">
                      <a16:creationId xmlns:a16="http://schemas.microsoft.com/office/drawing/2014/main" id="{92FC5B6B-43BC-B14D-4A87-188A5A006EAE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45" name="Grafik 36">
                  <a:extLst>
                    <a:ext uri="{FF2B5EF4-FFF2-40B4-BE49-F238E27FC236}">
                      <a16:creationId xmlns:a16="http://schemas.microsoft.com/office/drawing/2014/main" id="{5D8C8356-D1BD-D143-EFE0-C655965C4D4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46" name="Grafik 36">
                    <a:extLst>
                      <a:ext uri="{FF2B5EF4-FFF2-40B4-BE49-F238E27FC236}">
                        <a16:creationId xmlns:a16="http://schemas.microsoft.com/office/drawing/2014/main" id="{46A2165E-71E2-D53B-5AED-F17150FA46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47" name="Grafik 36">
                    <a:extLst>
                      <a:ext uri="{FF2B5EF4-FFF2-40B4-BE49-F238E27FC236}">
                        <a16:creationId xmlns:a16="http://schemas.microsoft.com/office/drawing/2014/main" id="{CD64D103-C8BC-425D-E040-E2A511CE00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48" name="Grafik 36">
                    <a:extLst>
                      <a:ext uri="{FF2B5EF4-FFF2-40B4-BE49-F238E27FC236}">
                        <a16:creationId xmlns:a16="http://schemas.microsoft.com/office/drawing/2014/main" id="{5970322E-C4C5-D2A1-C751-FDB13C2CC48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966" name="Grafik 36">
            <a:extLst>
              <a:ext uri="{FF2B5EF4-FFF2-40B4-BE49-F238E27FC236}">
                <a16:creationId xmlns:a16="http://schemas.microsoft.com/office/drawing/2014/main" id="{1C8AE124-2514-9262-1CD6-025F908CD29F}"/>
              </a:ext>
            </a:extLst>
          </p:cNvPr>
          <p:cNvGrpSpPr/>
          <p:nvPr/>
        </p:nvGrpSpPr>
        <p:grpSpPr bwMode="gray">
          <a:xfrm>
            <a:off x="3653395" y="3230852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967" name="Grafik 36">
              <a:extLst>
                <a:ext uri="{FF2B5EF4-FFF2-40B4-BE49-F238E27FC236}">
                  <a16:creationId xmlns:a16="http://schemas.microsoft.com/office/drawing/2014/main" id="{95A56719-E47A-206E-3BF2-3A155E61993C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989" name="Grafik 36">
                <a:extLst>
                  <a:ext uri="{FF2B5EF4-FFF2-40B4-BE49-F238E27FC236}">
                    <a16:creationId xmlns:a16="http://schemas.microsoft.com/office/drawing/2014/main" id="{215EB43C-5F98-2239-FA56-1D3E3184B421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90" name="Grafik 36">
                <a:extLst>
                  <a:ext uri="{FF2B5EF4-FFF2-40B4-BE49-F238E27FC236}">
                    <a16:creationId xmlns:a16="http://schemas.microsoft.com/office/drawing/2014/main" id="{78640623-95F7-71B4-5086-223357A6C5E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91" name="Grafik 36">
                <a:extLst>
                  <a:ext uri="{FF2B5EF4-FFF2-40B4-BE49-F238E27FC236}">
                    <a16:creationId xmlns:a16="http://schemas.microsoft.com/office/drawing/2014/main" id="{8D6BE646-096D-42BF-8D91-C5FD9DDA84C6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92" name="Grafik 36">
                <a:extLst>
                  <a:ext uri="{FF2B5EF4-FFF2-40B4-BE49-F238E27FC236}">
                    <a16:creationId xmlns:a16="http://schemas.microsoft.com/office/drawing/2014/main" id="{7EC15A8B-8E9F-DDE1-9940-2DB0B99BD9C3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93" name="Grafik 36">
                <a:extLst>
                  <a:ext uri="{FF2B5EF4-FFF2-40B4-BE49-F238E27FC236}">
                    <a16:creationId xmlns:a16="http://schemas.microsoft.com/office/drawing/2014/main" id="{462666FE-8ADF-20F3-122B-3FF8EBBA0DD0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968" name="Grafik 36">
              <a:extLst>
                <a:ext uri="{FF2B5EF4-FFF2-40B4-BE49-F238E27FC236}">
                  <a16:creationId xmlns:a16="http://schemas.microsoft.com/office/drawing/2014/main" id="{EB41FF50-D012-F02F-5D3F-28921D67F043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969" name="Grafik 36">
                <a:extLst>
                  <a:ext uri="{FF2B5EF4-FFF2-40B4-BE49-F238E27FC236}">
                    <a16:creationId xmlns:a16="http://schemas.microsoft.com/office/drawing/2014/main" id="{6143DE2F-6056-D02F-963F-9540439FB749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980" name="Grafik 36">
                  <a:extLst>
                    <a:ext uri="{FF2B5EF4-FFF2-40B4-BE49-F238E27FC236}">
                      <a16:creationId xmlns:a16="http://schemas.microsoft.com/office/drawing/2014/main" id="{6326CD06-5F01-EDB3-2048-460B84B9C5D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986" name="Grafik 36">
                    <a:extLst>
                      <a:ext uri="{FF2B5EF4-FFF2-40B4-BE49-F238E27FC236}">
                        <a16:creationId xmlns:a16="http://schemas.microsoft.com/office/drawing/2014/main" id="{BAB98017-87E7-00AA-519D-D3FD9C9A66D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87" name="Grafik 36">
                    <a:extLst>
                      <a:ext uri="{FF2B5EF4-FFF2-40B4-BE49-F238E27FC236}">
                        <a16:creationId xmlns:a16="http://schemas.microsoft.com/office/drawing/2014/main" id="{842BA7BE-2428-ACD2-718F-FE63EED54BA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88" name="Grafik 36">
                    <a:extLst>
                      <a:ext uri="{FF2B5EF4-FFF2-40B4-BE49-F238E27FC236}">
                        <a16:creationId xmlns:a16="http://schemas.microsoft.com/office/drawing/2014/main" id="{5C69CC6B-00CD-0C1A-CC54-789629085DD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981" name="Grafik 36">
                  <a:extLst>
                    <a:ext uri="{FF2B5EF4-FFF2-40B4-BE49-F238E27FC236}">
                      <a16:creationId xmlns:a16="http://schemas.microsoft.com/office/drawing/2014/main" id="{45353635-D385-CB18-43A1-FC531A2C0F74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982" name="Grafik 36">
                  <a:extLst>
                    <a:ext uri="{FF2B5EF4-FFF2-40B4-BE49-F238E27FC236}">
                      <a16:creationId xmlns:a16="http://schemas.microsoft.com/office/drawing/2014/main" id="{F4792AEC-5877-FE15-CC63-28F64EC5700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983" name="Grafik 36">
                    <a:extLst>
                      <a:ext uri="{FF2B5EF4-FFF2-40B4-BE49-F238E27FC236}">
                        <a16:creationId xmlns:a16="http://schemas.microsoft.com/office/drawing/2014/main" id="{6D82BCDC-3480-A689-029A-7054FD57810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84" name="Grafik 36">
                    <a:extLst>
                      <a:ext uri="{FF2B5EF4-FFF2-40B4-BE49-F238E27FC236}">
                        <a16:creationId xmlns:a16="http://schemas.microsoft.com/office/drawing/2014/main" id="{1A88B2B0-BCBC-2A56-0E7E-C1C45FC75C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85" name="Grafik 36">
                    <a:extLst>
                      <a:ext uri="{FF2B5EF4-FFF2-40B4-BE49-F238E27FC236}">
                        <a16:creationId xmlns:a16="http://schemas.microsoft.com/office/drawing/2014/main" id="{475FE890-3060-F303-C0D1-4147730B0E0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970" name="Grafik 36">
                <a:extLst>
                  <a:ext uri="{FF2B5EF4-FFF2-40B4-BE49-F238E27FC236}">
                    <a16:creationId xmlns:a16="http://schemas.microsoft.com/office/drawing/2014/main" id="{072267B1-FB42-32B8-59F0-339DB24E00A4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71" name="Grafik 36">
                  <a:extLst>
                    <a:ext uri="{FF2B5EF4-FFF2-40B4-BE49-F238E27FC236}">
                      <a16:creationId xmlns:a16="http://schemas.microsoft.com/office/drawing/2014/main" id="{1AB03711-34A6-0D2F-6268-85B961E1AC9D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77" name="Grafik 36">
                    <a:extLst>
                      <a:ext uri="{FF2B5EF4-FFF2-40B4-BE49-F238E27FC236}">
                        <a16:creationId xmlns:a16="http://schemas.microsoft.com/office/drawing/2014/main" id="{3231E53C-D8BC-8D2A-4046-0DBB62086C8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78" name="Grafik 36">
                    <a:extLst>
                      <a:ext uri="{FF2B5EF4-FFF2-40B4-BE49-F238E27FC236}">
                        <a16:creationId xmlns:a16="http://schemas.microsoft.com/office/drawing/2014/main" id="{92A2A328-291E-2E7F-E7C2-2C20C4A2F2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79" name="Grafik 36">
                    <a:extLst>
                      <a:ext uri="{FF2B5EF4-FFF2-40B4-BE49-F238E27FC236}">
                        <a16:creationId xmlns:a16="http://schemas.microsoft.com/office/drawing/2014/main" id="{0A87DBE1-05F7-EF6D-B2D8-B9708548FF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972" name="Grafik 36">
                  <a:extLst>
                    <a:ext uri="{FF2B5EF4-FFF2-40B4-BE49-F238E27FC236}">
                      <a16:creationId xmlns:a16="http://schemas.microsoft.com/office/drawing/2014/main" id="{6E8FBC8B-76D4-36C9-E69B-B32DEDD8017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73" name="Grafik 36">
                  <a:extLst>
                    <a:ext uri="{FF2B5EF4-FFF2-40B4-BE49-F238E27FC236}">
                      <a16:creationId xmlns:a16="http://schemas.microsoft.com/office/drawing/2014/main" id="{A1BCA577-8E1D-CC32-A85D-B978889DE46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74" name="Grafik 36">
                    <a:extLst>
                      <a:ext uri="{FF2B5EF4-FFF2-40B4-BE49-F238E27FC236}">
                        <a16:creationId xmlns:a16="http://schemas.microsoft.com/office/drawing/2014/main" id="{1942490C-D888-9880-5474-2217A273B01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75" name="Grafik 36">
                    <a:extLst>
                      <a:ext uri="{FF2B5EF4-FFF2-40B4-BE49-F238E27FC236}">
                        <a16:creationId xmlns:a16="http://schemas.microsoft.com/office/drawing/2014/main" id="{2C08EA54-F16E-DD3E-10EF-FB35C8CBCC3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76" name="Grafik 36">
                    <a:extLst>
                      <a:ext uri="{FF2B5EF4-FFF2-40B4-BE49-F238E27FC236}">
                        <a16:creationId xmlns:a16="http://schemas.microsoft.com/office/drawing/2014/main" id="{4F3D7EA8-63A5-D56A-96B2-89481A58558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cxnSp>
        <p:nvCxnSpPr>
          <p:cNvPr id="994" name="Straight Connector 993">
            <a:extLst>
              <a:ext uri="{FF2B5EF4-FFF2-40B4-BE49-F238E27FC236}">
                <a16:creationId xmlns:a16="http://schemas.microsoft.com/office/drawing/2014/main" id="{24D5E324-F394-AF22-1824-5FC56D096DAA}"/>
              </a:ext>
            </a:extLst>
          </p:cNvPr>
          <p:cNvCxnSpPr>
            <a:cxnSpLocks/>
          </p:cNvCxnSpPr>
          <p:nvPr/>
        </p:nvCxnSpPr>
        <p:spPr>
          <a:xfrm flipV="1">
            <a:off x="2299946" y="3414414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8" name="Straight Connector 997">
            <a:extLst>
              <a:ext uri="{FF2B5EF4-FFF2-40B4-BE49-F238E27FC236}">
                <a16:creationId xmlns:a16="http://schemas.microsoft.com/office/drawing/2014/main" id="{6581029D-45DD-B212-BF62-90AF3961B16E}"/>
              </a:ext>
            </a:extLst>
          </p:cNvPr>
          <p:cNvCxnSpPr>
            <a:cxnSpLocks/>
          </p:cNvCxnSpPr>
          <p:nvPr/>
        </p:nvCxnSpPr>
        <p:spPr>
          <a:xfrm flipV="1">
            <a:off x="3158614" y="3413201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99" name="Grafik 23">
            <a:extLst>
              <a:ext uri="{FF2B5EF4-FFF2-40B4-BE49-F238E27FC236}">
                <a16:creationId xmlns:a16="http://schemas.microsoft.com/office/drawing/2014/main" id="{5FF12E85-E859-74E4-EC0C-9BF3127C522C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789951" y="2082074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000" name="Grafik 23">
              <a:extLst>
                <a:ext uri="{FF2B5EF4-FFF2-40B4-BE49-F238E27FC236}">
                  <a16:creationId xmlns:a16="http://schemas.microsoft.com/office/drawing/2014/main" id="{9CEF8794-55F6-FE44-C237-F4B8F57DC947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01" name="Grafik 23">
              <a:extLst>
                <a:ext uri="{FF2B5EF4-FFF2-40B4-BE49-F238E27FC236}">
                  <a16:creationId xmlns:a16="http://schemas.microsoft.com/office/drawing/2014/main" id="{AD2AABE4-265C-417D-92D6-9FD8187F6F51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02" name="Grafik 23">
              <a:extLst>
                <a:ext uri="{FF2B5EF4-FFF2-40B4-BE49-F238E27FC236}">
                  <a16:creationId xmlns:a16="http://schemas.microsoft.com/office/drawing/2014/main" id="{2B5CB43F-82BF-3A76-D76B-6710C454CABA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03" name="Grafik 23">
              <a:extLst>
                <a:ext uri="{FF2B5EF4-FFF2-40B4-BE49-F238E27FC236}">
                  <a16:creationId xmlns:a16="http://schemas.microsoft.com/office/drawing/2014/main" id="{4C4DB11A-9D10-94E8-E345-0C95332B2D10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04" name="Grafik 23">
              <a:extLst>
                <a:ext uri="{FF2B5EF4-FFF2-40B4-BE49-F238E27FC236}">
                  <a16:creationId xmlns:a16="http://schemas.microsoft.com/office/drawing/2014/main" id="{7289A5BC-9556-4D9E-98AA-A061B6FE0474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005" name="Grafik 23">
              <a:extLst>
                <a:ext uri="{FF2B5EF4-FFF2-40B4-BE49-F238E27FC236}">
                  <a16:creationId xmlns:a16="http://schemas.microsoft.com/office/drawing/2014/main" id="{431B31C5-6C01-FEAE-41D8-0D84850A745E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006" name="Grafik 23">
                <a:extLst>
                  <a:ext uri="{FF2B5EF4-FFF2-40B4-BE49-F238E27FC236}">
                    <a16:creationId xmlns:a16="http://schemas.microsoft.com/office/drawing/2014/main" id="{363E718B-53CB-666F-9574-D7D9B6AA06F8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07" name="Grafik 23">
                <a:extLst>
                  <a:ext uri="{FF2B5EF4-FFF2-40B4-BE49-F238E27FC236}">
                    <a16:creationId xmlns:a16="http://schemas.microsoft.com/office/drawing/2014/main" id="{1125C3AE-C6DD-C357-9F01-5805175F766E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08" name="Grafik 23">
                <a:extLst>
                  <a:ext uri="{FF2B5EF4-FFF2-40B4-BE49-F238E27FC236}">
                    <a16:creationId xmlns:a16="http://schemas.microsoft.com/office/drawing/2014/main" id="{4C945B4C-0603-5629-3A4C-039ED99B5115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09" name="Grafik 23">
                <a:extLst>
                  <a:ext uri="{FF2B5EF4-FFF2-40B4-BE49-F238E27FC236}">
                    <a16:creationId xmlns:a16="http://schemas.microsoft.com/office/drawing/2014/main" id="{F6E08AD0-870F-51E7-0DF2-24AFFF1F4B61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010" name="Grafik 23">
            <a:extLst>
              <a:ext uri="{FF2B5EF4-FFF2-40B4-BE49-F238E27FC236}">
                <a16:creationId xmlns:a16="http://schemas.microsoft.com/office/drawing/2014/main" id="{29925B5A-DFC1-5056-5BE0-527297A10EA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926507" y="2083841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011" name="Grafik 23">
              <a:extLst>
                <a:ext uri="{FF2B5EF4-FFF2-40B4-BE49-F238E27FC236}">
                  <a16:creationId xmlns:a16="http://schemas.microsoft.com/office/drawing/2014/main" id="{E4FF41E0-870D-FA0D-4343-7A3F3D253FE7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12" name="Grafik 23">
              <a:extLst>
                <a:ext uri="{FF2B5EF4-FFF2-40B4-BE49-F238E27FC236}">
                  <a16:creationId xmlns:a16="http://schemas.microsoft.com/office/drawing/2014/main" id="{C65677BB-49D0-AA9F-1800-90C471CA4A7F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13" name="Grafik 23">
              <a:extLst>
                <a:ext uri="{FF2B5EF4-FFF2-40B4-BE49-F238E27FC236}">
                  <a16:creationId xmlns:a16="http://schemas.microsoft.com/office/drawing/2014/main" id="{1E14C6E0-CD90-12DE-DBAD-541D1C1E9045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14" name="Grafik 23">
              <a:extLst>
                <a:ext uri="{FF2B5EF4-FFF2-40B4-BE49-F238E27FC236}">
                  <a16:creationId xmlns:a16="http://schemas.microsoft.com/office/drawing/2014/main" id="{5DF5A33F-EB19-9B1D-42D9-2AADB5F9099C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15" name="Grafik 23">
              <a:extLst>
                <a:ext uri="{FF2B5EF4-FFF2-40B4-BE49-F238E27FC236}">
                  <a16:creationId xmlns:a16="http://schemas.microsoft.com/office/drawing/2014/main" id="{305D05D0-D8D5-EB47-148E-EAC8331BCDA7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016" name="Grafik 23">
              <a:extLst>
                <a:ext uri="{FF2B5EF4-FFF2-40B4-BE49-F238E27FC236}">
                  <a16:creationId xmlns:a16="http://schemas.microsoft.com/office/drawing/2014/main" id="{60F74286-073B-8939-07CC-139A9E5272C8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017" name="Grafik 23">
                <a:extLst>
                  <a:ext uri="{FF2B5EF4-FFF2-40B4-BE49-F238E27FC236}">
                    <a16:creationId xmlns:a16="http://schemas.microsoft.com/office/drawing/2014/main" id="{31490BA2-2CF5-078C-63AC-4443DB646FC4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18" name="Grafik 23">
                <a:extLst>
                  <a:ext uri="{FF2B5EF4-FFF2-40B4-BE49-F238E27FC236}">
                    <a16:creationId xmlns:a16="http://schemas.microsoft.com/office/drawing/2014/main" id="{CDB5A41F-44C8-DD55-6215-F607FB40E044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19" name="Grafik 23">
                <a:extLst>
                  <a:ext uri="{FF2B5EF4-FFF2-40B4-BE49-F238E27FC236}">
                    <a16:creationId xmlns:a16="http://schemas.microsoft.com/office/drawing/2014/main" id="{BCA6B46D-E59E-2199-A4CA-D0A824D734AF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20" name="Grafik 23">
                <a:extLst>
                  <a:ext uri="{FF2B5EF4-FFF2-40B4-BE49-F238E27FC236}">
                    <a16:creationId xmlns:a16="http://schemas.microsoft.com/office/drawing/2014/main" id="{6D6B5D99-F2D5-99CE-9BD9-56681F24739D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021" name="Grafik 23">
            <a:extLst>
              <a:ext uri="{FF2B5EF4-FFF2-40B4-BE49-F238E27FC236}">
                <a16:creationId xmlns:a16="http://schemas.microsoft.com/office/drawing/2014/main" id="{19B5D05D-F268-8A58-8431-C96760C74A93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653395" y="2088525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022" name="Grafik 23">
              <a:extLst>
                <a:ext uri="{FF2B5EF4-FFF2-40B4-BE49-F238E27FC236}">
                  <a16:creationId xmlns:a16="http://schemas.microsoft.com/office/drawing/2014/main" id="{3910422A-21AD-3835-45AC-D4C03AC8C0B2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23" name="Grafik 23">
              <a:extLst>
                <a:ext uri="{FF2B5EF4-FFF2-40B4-BE49-F238E27FC236}">
                  <a16:creationId xmlns:a16="http://schemas.microsoft.com/office/drawing/2014/main" id="{4A153320-106A-9D72-2BA2-BE9E459B2C84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24" name="Grafik 23">
              <a:extLst>
                <a:ext uri="{FF2B5EF4-FFF2-40B4-BE49-F238E27FC236}">
                  <a16:creationId xmlns:a16="http://schemas.microsoft.com/office/drawing/2014/main" id="{829699F7-A2AA-FE27-54E6-D9F84DE3E12C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25" name="Grafik 23">
              <a:extLst>
                <a:ext uri="{FF2B5EF4-FFF2-40B4-BE49-F238E27FC236}">
                  <a16:creationId xmlns:a16="http://schemas.microsoft.com/office/drawing/2014/main" id="{45C3BB69-C570-764A-D43E-F0667F5C1CAD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26" name="Grafik 23">
              <a:extLst>
                <a:ext uri="{FF2B5EF4-FFF2-40B4-BE49-F238E27FC236}">
                  <a16:creationId xmlns:a16="http://schemas.microsoft.com/office/drawing/2014/main" id="{BD756B27-EB8F-C2C5-D905-2CAC745FBCE2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027" name="Grafik 23">
              <a:extLst>
                <a:ext uri="{FF2B5EF4-FFF2-40B4-BE49-F238E27FC236}">
                  <a16:creationId xmlns:a16="http://schemas.microsoft.com/office/drawing/2014/main" id="{200A56AD-3DAC-579A-5961-58B89533AB6D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028" name="Grafik 23">
                <a:extLst>
                  <a:ext uri="{FF2B5EF4-FFF2-40B4-BE49-F238E27FC236}">
                    <a16:creationId xmlns:a16="http://schemas.microsoft.com/office/drawing/2014/main" id="{744D2988-0674-3C7C-BAA6-84753533D1B1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29" name="Grafik 23">
                <a:extLst>
                  <a:ext uri="{FF2B5EF4-FFF2-40B4-BE49-F238E27FC236}">
                    <a16:creationId xmlns:a16="http://schemas.microsoft.com/office/drawing/2014/main" id="{5529D63B-F3E5-26DA-F843-3A9E2A49D80B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30" name="Grafik 23">
                <a:extLst>
                  <a:ext uri="{FF2B5EF4-FFF2-40B4-BE49-F238E27FC236}">
                    <a16:creationId xmlns:a16="http://schemas.microsoft.com/office/drawing/2014/main" id="{E26E7C85-BD6A-3514-8B52-41D4F4D42F92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31" name="Grafik 23">
                <a:extLst>
                  <a:ext uri="{FF2B5EF4-FFF2-40B4-BE49-F238E27FC236}">
                    <a16:creationId xmlns:a16="http://schemas.microsoft.com/office/drawing/2014/main" id="{48BA2AA2-44BE-AB95-9DCC-EF53DD6F020C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cxnSp>
        <p:nvCxnSpPr>
          <p:cNvPr id="1032" name="Straight Connector 1031">
            <a:extLst>
              <a:ext uri="{FF2B5EF4-FFF2-40B4-BE49-F238E27FC236}">
                <a16:creationId xmlns:a16="http://schemas.microsoft.com/office/drawing/2014/main" id="{26F99E3E-9AC9-017D-67FD-A72DA7AE64B0}"/>
              </a:ext>
            </a:extLst>
          </p:cNvPr>
          <p:cNvCxnSpPr>
            <a:cxnSpLocks/>
          </p:cNvCxnSpPr>
          <p:nvPr/>
        </p:nvCxnSpPr>
        <p:spPr>
          <a:xfrm flipV="1">
            <a:off x="2302521" y="2322465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3" name="Straight Connector 1032">
            <a:extLst>
              <a:ext uri="{FF2B5EF4-FFF2-40B4-BE49-F238E27FC236}">
                <a16:creationId xmlns:a16="http://schemas.microsoft.com/office/drawing/2014/main" id="{35341BB9-A812-B455-FF7A-36F9B8185FFE}"/>
              </a:ext>
            </a:extLst>
          </p:cNvPr>
          <p:cNvCxnSpPr>
            <a:cxnSpLocks/>
          </p:cNvCxnSpPr>
          <p:nvPr/>
        </p:nvCxnSpPr>
        <p:spPr>
          <a:xfrm flipV="1">
            <a:off x="3165965" y="2321252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4" name="Grafik 36">
            <a:extLst>
              <a:ext uri="{FF2B5EF4-FFF2-40B4-BE49-F238E27FC236}">
                <a16:creationId xmlns:a16="http://schemas.microsoft.com/office/drawing/2014/main" id="{A7A91011-787C-84CF-F87F-957CD46B6793}"/>
              </a:ext>
            </a:extLst>
          </p:cNvPr>
          <p:cNvGrpSpPr/>
          <p:nvPr/>
        </p:nvGrpSpPr>
        <p:grpSpPr bwMode="gray">
          <a:xfrm>
            <a:off x="5683571" y="3279326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1035" name="Grafik 36">
              <a:extLst>
                <a:ext uri="{FF2B5EF4-FFF2-40B4-BE49-F238E27FC236}">
                  <a16:creationId xmlns:a16="http://schemas.microsoft.com/office/drawing/2014/main" id="{2D2E38D6-DBFC-C64D-F567-8732E100FC0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057" name="Grafik 36">
                <a:extLst>
                  <a:ext uri="{FF2B5EF4-FFF2-40B4-BE49-F238E27FC236}">
                    <a16:creationId xmlns:a16="http://schemas.microsoft.com/office/drawing/2014/main" id="{1D821A22-FBD0-63CD-3463-F16CD70225E9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58" name="Grafik 36">
                <a:extLst>
                  <a:ext uri="{FF2B5EF4-FFF2-40B4-BE49-F238E27FC236}">
                    <a16:creationId xmlns:a16="http://schemas.microsoft.com/office/drawing/2014/main" id="{32BF723C-95EE-A7E6-D700-EFD850DDC9C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59" name="Grafik 36">
                <a:extLst>
                  <a:ext uri="{FF2B5EF4-FFF2-40B4-BE49-F238E27FC236}">
                    <a16:creationId xmlns:a16="http://schemas.microsoft.com/office/drawing/2014/main" id="{6A10ECF8-2585-F23D-65DA-B362A43E074E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60" name="Grafik 36">
                <a:extLst>
                  <a:ext uri="{FF2B5EF4-FFF2-40B4-BE49-F238E27FC236}">
                    <a16:creationId xmlns:a16="http://schemas.microsoft.com/office/drawing/2014/main" id="{123358F3-70B9-535D-5143-2E3C3A6A1C2C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61" name="Grafik 36">
                <a:extLst>
                  <a:ext uri="{FF2B5EF4-FFF2-40B4-BE49-F238E27FC236}">
                    <a16:creationId xmlns:a16="http://schemas.microsoft.com/office/drawing/2014/main" id="{EFE0EAF1-365B-88E6-7003-932A48B479B5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36" name="Grafik 36">
              <a:extLst>
                <a:ext uri="{FF2B5EF4-FFF2-40B4-BE49-F238E27FC236}">
                  <a16:creationId xmlns:a16="http://schemas.microsoft.com/office/drawing/2014/main" id="{4E37CB3E-7C7A-1508-9BA1-778406680BF3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1037" name="Grafik 36">
                <a:extLst>
                  <a:ext uri="{FF2B5EF4-FFF2-40B4-BE49-F238E27FC236}">
                    <a16:creationId xmlns:a16="http://schemas.microsoft.com/office/drawing/2014/main" id="{C5017DAD-E737-AF0C-A5CA-F6E2DF14C7B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048" name="Grafik 36">
                  <a:extLst>
                    <a:ext uri="{FF2B5EF4-FFF2-40B4-BE49-F238E27FC236}">
                      <a16:creationId xmlns:a16="http://schemas.microsoft.com/office/drawing/2014/main" id="{ED4EE965-C14D-2E24-0317-C0E8A801F49B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054" name="Grafik 36">
                    <a:extLst>
                      <a:ext uri="{FF2B5EF4-FFF2-40B4-BE49-F238E27FC236}">
                        <a16:creationId xmlns:a16="http://schemas.microsoft.com/office/drawing/2014/main" id="{3CD39155-B5DE-A85F-2AD6-E63EE70715B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55" name="Grafik 36">
                    <a:extLst>
                      <a:ext uri="{FF2B5EF4-FFF2-40B4-BE49-F238E27FC236}">
                        <a16:creationId xmlns:a16="http://schemas.microsoft.com/office/drawing/2014/main" id="{E7F22EC9-AFD5-D335-845A-200A85B852C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56" name="Grafik 36">
                    <a:extLst>
                      <a:ext uri="{FF2B5EF4-FFF2-40B4-BE49-F238E27FC236}">
                        <a16:creationId xmlns:a16="http://schemas.microsoft.com/office/drawing/2014/main" id="{A539EEA3-1D3A-04E9-E1E2-4B3C12F514D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049" name="Grafik 36">
                  <a:extLst>
                    <a:ext uri="{FF2B5EF4-FFF2-40B4-BE49-F238E27FC236}">
                      <a16:creationId xmlns:a16="http://schemas.microsoft.com/office/drawing/2014/main" id="{40B89020-3755-E582-EC83-BEA3126781F0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1050" name="Grafik 36">
                  <a:extLst>
                    <a:ext uri="{FF2B5EF4-FFF2-40B4-BE49-F238E27FC236}">
                      <a16:creationId xmlns:a16="http://schemas.microsoft.com/office/drawing/2014/main" id="{689802C7-978A-BBF6-232A-AE030C62B83A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051" name="Grafik 36">
                    <a:extLst>
                      <a:ext uri="{FF2B5EF4-FFF2-40B4-BE49-F238E27FC236}">
                        <a16:creationId xmlns:a16="http://schemas.microsoft.com/office/drawing/2014/main" id="{89F502F1-D4E2-84E2-6392-CD9D5A1C4F6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52" name="Grafik 36">
                    <a:extLst>
                      <a:ext uri="{FF2B5EF4-FFF2-40B4-BE49-F238E27FC236}">
                        <a16:creationId xmlns:a16="http://schemas.microsoft.com/office/drawing/2014/main" id="{4A1939AA-15A8-85EE-F2C0-121EF2E3311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53" name="Grafik 36">
                    <a:extLst>
                      <a:ext uri="{FF2B5EF4-FFF2-40B4-BE49-F238E27FC236}">
                        <a16:creationId xmlns:a16="http://schemas.microsoft.com/office/drawing/2014/main" id="{E448F82B-2137-91D7-FB22-E361B86F3E8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1038" name="Grafik 36">
                <a:extLst>
                  <a:ext uri="{FF2B5EF4-FFF2-40B4-BE49-F238E27FC236}">
                    <a16:creationId xmlns:a16="http://schemas.microsoft.com/office/drawing/2014/main" id="{9175A992-F795-8277-4E72-2BE92DD54176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1039" name="Grafik 36">
                  <a:extLst>
                    <a:ext uri="{FF2B5EF4-FFF2-40B4-BE49-F238E27FC236}">
                      <a16:creationId xmlns:a16="http://schemas.microsoft.com/office/drawing/2014/main" id="{A72AC4AD-E702-978E-A974-D90C7557737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045" name="Grafik 36">
                    <a:extLst>
                      <a:ext uri="{FF2B5EF4-FFF2-40B4-BE49-F238E27FC236}">
                        <a16:creationId xmlns:a16="http://schemas.microsoft.com/office/drawing/2014/main" id="{4B274E98-176B-6ADB-42A5-A365FDC799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46" name="Grafik 36">
                    <a:extLst>
                      <a:ext uri="{FF2B5EF4-FFF2-40B4-BE49-F238E27FC236}">
                        <a16:creationId xmlns:a16="http://schemas.microsoft.com/office/drawing/2014/main" id="{356F73F5-5A75-1040-6A4F-767A01FCC7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47" name="Grafik 36">
                    <a:extLst>
                      <a:ext uri="{FF2B5EF4-FFF2-40B4-BE49-F238E27FC236}">
                        <a16:creationId xmlns:a16="http://schemas.microsoft.com/office/drawing/2014/main" id="{ACB77DA9-15FF-6997-16E7-8D21498C2D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040" name="Grafik 36">
                  <a:extLst>
                    <a:ext uri="{FF2B5EF4-FFF2-40B4-BE49-F238E27FC236}">
                      <a16:creationId xmlns:a16="http://schemas.microsoft.com/office/drawing/2014/main" id="{F4F5183B-AFCB-042E-F1A4-4939FB481F7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41" name="Grafik 36">
                  <a:extLst>
                    <a:ext uri="{FF2B5EF4-FFF2-40B4-BE49-F238E27FC236}">
                      <a16:creationId xmlns:a16="http://schemas.microsoft.com/office/drawing/2014/main" id="{69D7F2CF-CA26-B730-E755-2171B8DB957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42" name="Grafik 36">
                    <a:extLst>
                      <a:ext uri="{FF2B5EF4-FFF2-40B4-BE49-F238E27FC236}">
                        <a16:creationId xmlns:a16="http://schemas.microsoft.com/office/drawing/2014/main" id="{66E2C348-714D-2166-3FB4-F69ED8F2B84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43" name="Grafik 36">
                    <a:extLst>
                      <a:ext uri="{FF2B5EF4-FFF2-40B4-BE49-F238E27FC236}">
                        <a16:creationId xmlns:a16="http://schemas.microsoft.com/office/drawing/2014/main" id="{99699B25-E4E5-4F0E-6E40-63A396963C0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44" name="Grafik 36">
                    <a:extLst>
                      <a:ext uri="{FF2B5EF4-FFF2-40B4-BE49-F238E27FC236}">
                        <a16:creationId xmlns:a16="http://schemas.microsoft.com/office/drawing/2014/main" id="{3BFB4400-F798-DEEF-55DA-B1B82C8E6A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1062" name="Grafik 36">
            <a:extLst>
              <a:ext uri="{FF2B5EF4-FFF2-40B4-BE49-F238E27FC236}">
                <a16:creationId xmlns:a16="http://schemas.microsoft.com/office/drawing/2014/main" id="{55A97A6F-B77B-CC4B-2507-3C33FA433A79}"/>
              </a:ext>
            </a:extLst>
          </p:cNvPr>
          <p:cNvGrpSpPr/>
          <p:nvPr/>
        </p:nvGrpSpPr>
        <p:grpSpPr bwMode="gray">
          <a:xfrm>
            <a:off x="6547486" y="3276900"/>
            <a:ext cx="374400" cy="374400"/>
            <a:chOff x="5843587" y="3176587"/>
            <a:chExt cx="500253" cy="500253"/>
          </a:xfrm>
          <a:solidFill>
            <a:schemeClr val="accent2">
              <a:lumMod val="75000"/>
            </a:schemeClr>
          </a:solidFill>
        </p:grpSpPr>
        <p:grpSp>
          <p:nvGrpSpPr>
            <p:cNvPr id="1063" name="Grafik 36">
              <a:extLst>
                <a:ext uri="{FF2B5EF4-FFF2-40B4-BE49-F238E27FC236}">
                  <a16:creationId xmlns:a16="http://schemas.microsoft.com/office/drawing/2014/main" id="{65EA77D0-7C46-94F8-A8A0-23BCFC40CA11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085" name="Grafik 36">
                <a:extLst>
                  <a:ext uri="{FF2B5EF4-FFF2-40B4-BE49-F238E27FC236}">
                    <a16:creationId xmlns:a16="http://schemas.microsoft.com/office/drawing/2014/main" id="{D72B3A2F-56A5-BE07-34F3-440D2727B69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86" name="Grafik 36">
                <a:extLst>
                  <a:ext uri="{FF2B5EF4-FFF2-40B4-BE49-F238E27FC236}">
                    <a16:creationId xmlns:a16="http://schemas.microsoft.com/office/drawing/2014/main" id="{F9E7150F-AD74-306C-752B-DCD14D1D0A0C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87" name="Grafik 36">
                <a:extLst>
                  <a:ext uri="{FF2B5EF4-FFF2-40B4-BE49-F238E27FC236}">
                    <a16:creationId xmlns:a16="http://schemas.microsoft.com/office/drawing/2014/main" id="{8B5504E7-4E9A-6BD1-2264-43333AE54A13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88" name="Grafik 36">
                <a:extLst>
                  <a:ext uri="{FF2B5EF4-FFF2-40B4-BE49-F238E27FC236}">
                    <a16:creationId xmlns:a16="http://schemas.microsoft.com/office/drawing/2014/main" id="{C78B9D8C-E71A-E6DE-A413-FA3602EBAD20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89" name="Grafik 36">
                <a:extLst>
                  <a:ext uri="{FF2B5EF4-FFF2-40B4-BE49-F238E27FC236}">
                    <a16:creationId xmlns:a16="http://schemas.microsoft.com/office/drawing/2014/main" id="{5092ECAD-3337-55EF-7C21-3B39541E355A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64" name="Grafik 36">
              <a:extLst>
                <a:ext uri="{FF2B5EF4-FFF2-40B4-BE49-F238E27FC236}">
                  <a16:creationId xmlns:a16="http://schemas.microsoft.com/office/drawing/2014/main" id="{2492ACB8-F734-B32F-8738-63A2F227E3EE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1065" name="Grafik 36">
                <a:extLst>
                  <a:ext uri="{FF2B5EF4-FFF2-40B4-BE49-F238E27FC236}">
                    <a16:creationId xmlns:a16="http://schemas.microsoft.com/office/drawing/2014/main" id="{DC4F2C2A-E7CA-F935-57E8-9094B66C953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076" name="Grafik 36">
                  <a:extLst>
                    <a:ext uri="{FF2B5EF4-FFF2-40B4-BE49-F238E27FC236}">
                      <a16:creationId xmlns:a16="http://schemas.microsoft.com/office/drawing/2014/main" id="{123F8938-1D8A-EC27-E086-77D954D9EAD9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082" name="Grafik 36">
                    <a:extLst>
                      <a:ext uri="{FF2B5EF4-FFF2-40B4-BE49-F238E27FC236}">
                        <a16:creationId xmlns:a16="http://schemas.microsoft.com/office/drawing/2014/main" id="{77F36193-B236-8940-9356-0C26148C39B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83" name="Grafik 36">
                    <a:extLst>
                      <a:ext uri="{FF2B5EF4-FFF2-40B4-BE49-F238E27FC236}">
                        <a16:creationId xmlns:a16="http://schemas.microsoft.com/office/drawing/2014/main" id="{51B35856-C732-4C1D-1872-E20AD04C1C4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84" name="Grafik 36">
                    <a:extLst>
                      <a:ext uri="{FF2B5EF4-FFF2-40B4-BE49-F238E27FC236}">
                        <a16:creationId xmlns:a16="http://schemas.microsoft.com/office/drawing/2014/main" id="{AD796DEB-5AF4-5F75-D715-40F78DD4D42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077" name="Grafik 36">
                  <a:extLst>
                    <a:ext uri="{FF2B5EF4-FFF2-40B4-BE49-F238E27FC236}">
                      <a16:creationId xmlns:a16="http://schemas.microsoft.com/office/drawing/2014/main" id="{C8B16DD9-2F37-D3E2-DECD-6584A68697F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1078" name="Grafik 36">
                  <a:extLst>
                    <a:ext uri="{FF2B5EF4-FFF2-40B4-BE49-F238E27FC236}">
                      <a16:creationId xmlns:a16="http://schemas.microsoft.com/office/drawing/2014/main" id="{0F1D896D-0F8F-21D9-24D3-8BE03D82B377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079" name="Grafik 36">
                    <a:extLst>
                      <a:ext uri="{FF2B5EF4-FFF2-40B4-BE49-F238E27FC236}">
                        <a16:creationId xmlns:a16="http://schemas.microsoft.com/office/drawing/2014/main" id="{1BCC7F2F-9ACB-8207-0581-2CC689A6CF7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80" name="Grafik 36">
                    <a:extLst>
                      <a:ext uri="{FF2B5EF4-FFF2-40B4-BE49-F238E27FC236}">
                        <a16:creationId xmlns:a16="http://schemas.microsoft.com/office/drawing/2014/main" id="{DC872A99-3CCE-BA08-BD2E-E14E440FE72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81" name="Grafik 36">
                    <a:extLst>
                      <a:ext uri="{FF2B5EF4-FFF2-40B4-BE49-F238E27FC236}">
                        <a16:creationId xmlns:a16="http://schemas.microsoft.com/office/drawing/2014/main" id="{8B2A337A-3F65-AAB1-CCAA-F8B8D6424F9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1066" name="Grafik 36">
                <a:extLst>
                  <a:ext uri="{FF2B5EF4-FFF2-40B4-BE49-F238E27FC236}">
                    <a16:creationId xmlns:a16="http://schemas.microsoft.com/office/drawing/2014/main" id="{11EC5CB9-FB01-4ACE-3B8F-DCFFC9463476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1067" name="Grafik 36">
                  <a:extLst>
                    <a:ext uri="{FF2B5EF4-FFF2-40B4-BE49-F238E27FC236}">
                      <a16:creationId xmlns:a16="http://schemas.microsoft.com/office/drawing/2014/main" id="{566C5284-AFB4-AA6F-D2F4-4382D4B2A051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073" name="Grafik 36">
                    <a:extLst>
                      <a:ext uri="{FF2B5EF4-FFF2-40B4-BE49-F238E27FC236}">
                        <a16:creationId xmlns:a16="http://schemas.microsoft.com/office/drawing/2014/main" id="{B3BF66A4-354D-6AC3-FFB0-877129DE0B4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74" name="Grafik 36">
                    <a:extLst>
                      <a:ext uri="{FF2B5EF4-FFF2-40B4-BE49-F238E27FC236}">
                        <a16:creationId xmlns:a16="http://schemas.microsoft.com/office/drawing/2014/main" id="{73781F1F-A420-EB87-A514-D22B9306866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75" name="Grafik 36">
                    <a:extLst>
                      <a:ext uri="{FF2B5EF4-FFF2-40B4-BE49-F238E27FC236}">
                        <a16:creationId xmlns:a16="http://schemas.microsoft.com/office/drawing/2014/main" id="{5106F614-28D1-D4A1-0A64-17AEDC7B6DD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068" name="Grafik 36">
                  <a:extLst>
                    <a:ext uri="{FF2B5EF4-FFF2-40B4-BE49-F238E27FC236}">
                      <a16:creationId xmlns:a16="http://schemas.microsoft.com/office/drawing/2014/main" id="{D5AF88F1-E4B5-22E9-0C11-6D4A74F35476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69" name="Grafik 36">
                  <a:extLst>
                    <a:ext uri="{FF2B5EF4-FFF2-40B4-BE49-F238E27FC236}">
                      <a16:creationId xmlns:a16="http://schemas.microsoft.com/office/drawing/2014/main" id="{AE3C7200-A76C-4142-32E1-542D63009D7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70" name="Grafik 36">
                    <a:extLst>
                      <a:ext uri="{FF2B5EF4-FFF2-40B4-BE49-F238E27FC236}">
                        <a16:creationId xmlns:a16="http://schemas.microsoft.com/office/drawing/2014/main" id="{2698E061-E7D7-53CC-5FEB-287DDB687A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71" name="Grafik 36">
                    <a:extLst>
                      <a:ext uri="{FF2B5EF4-FFF2-40B4-BE49-F238E27FC236}">
                        <a16:creationId xmlns:a16="http://schemas.microsoft.com/office/drawing/2014/main" id="{A87C166E-FB6F-FCF4-6150-14405383E5A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72" name="Grafik 36">
                    <a:extLst>
                      <a:ext uri="{FF2B5EF4-FFF2-40B4-BE49-F238E27FC236}">
                        <a16:creationId xmlns:a16="http://schemas.microsoft.com/office/drawing/2014/main" id="{F16127BE-C378-84FF-CDC2-8FCE9B48930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1090" name="Grafik 36">
            <a:extLst>
              <a:ext uri="{FF2B5EF4-FFF2-40B4-BE49-F238E27FC236}">
                <a16:creationId xmlns:a16="http://schemas.microsoft.com/office/drawing/2014/main" id="{357DD868-E287-70A6-6D07-2034281314AA}"/>
              </a:ext>
            </a:extLst>
          </p:cNvPr>
          <p:cNvGrpSpPr/>
          <p:nvPr/>
        </p:nvGrpSpPr>
        <p:grpSpPr bwMode="gray">
          <a:xfrm>
            <a:off x="7411401" y="3276901"/>
            <a:ext cx="374400" cy="374400"/>
            <a:chOff x="5843587" y="3176587"/>
            <a:chExt cx="500253" cy="500253"/>
          </a:xfrm>
          <a:solidFill>
            <a:schemeClr val="accent6">
              <a:lumMod val="75000"/>
            </a:schemeClr>
          </a:solidFill>
        </p:grpSpPr>
        <p:grpSp>
          <p:nvGrpSpPr>
            <p:cNvPr id="1091" name="Grafik 36">
              <a:extLst>
                <a:ext uri="{FF2B5EF4-FFF2-40B4-BE49-F238E27FC236}">
                  <a16:creationId xmlns:a16="http://schemas.microsoft.com/office/drawing/2014/main" id="{1F052846-BF87-4958-04AB-40F634F3ED67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113" name="Grafik 36">
                <a:extLst>
                  <a:ext uri="{FF2B5EF4-FFF2-40B4-BE49-F238E27FC236}">
                    <a16:creationId xmlns:a16="http://schemas.microsoft.com/office/drawing/2014/main" id="{BC8DCD0E-8D45-0339-3978-530DFCE1736A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14" name="Grafik 36">
                <a:extLst>
                  <a:ext uri="{FF2B5EF4-FFF2-40B4-BE49-F238E27FC236}">
                    <a16:creationId xmlns:a16="http://schemas.microsoft.com/office/drawing/2014/main" id="{1681A79A-A0F4-8D1D-45F7-90D911C17969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15" name="Grafik 36">
                <a:extLst>
                  <a:ext uri="{FF2B5EF4-FFF2-40B4-BE49-F238E27FC236}">
                    <a16:creationId xmlns:a16="http://schemas.microsoft.com/office/drawing/2014/main" id="{C5FB4F13-30FB-A3F0-AA5B-CADDAF3917B8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16" name="Grafik 36">
                <a:extLst>
                  <a:ext uri="{FF2B5EF4-FFF2-40B4-BE49-F238E27FC236}">
                    <a16:creationId xmlns:a16="http://schemas.microsoft.com/office/drawing/2014/main" id="{B28AFA86-9F38-C01A-4DA2-46CBBB57E0C7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17" name="Grafik 36">
                <a:extLst>
                  <a:ext uri="{FF2B5EF4-FFF2-40B4-BE49-F238E27FC236}">
                    <a16:creationId xmlns:a16="http://schemas.microsoft.com/office/drawing/2014/main" id="{0E5A5D58-6B42-0E6F-C152-8A012832F953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92" name="Grafik 36">
              <a:extLst>
                <a:ext uri="{FF2B5EF4-FFF2-40B4-BE49-F238E27FC236}">
                  <a16:creationId xmlns:a16="http://schemas.microsoft.com/office/drawing/2014/main" id="{954DD442-1620-69B2-6B8A-74AC3A11961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1093" name="Grafik 36">
                <a:extLst>
                  <a:ext uri="{FF2B5EF4-FFF2-40B4-BE49-F238E27FC236}">
                    <a16:creationId xmlns:a16="http://schemas.microsoft.com/office/drawing/2014/main" id="{38984C0F-B970-92DA-2912-D5D3C27E703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104" name="Grafik 36">
                  <a:extLst>
                    <a:ext uri="{FF2B5EF4-FFF2-40B4-BE49-F238E27FC236}">
                      <a16:creationId xmlns:a16="http://schemas.microsoft.com/office/drawing/2014/main" id="{12561E83-3F8F-6464-1E6E-D00799EA7F9B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110" name="Grafik 36">
                    <a:extLst>
                      <a:ext uri="{FF2B5EF4-FFF2-40B4-BE49-F238E27FC236}">
                        <a16:creationId xmlns:a16="http://schemas.microsoft.com/office/drawing/2014/main" id="{47A1B752-AE10-59E1-744B-63F7869A1B4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11" name="Grafik 36">
                    <a:extLst>
                      <a:ext uri="{FF2B5EF4-FFF2-40B4-BE49-F238E27FC236}">
                        <a16:creationId xmlns:a16="http://schemas.microsoft.com/office/drawing/2014/main" id="{72B3680E-17C0-B813-5791-C5EE6512E2F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12" name="Grafik 36">
                    <a:extLst>
                      <a:ext uri="{FF2B5EF4-FFF2-40B4-BE49-F238E27FC236}">
                        <a16:creationId xmlns:a16="http://schemas.microsoft.com/office/drawing/2014/main" id="{BA739B5C-BABE-891A-C487-86F3EBA9B00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105" name="Grafik 36">
                  <a:extLst>
                    <a:ext uri="{FF2B5EF4-FFF2-40B4-BE49-F238E27FC236}">
                      <a16:creationId xmlns:a16="http://schemas.microsoft.com/office/drawing/2014/main" id="{17478F03-9CE2-4254-E298-C3EB1C4B3D1D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1106" name="Grafik 36">
                  <a:extLst>
                    <a:ext uri="{FF2B5EF4-FFF2-40B4-BE49-F238E27FC236}">
                      <a16:creationId xmlns:a16="http://schemas.microsoft.com/office/drawing/2014/main" id="{52267D5A-32F7-7FBD-77FE-5F9B1D0408D4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107" name="Grafik 36">
                    <a:extLst>
                      <a:ext uri="{FF2B5EF4-FFF2-40B4-BE49-F238E27FC236}">
                        <a16:creationId xmlns:a16="http://schemas.microsoft.com/office/drawing/2014/main" id="{04E5C102-1994-AFCA-2BE5-3F06B2AEA39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08" name="Grafik 36">
                    <a:extLst>
                      <a:ext uri="{FF2B5EF4-FFF2-40B4-BE49-F238E27FC236}">
                        <a16:creationId xmlns:a16="http://schemas.microsoft.com/office/drawing/2014/main" id="{B4519072-A942-7D33-DBC0-C9BF715AC68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09" name="Grafik 36">
                    <a:extLst>
                      <a:ext uri="{FF2B5EF4-FFF2-40B4-BE49-F238E27FC236}">
                        <a16:creationId xmlns:a16="http://schemas.microsoft.com/office/drawing/2014/main" id="{18CAEFDD-82CF-A69E-0035-75E9DBEAB0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1094" name="Grafik 36">
                <a:extLst>
                  <a:ext uri="{FF2B5EF4-FFF2-40B4-BE49-F238E27FC236}">
                    <a16:creationId xmlns:a16="http://schemas.microsoft.com/office/drawing/2014/main" id="{8A7D8B7A-5A37-DE45-E002-33658D50E0E5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1095" name="Grafik 36">
                  <a:extLst>
                    <a:ext uri="{FF2B5EF4-FFF2-40B4-BE49-F238E27FC236}">
                      <a16:creationId xmlns:a16="http://schemas.microsoft.com/office/drawing/2014/main" id="{00F560AA-0721-ECDC-2237-B1D8AF14D895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101" name="Grafik 36">
                    <a:extLst>
                      <a:ext uri="{FF2B5EF4-FFF2-40B4-BE49-F238E27FC236}">
                        <a16:creationId xmlns:a16="http://schemas.microsoft.com/office/drawing/2014/main" id="{E25DC920-A5F7-70B0-F120-83BB38B643A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02" name="Grafik 36">
                    <a:extLst>
                      <a:ext uri="{FF2B5EF4-FFF2-40B4-BE49-F238E27FC236}">
                        <a16:creationId xmlns:a16="http://schemas.microsoft.com/office/drawing/2014/main" id="{77FA88AD-E00A-352A-8844-0591039C17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03" name="Grafik 36">
                    <a:extLst>
                      <a:ext uri="{FF2B5EF4-FFF2-40B4-BE49-F238E27FC236}">
                        <a16:creationId xmlns:a16="http://schemas.microsoft.com/office/drawing/2014/main" id="{9CE1AC88-1263-6E70-77CC-867243B470B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096" name="Grafik 36">
                  <a:extLst>
                    <a:ext uri="{FF2B5EF4-FFF2-40B4-BE49-F238E27FC236}">
                      <a16:creationId xmlns:a16="http://schemas.microsoft.com/office/drawing/2014/main" id="{3952CC3E-A2F8-226F-2D77-01DCE66780CC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97" name="Grafik 36">
                  <a:extLst>
                    <a:ext uri="{FF2B5EF4-FFF2-40B4-BE49-F238E27FC236}">
                      <a16:creationId xmlns:a16="http://schemas.microsoft.com/office/drawing/2014/main" id="{44102A01-5D28-66D1-4956-71B03E2E4A6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98" name="Grafik 36">
                    <a:extLst>
                      <a:ext uri="{FF2B5EF4-FFF2-40B4-BE49-F238E27FC236}">
                        <a16:creationId xmlns:a16="http://schemas.microsoft.com/office/drawing/2014/main" id="{E9188EF8-32A3-2D3E-3B02-B48ECE4D3EF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99" name="Grafik 36">
                    <a:extLst>
                      <a:ext uri="{FF2B5EF4-FFF2-40B4-BE49-F238E27FC236}">
                        <a16:creationId xmlns:a16="http://schemas.microsoft.com/office/drawing/2014/main" id="{109D582D-0D11-104F-F98B-B3D6AB1AC0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00" name="Grafik 36">
                    <a:extLst>
                      <a:ext uri="{FF2B5EF4-FFF2-40B4-BE49-F238E27FC236}">
                        <a16:creationId xmlns:a16="http://schemas.microsoft.com/office/drawing/2014/main" id="{A496C018-AF1C-D9B5-BEAB-67D6177888B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cxnSp>
        <p:nvCxnSpPr>
          <p:cNvPr id="1118" name="Straight Connector 1117">
            <a:extLst>
              <a:ext uri="{FF2B5EF4-FFF2-40B4-BE49-F238E27FC236}">
                <a16:creationId xmlns:a16="http://schemas.microsoft.com/office/drawing/2014/main" id="{74BE858F-5925-0BD3-77E2-33FB92C46FE2}"/>
              </a:ext>
            </a:extLst>
          </p:cNvPr>
          <p:cNvCxnSpPr>
            <a:cxnSpLocks/>
          </p:cNvCxnSpPr>
          <p:nvPr/>
        </p:nvCxnSpPr>
        <p:spPr>
          <a:xfrm flipV="1">
            <a:off x="6057952" y="3460463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1" name="Straight Connector 1120">
            <a:extLst>
              <a:ext uri="{FF2B5EF4-FFF2-40B4-BE49-F238E27FC236}">
                <a16:creationId xmlns:a16="http://schemas.microsoft.com/office/drawing/2014/main" id="{FC02DB19-64F1-F11A-0F7F-343272D54A74}"/>
              </a:ext>
            </a:extLst>
          </p:cNvPr>
          <p:cNvCxnSpPr>
            <a:cxnSpLocks/>
          </p:cNvCxnSpPr>
          <p:nvPr/>
        </p:nvCxnSpPr>
        <p:spPr>
          <a:xfrm>
            <a:off x="6674452" y="2582701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2" name="Straight Connector 1121">
            <a:extLst>
              <a:ext uri="{FF2B5EF4-FFF2-40B4-BE49-F238E27FC236}">
                <a16:creationId xmlns:a16="http://schemas.microsoft.com/office/drawing/2014/main" id="{4394615C-AD7D-9600-60BC-22DEFC43B274}"/>
              </a:ext>
            </a:extLst>
          </p:cNvPr>
          <p:cNvCxnSpPr>
            <a:cxnSpLocks/>
          </p:cNvCxnSpPr>
          <p:nvPr/>
        </p:nvCxnSpPr>
        <p:spPr>
          <a:xfrm flipV="1">
            <a:off x="6916620" y="3459250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23" name="Grafik 23">
            <a:extLst>
              <a:ext uri="{FF2B5EF4-FFF2-40B4-BE49-F238E27FC236}">
                <a16:creationId xmlns:a16="http://schemas.microsoft.com/office/drawing/2014/main" id="{460CD34E-25EC-845C-110F-B46378D8899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547957" y="2128123"/>
            <a:ext cx="374400" cy="464640"/>
            <a:chOff x="5895975" y="3176587"/>
            <a:chExt cx="403097" cy="500253"/>
          </a:xfrm>
          <a:solidFill>
            <a:schemeClr val="accent2">
              <a:lumMod val="75000"/>
            </a:schemeClr>
          </a:solidFill>
        </p:grpSpPr>
        <p:sp>
          <p:nvSpPr>
            <p:cNvPr id="1124" name="Grafik 23">
              <a:extLst>
                <a:ext uri="{FF2B5EF4-FFF2-40B4-BE49-F238E27FC236}">
                  <a16:creationId xmlns:a16="http://schemas.microsoft.com/office/drawing/2014/main" id="{BB1A4BD5-6A42-E82F-FA8E-8B730CFA29DD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25" name="Grafik 23">
              <a:extLst>
                <a:ext uri="{FF2B5EF4-FFF2-40B4-BE49-F238E27FC236}">
                  <a16:creationId xmlns:a16="http://schemas.microsoft.com/office/drawing/2014/main" id="{906A8079-AFDA-C842-F347-067A584EBB1B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26" name="Grafik 23">
              <a:extLst>
                <a:ext uri="{FF2B5EF4-FFF2-40B4-BE49-F238E27FC236}">
                  <a16:creationId xmlns:a16="http://schemas.microsoft.com/office/drawing/2014/main" id="{72AF3BE4-473A-008E-4508-C11F08AB5A9A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27" name="Grafik 23">
              <a:extLst>
                <a:ext uri="{FF2B5EF4-FFF2-40B4-BE49-F238E27FC236}">
                  <a16:creationId xmlns:a16="http://schemas.microsoft.com/office/drawing/2014/main" id="{7DE8A192-68BC-84B7-5FCE-59C207979029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28" name="Grafik 23">
              <a:extLst>
                <a:ext uri="{FF2B5EF4-FFF2-40B4-BE49-F238E27FC236}">
                  <a16:creationId xmlns:a16="http://schemas.microsoft.com/office/drawing/2014/main" id="{E1D48BEF-7BA1-4620-F625-0511EED019BA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129" name="Grafik 23">
              <a:extLst>
                <a:ext uri="{FF2B5EF4-FFF2-40B4-BE49-F238E27FC236}">
                  <a16:creationId xmlns:a16="http://schemas.microsoft.com/office/drawing/2014/main" id="{A8A1FC89-90A3-731D-D1D6-6D7F121555D7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130" name="Grafik 23">
                <a:extLst>
                  <a:ext uri="{FF2B5EF4-FFF2-40B4-BE49-F238E27FC236}">
                    <a16:creationId xmlns:a16="http://schemas.microsoft.com/office/drawing/2014/main" id="{3588FC64-4D89-E244-5F93-B197CB1C8224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31" name="Grafik 23">
                <a:extLst>
                  <a:ext uri="{FF2B5EF4-FFF2-40B4-BE49-F238E27FC236}">
                    <a16:creationId xmlns:a16="http://schemas.microsoft.com/office/drawing/2014/main" id="{00750BFA-A93A-053D-738E-3DB0D6642127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32" name="Grafik 23">
                <a:extLst>
                  <a:ext uri="{FF2B5EF4-FFF2-40B4-BE49-F238E27FC236}">
                    <a16:creationId xmlns:a16="http://schemas.microsoft.com/office/drawing/2014/main" id="{04B37630-874E-9913-519D-031B28E0CF48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33" name="Grafik 23">
                <a:extLst>
                  <a:ext uri="{FF2B5EF4-FFF2-40B4-BE49-F238E27FC236}">
                    <a16:creationId xmlns:a16="http://schemas.microsoft.com/office/drawing/2014/main" id="{033EAC82-BC38-A80F-C700-4488E7706E36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134" name="Grafik 23">
            <a:extLst>
              <a:ext uri="{FF2B5EF4-FFF2-40B4-BE49-F238E27FC236}">
                <a16:creationId xmlns:a16="http://schemas.microsoft.com/office/drawing/2014/main" id="{96806F70-7CE6-977A-37E4-BD7F23B8D909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684513" y="2129890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135" name="Grafik 23">
              <a:extLst>
                <a:ext uri="{FF2B5EF4-FFF2-40B4-BE49-F238E27FC236}">
                  <a16:creationId xmlns:a16="http://schemas.microsoft.com/office/drawing/2014/main" id="{131C24A1-D8A7-9ADB-7A80-28E562736A79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36" name="Grafik 23">
              <a:extLst>
                <a:ext uri="{FF2B5EF4-FFF2-40B4-BE49-F238E27FC236}">
                  <a16:creationId xmlns:a16="http://schemas.microsoft.com/office/drawing/2014/main" id="{9846A8C5-8915-3CD1-7095-6E70DC1A0570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37" name="Grafik 23">
              <a:extLst>
                <a:ext uri="{FF2B5EF4-FFF2-40B4-BE49-F238E27FC236}">
                  <a16:creationId xmlns:a16="http://schemas.microsoft.com/office/drawing/2014/main" id="{4040ECB4-2626-26AB-EA00-37FA89D75EF3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38" name="Grafik 23">
              <a:extLst>
                <a:ext uri="{FF2B5EF4-FFF2-40B4-BE49-F238E27FC236}">
                  <a16:creationId xmlns:a16="http://schemas.microsoft.com/office/drawing/2014/main" id="{600164A8-AEBE-B688-41D6-B6A37E12862F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39" name="Grafik 23">
              <a:extLst>
                <a:ext uri="{FF2B5EF4-FFF2-40B4-BE49-F238E27FC236}">
                  <a16:creationId xmlns:a16="http://schemas.microsoft.com/office/drawing/2014/main" id="{485694F7-45DD-C522-A222-C951E75C1153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140" name="Grafik 23">
              <a:extLst>
                <a:ext uri="{FF2B5EF4-FFF2-40B4-BE49-F238E27FC236}">
                  <a16:creationId xmlns:a16="http://schemas.microsoft.com/office/drawing/2014/main" id="{E05FC8F8-B253-57E7-E1EF-875BA9BF7A4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141" name="Grafik 23">
                <a:extLst>
                  <a:ext uri="{FF2B5EF4-FFF2-40B4-BE49-F238E27FC236}">
                    <a16:creationId xmlns:a16="http://schemas.microsoft.com/office/drawing/2014/main" id="{2DDBC22B-A1C8-707B-3DEA-CF7340D9EAA1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42" name="Grafik 23">
                <a:extLst>
                  <a:ext uri="{FF2B5EF4-FFF2-40B4-BE49-F238E27FC236}">
                    <a16:creationId xmlns:a16="http://schemas.microsoft.com/office/drawing/2014/main" id="{08B2E959-1248-BF55-331D-C41CC35B1EA9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43" name="Grafik 23">
                <a:extLst>
                  <a:ext uri="{FF2B5EF4-FFF2-40B4-BE49-F238E27FC236}">
                    <a16:creationId xmlns:a16="http://schemas.microsoft.com/office/drawing/2014/main" id="{D3F3269F-C785-20B4-38AA-592CDCAB5AE4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44" name="Grafik 23">
                <a:extLst>
                  <a:ext uri="{FF2B5EF4-FFF2-40B4-BE49-F238E27FC236}">
                    <a16:creationId xmlns:a16="http://schemas.microsoft.com/office/drawing/2014/main" id="{70B519C9-1006-1127-2B17-ECB9AA3C8A99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145" name="Grafik 23">
            <a:extLst>
              <a:ext uri="{FF2B5EF4-FFF2-40B4-BE49-F238E27FC236}">
                <a16:creationId xmlns:a16="http://schemas.microsoft.com/office/drawing/2014/main" id="{90A41E87-D18A-CA95-208F-B1732B6FE95B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411401" y="2134574"/>
            <a:ext cx="374400" cy="464640"/>
            <a:chOff x="5895975" y="3176587"/>
            <a:chExt cx="403097" cy="500253"/>
          </a:xfrm>
          <a:solidFill>
            <a:schemeClr val="accent6">
              <a:lumMod val="75000"/>
            </a:schemeClr>
          </a:solidFill>
        </p:grpSpPr>
        <p:sp>
          <p:nvSpPr>
            <p:cNvPr id="1146" name="Grafik 23">
              <a:extLst>
                <a:ext uri="{FF2B5EF4-FFF2-40B4-BE49-F238E27FC236}">
                  <a16:creationId xmlns:a16="http://schemas.microsoft.com/office/drawing/2014/main" id="{DCADCA14-CF52-AF31-C058-BC841866EE20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47" name="Grafik 23">
              <a:extLst>
                <a:ext uri="{FF2B5EF4-FFF2-40B4-BE49-F238E27FC236}">
                  <a16:creationId xmlns:a16="http://schemas.microsoft.com/office/drawing/2014/main" id="{58180247-2CF5-EF96-8214-9B4C92C31268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48" name="Grafik 23">
              <a:extLst>
                <a:ext uri="{FF2B5EF4-FFF2-40B4-BE49-F238E27FC236}">
                  <a16:creationId xmlns:a16="http://schemas.microsoft.com/office/drawing/2014/main" id="{601B8A34-FAFD-CA08-CFD0-C57045F8BF44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49" name="Grafik 23">
              <a:extLst>
                <a:ext uri="{FF2B5EF4-FFF2-40B4-BE49-F238E27FC236}">
                  <a16:creationId xmlns:a16="http://schemas.microsoft.com/office/drawing/2014/main" id="{72FDAEBD-7A26-9B96-446B-1D123AF79FD2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50" name="Grafik 23">
              <a:extLst>
                <a:ext uri="{FF2B5EF4-FFF2-40B4-BE49-F238E27FC236}">
                  <a16:creationId xmlns:a16="http://schemas.microsoft.com/office/drawing/2014/main" id="{9AA30E2D-C6F7-8CDE-B28E-87A4FF97D76B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151" name="Grafik 23">
              <a:extLst>
                <a:ext uri="{FF2B5EF4-FFF2-40B4-BE49-F238E27FC236}">
                  <a16:creationId xmlns:a16="http://schemas.microsoft.com/office/drawing/2014/main" id="{DDC8550B-C531-70A5-DAA5-F6A74EB6025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152" name="Grafik 23">
                <a:extLst>
                  <a:ext uri="{FF2B5EF4-FFF2-40B4-BE49-F238E27FC236}">
                    <a16:creationId xmlns:a16="http://schemas.microsoft.com/office/drawing/2014/main" id="{1FC05A7E-559D-76BC-9D4A-FECBA0FDC246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53" name="Grafik 23">
                <a:extLst>
                  <a:ext uri="{FF2B5EF4-FFF2-40B4-BE49-F238E27FC236}">
                    <a16:creationId xmlns:a16="http://schemas.microsoft.com/office/drawing/2014/main" id="{4EC66771-C088-C0BE-BF78-F32F46DC49B3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54" name="Grafik 23">
                <a:extLst>
                  <a:ext uri="{FF2B5EF4-FFF2-40B4-BE49-F238E27FC236}">
                    <a16:creationId xmlns:a16="http://schemas.microsoft.com/office/drawing/2014/main" id="{10973D0A-7D05-1477-092F-6003D8443F06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55" name="Grafik 23">
                <a:extLst>
                  <a:ext uri="{FF2B5EF4-FFF2-40B4-BE49-F238E27FC236}">
                    <a16:creationId xmlns:a16="http://schemas.microsoft.com/office/drawing/2014/main" id="{6D0253F5-155D-6248-C2CA-BEAA7B07A90A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cxnSp>
        <p:nvCxnSpPr>
          <p:cNvPr id="1156" name="Straight Connector 1155">
            <a:extLst>
              <a:ext uri="{FF2B5EF4-FFF2-40B4-BE49-F238E27FC236}">
                <a16:creationId xmlns:a16="http://schemas.microsoft.com/office/drawing/2014/main" id="{3A725768-4C92-48D9-81C7-7650ED29BC5D}"/>
              </a:ext>
            </a:extLst>
          </p:cNvPr>
          <p:cNvCxnSpPr>
            <a:cxnSpLocks/>
          </p:cNvCxnSpPr>
          <p:nvPr/>
        </p:nvCxnSpPr>
        <p:spPr>
          <a:xfrm flipV="1">
            <a:off x="6060527" y="2368514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7" name="Straight Connector 1156">
            <a:extLst>
              <a:ext uri="{FF2B5EF4-FFF2-40B4-BE49-F238E27FC236}">
                <a16:creationId xmlns:a16="http://schemas.microsoft.com/office/drawing/2014/main" id="{FA42247D-E4A5-BF4D-8348-41C92EE69680}"/>
              </a:ext>
            </a:extLst>
          </p:cNvPr>
          <p:cNvCxnSpPr>
            <a:cxnSpLocks/>
          </p:cNvCxnSpPr>
          <p:nvPr/>
        </p:nvCxnSpPr>
        <p:spPr>
          <a:xfrm flipV="1">
            <a:off x="6923971" y="2367301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9" name="Straight Connector 1158">
            <a:extLst>
              <a:ext uri="{FF2B5EF4-FFF2-40B4-BE49-F238E27FC236}">
                <a16:creationId xmlns:a16="http://schemas.microsoft.com/office/drawing/2014/main" id="{94C64E48-7F5D-3A55-FEB6-D4CD013CCD97}"/>
              </a:ext>
            </a:extLst>
          </p:cNvPr>
          <p:cNvCxnSpPr>
            <a:cxnSpLocks/>
          </p:cNvCxnSpPr>
          <p:nvPr/>
        </p:nvCxnSpPr>
        <p:spPr>
          <a:xfrm>
            <a:off x="7549309" y="2588436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0" name="Straight Connector 1159">
            <a:extLst>
              <a:ext uri="{FF2B5EF4-FFF2-40B4-BE49-F238E27FC236}">
                <a16:creationId xmlns:a16="http://schemas.microsoft.com/office/drawing/2014/main" id="{F4B60887-243B-F09A-3B57-0003042D1DCA}"/>
              </a:ext>
            </a:extLst>
          </p:cNvPr>
          <p:cNvCxnSpPr>
            <a:cxnSpLocks/>
          </p:cNvCxnSpPr>
          <p:nvPr/>
        </p:nvCxnSpPr>
        <p:spPr>
          <a:xfrm>
            <a:off x="5811008" y="2588436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63B71F72-C54B-4370-D123-EC81445EF696}"/>
              </a:ext>
            </a:extLst>
          </p:cNvPr>
          <p:cNvSpPr txBox="1"/>
          <p:nvPr/>
        </p:nvSpPr>
        <p:spPr>
          <a:xfrm>
            <a:off x="1866527" y="3760730"/>
            <a:ext cx="2215664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e. Flat architectu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4F8914C-62C1-F1B6-F478-58B4B637BDA0}"/>
              </a:ext>
            </a:extLst>
          </p:cNvPr>
          <p:cNvSpPr txBox="1"/>
          <p:nvPr/>
        </p:nvSpPr>
        <p:spPr>
          <a:xfrm>
            <a:off x="5749368" y="3760730"/>
            <a:ext cx="2215664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f. Hierarchical architecture</a:t>
            </a:r>
          </a:p>
        </p:txBody>
      </p:sp>
      <p:grpSp>
        <p:nvGrpSpPr>
          <p:cNvPr id="8" name="Grafik 23">
            <a:extLst>
              <a:ext uri="{FF2B5EF4-FFF2-40B4-BE49-F238E27FC236}">
                <a16:creationId xmlns:a16="http://schemas.microsoft.com/office/drawing/2014/main" id="{8A3EC522-580C-D345-8A4E-0392BA3A89B7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402322" y="4510982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9" name="Grafik 23">
              <a:extLst>
                <a:ext uri="{FF2B5EF4-FFF2-40B4-BE49-F238E27FC236}">
                  <a16:creationId xmlns:a16="http://schemas.microsoft.com/office/drawing/2014/main" id="{35C13B0D-83BE-FAE7-CF2C-5DCC110996EB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" name="Grafik 23">
              <a:extLst>
                <a:ext uri="{FF2B5EF4-FFF2-40B4-BE49-F238E27FC236}">
                  <a16:creationId xmlns:a16="http://schemas.microsoft.com/office/drawing/2014/main" id="{09D54FA1-BA6C-C6EA-BD81-8AB1B0C45310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" name="Grafik 23">
              <a:extLst>
                <a:ext uri="{FF2B5EF4-FFF2-40B4-BE49-F238E27FC236}">
                  <a16:creationId xmlns:a16="http://schemas.microsoft.com/office/drawing/2014/main" id="{56D56F35-54FD-669B-BA3C-0F15A1F5AFE3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2" name="Grafik 23">
              <a:extLst>
                <a:ext uri="{FF2B5EF4-FFF2-40B4-BE49-F238E27FC236}">
                  <a16:creationId xmlns:a16="http://schemas.microsoft.com/office/drawing/2014/main" id="{7F036645-861E-39AA-E1BE-BC76E6DFEC04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3" name="Grafik 23">
              <a:extLst>
                <a:ext uri="{FF2B5EF4-FFF2-40B4-BE49-F238E27FC236}">
                  <a16:creationId xmlns:a16="http://schemas.microsoft.com/office/drawing/2014/main" id="{924654AC-F649-C92B-86FF-1CA3DDF3A1C3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4" name="Grafik 23">
              <a:extLst>
                <a:ext uri="{FF2B5EF4-FFF2-40B4-BE49-F238E27FC236}">
                  <a16:creationId xmlns:a16="http://schemas.microsoft.com/office/drawing/2014/main" id="{C0F761E9-AF94-3B8A-2A1C-CA669A5CA925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5" name="Grafik 23">
                <a:extLst>
                  <a:ext uri="{FF2B5EF4-FFF2-40B4-BE49-F238E27FC236}">
                    <a16:creationId xmlns:a16="http://schemas.microsoft.com/office/drawing/2014/main" id="{168A3903-65FE-327C-0F89-3CF389875293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" name="Grafik 23">
                <a:extLst>
                  <a:ext uri="{FF2B5EF4-FFF2-40B4-BE49-F238E27FC236}">
                    <a16:creationId xmlns:a16="http://schemas.microsoft.com/office/drawing/2014/main" id="{124DBF8B-BA97-CD97-F540-9ED5B94EA17D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" name="Grafik 23">
                <a:extLst>
                  <a:ext uri="{FF2B5EF4-FFF2-40B4-BE49-F238E27FC236}">
                    <a16:creationId xmlns:a16="http://schemas.microsoft.com/office/drawing/2014/main" id="{33523023-3E7B-B645-C4A6-C2982CBC8B3D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8" name="Grafik 23">
                <a:extLst>
                  <a:ext uri="{FF2B5EF4-FFF2-40B4-BE49-F238E27FC236}">
                    <a16:creationId xmlns:a16="http://schemas.microsoft.com/office/drawing/2014/main" id="{A847A70E-AA67-471C-4449-4598169908A8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9" name="Grafik 36">
            <a:extLst>
              <a:ext uri="{FF2B5EF4-FFF2-40B4-BE49-F238E27FC236}">
                <a16:creationId xmlns:a16="http://schemas.microsoft.com/office/drawing/2014/main" id="{B721E9AA-5F8C-3414-1A96-11A7C9701289}"/>
              </a:ext>
            </a:extLst>
          </p:cNvPr>
          <p:cNvGrpSpPr/>
          <p:nvPr/>
        </p:nvGrpSpPr>
        <p:grpSpPr bwMode="gray">
          <a:xfrm>
            <a:off x="5504552" y="4590659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0" name="Grafik 36">
              <a:extLst>
                <a:ext uri="{FF2B5EF4-FFF2-40B4-BE49-F238E27FC236}">
                  <a16:creationId xmlns:a16="http://schemas.microsoft.com/office/drawing/2014/main" id="{69E04077-DF52-A216-0EB6-32ECE8187B61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42" name="Grafik 36">
                <a:extLst>
                  <a:ext uri="{FF2B5EF4-FFF2-40B4-BE49-F238E27FC236}">
                    <a16:creationId xmlns:a16="http://schemas.microsoft.com/office/drawing/2014/main" id="{0588C7E3-8096-E64D-CC4D-917A6E3CC094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" name="Grafik 36">
                <a:extLst>
                  <a:ext uri="{FF2B5EF4-FFF2-40B4-BE49-F238E27FC236}">
                    <a16:creationId xmlns:a16="http://schemas.microsoft.com/office/drawing/2014/main" id="{0BD09ADB-98BC-B262-9AA2-409A956F996A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44" name="Grafik 36">
                <a:extLst>
                  <a:ext uri="{FF2B5EF4-FFF2-40B4-BE49-F238E27FC236}">
                    <a16:creationId xmlns:a16="http://schemas.microsoft.com/office/drawing/2014/main" id="{F6D83C6E-F389-867B-B32D-0495652FFFE1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" name="Grafik 36">
                <a:extLst>
                  <a:ext uri="{FF2B5EF4-FFF2-40B4-BE49-F238E27FC236}">
                    <a16:creationId xmlns:a16="http://schemas.microsoft.com/office/drawing/2014/main" id="{283BC277-5300-C708-A0E7-EB208BD10626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" name="Grafik 36">
                <a:extLst>
                  <a:ext uri="{FF2B5EF4-FFF2-40B4-BE49-F238E27FC236}">
                    <a16:creationId xmlns:a16="http://schemas.microsoft.com/office/drawing/2014/main" id="{2D257947-D1DC-3280-F312-5AC41C3979A5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1" name="Grafik 36">
              <a:extLst>
                <a:ext uri="{FF2B5EF4-FFF2-40B4-BE49-F238E27FC236}">
                  <a16:creationId xmlns:a16="http://schemas.microsoft.com/office/drawing/2014/main" id="{AEBA3081-894D-658E-4752-8146CDF25665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2" name="Grafik 36">
                <a:extLst>
                  <a:ext uri="{FF2B5EF4-FFF2-40B4-BE49-F238E27FC236}">
                    <a16:creationId xmlns:a16="http://schemas.microsoft.com/office/drawing/2014/main" id="{0700C799-1C03-91AA-9B6C-0D37068B2824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33" name="Grafik 36">
                  <a:extLst>
                    <a:ext uri="{FF2B5EF4-FFF2-40B4-BE49-F238E27FC236}">
                      <a16:creationId xmlns:a16="http://schemas.microsoft.com/office/drawing/2014/main" id="{E877F1D1-2A0E-A47E-0251-0960F8BA700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39" name="Grafik 36">
                    <a:extLst>
                      <a:ext uri="{FF2B5EF4-FFF2-40B4-BE49-F238E27FC236}">
                        <a16:creationId xmlns:a16="http://schemas.microsoft.com/office/drawing/2014/main" id="{21A8E84E-62F0-A5CC-8D93-21F68E1DA43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" name="Grafik 36">
                    <a:extLst>
                      <a:ext uri="{FF2B5EF4-FFF2-40B4-BE49-F238E27FC236}">
                        <a16:creationId xmlns:a16="http://schemas.microsoft.com/office/drawing/2014/main" id="{B00004F4-0F41-5F0D-97FF-269F65556CD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1" name="Grafik 36">
                    <a:extLst>
                      <a:ext uri="{FF2B5EF4-FFF2-40B4-BE49-F238E27FC236}">
                        <a16:creationId xmlns:a16="http://schemas.microsoft.com/office/drawing/2014/main" id="{114CA4C8-0D9F-841B-C7E3-55752216EEF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4" name="Grafik 36">
                  <a:extLst>
                    <a:ext uri="{FF2B5EF4-FFF2-40B4-BE49-F238E27FC236}">
                      <a16:creationId xmlns:a16="http://schemas.microsoft.com/office/drawing/2014/main" id="{E819F379-A538-7F16-956D-0B45D5BB086A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35" name="Grafik 36">
                  <a:extLst>
                    <a:ext uri="{FF2B5EF4-FFF2-40B4-BE49-F238E27FC236}">
                      <a16:creationId xmlns:a16="http://schemas.microsoft.com/office/drawing/2014/main" id="{FB36CB2C-5990-C05A-5D27-CBBF8E54DCFB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36" name="Grafik 36">
                    <a:extLst>
                      <a:ext uri="{FF2B5EF4-FFF2-40B4-BE49-F238E27FC236}">
                        <a16:creationId xmlns:a16="http://schemas.microsoft.com/office/drawing/2014/main" id="{491CDEE4-9089-D0D5-7268-EEC158F04D7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7" name="Grafik 36">
                    <a:extLst>
                      <a:ext uri="{FF2B5EF4-FFF2-40B4-BE49-F238E27FC236}">
                        <a16:creationId xmlns:a16="http://schemas.microsoft.com/office/drawing/2014/main" id="{692AE904-2051-A93E-5E35-D1390036C13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8" name="Grafik 36">
                    <a:extLst>
                      <a:ext uri="{FF2B5EF4-FFF2-40B4-BE49-F238E27FC236}">
                        <a16:creationId xmlns:a16="http://schemas.microsoft.com/office/drawing/2014/main" id="{FF415B1B-F50B-AA3F-937A-AE8345A1EA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23" name="Grafik 36">
                <a:extLst>
                  <a:ext uri="{FF2B5EF4-FFF2-40B4-BE49-F238E27FC236}">
                    <a16:creationId xmlns:a16="http://schemas.microsoft.com/office/drawing/2014/main" id="{F6867725-19C1-6B71-60A3-4187DD4FBA50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4" name="Grafik 36">
                  <a:extLst>
                    <a:ext uri="{FF2B5EF4-FFF2-40B4-BE49-F238E27FC236}">
                      <a16:creationId xmlns:a16="http://schemas.microsoft.com/office/drawing/2014/main" id="{1BE34EC2-3129-6622-693B-B9DED62E340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30" name="Grafik 36">
                    <a:extLst>
                      <a:ext uri="{FF2B5EF4-FFF2-40B4-BE49-F238E27FC236}">
                        <a16:creationId xmlns:a16="http://schemas.microsoft.com/office/drawing/2014/main" id="{B72571AE-BB27-8DCF-D69B-31AD3AFF149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" name="Grafik 36">
                    <a:extLst>
                      <a:ext uri="{FF2B5EF4-FFF2-40B4-BE49-F238E27FC236}">
                        <a16:creationId xmlns:a16="http://schemas.microsoft.com/office/drawing/2014/main" id="{526F4F02-BBD0-494D-432A-6F41010B1CE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" name="Grafik 36">
                    <a:extLst>
                      <a:ext uri="{FF2B5EF4-FFF2-40B4-BE49-F238E27FC236}">
                        <a16:creationId xmlns:a16="http://schemas.microsoft.com/office/drawing/2014/main" id="{5A0EE262-5222-24DE-F88A-BF390349349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5" name="Grafik 36">
                  <a:extLst>
                    <a:ext uri="{FF2B5EF4-FFF2-40B4-BE49-F238E27FC236}">
                      <a16:creationId xmlns:a16="http://schemas.microsoft.com/office/drawing/2014/main" id="{5944BA6A-D22B-9925-5508-05CAEBA980BF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6" name="Grafik 36">
                  <a:extLst>
                    <a:ext uri="{FF2B5EF4-FFF2-40B4-BE49-F238E27FC236}">
                      <a16:creationId xmlns:a16="http://schemas.microsoft.com/office/drawing/2014/main" id="{D70C47A4-C757-C990-7EFF-50906B19916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7" name="Grafik 36">
                    <a:extLst>
                      <a:ext uri="{FF2B5EF4-FFF2-40B4-BE49-F238E27FC236}">
                        <a16:creationId xmlns:a16="http://schemas.microsoft.com/office/drawing/2014/main" id="{6105DBCE-A938-27A8-4F2F-5101BF31025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8" name="Grafik 36">
                    <a:extLst>
                      <a:ext uri="{FF2B5EF4-FFF2-40B4-BE49-F238E27FC236}">
                        <a16:creationId xmlns:a16="http://schemas.microsoft.com/office/drawing/2014/main" id="{751DED1B-F99B-1CFE-17E3-52A6EF06E7C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9" name="Grafik 36">
                    <a:extLst>
                      <a:ext uri="{FF2B5EF4-FFF2-40B4-BE49-F238E27FC236}">
                        <a16:creationId xmlns:a16="http://schemas.microsoft.com/office/drawing/2014/main" id="{CA7D30E9-9E32-A83B-20BC-1A4DA6118F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sp>
        <p:nvSpPr>
          <p:cNvPr id="47" name="TextBox 46">
            <a:extLst>
              <a:ext uri="{FF2B5EF4-FFF2-40B4-BE49-F238E27FC236}">
                <a16:creationId xmlns:a16="http://schemas.microsoft.com/office/drawing/2014/main" id="{85EBB57F-C1EC-10B6-6A98-028F12DBFCDE}"/>
              </a:ext>
            </a:extLst>
          </p:cNvPr>
          <p:cNvSpPr txBox="1"/>
          <p:nvPr/>
        </p:nvSpPr>
        <p:spPr>
          <a:xfrm>
            <a:off x="3716474" y="4573235"/>
            <a:ext cx="1412083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ysClr val="windowText" lastClr="000000"/>
                </a:solidFill>
              </a:rPr>
              <a:t>- SDN controller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355F740-B336-9265-4298-A7E5B1A08196}"/>
              </a:ext>
            </a:extLst>
          </p:cNvPr>
          <p:cNvSpPr txBox="1"/>
          <p:nvPr/>
        </p:nvSpPr>
        <p:spPr>
          <a:xfrm>
            <a:off x="5867731" y="4604897"/>
            <a:ext cx="1412083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ysClr val="windowText" lastClr="000000"/>
                </a:solidFill>
              </a:rPr>
              <a:t>- Network device</a:t>
            </a:r>
          </a:p>
        </p:txBody>
      </p:sp>
      <p:sp>
        <p:nvSpPr>
          <p:cNvPr id="518" name="Arc 517">
            <a:extLst>
              <a:ext uri="{FF2B5EF4-FFF2-40B4-BE49-F238E27FC236}">
                <a16:creationId xmlns:a16="http://schemas.microsoft.com/office/drawing/2014/main" id="{2C2FBC4D-52D6-E317-E2B4-9BCBCAA9E305}"/>
              </a:ext>
            </a:extLst>
          </p:cNvPr>
          <p:cNvSpPr/>
          <p:nvPr/>
        </p:nvSpPr>
        <p:spPr>
          <a:xfrm rot="5400000">
            <a:off x="6636986" y="593442"/>
            <a:ext cx="863270" cy="1138897"/>
          </a:xfrm>
          <a:prstGeom prst="arc">
            <a:avLst>
              <a:gd name="adj1" fmla="val 18644737"/>
              <a:gd name="adj2" fmla="val 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cxnSp>
        <p:nvCxnSpPr>
          <p:cNvPr id="519" name="Straight Arrow Connector 518">
            <a:extLst>
              <a:ext uri="{FF2B5EF4-FFF2-40B4-BE49-F238E27FC236}">
                <a16:creationId xmlns:a16="http://schemas.microsoft.com/office/drawing/2014/main" id="{1C8C1E73-9396-7748-F99B-1E873CA5CEBF}"/>
              </a:ext>
            </a:extLst>
          </p:cNvPr>
          <p:cNvCxnSpPr>
            <a:cxnSpLocks/>
          </p:cNvCxnSpPr>
          <p:nvPr/>
        </p:nvCxnSpPr>
        <p:spPr>
          <a:xfrm flipH="1">
            <a:off x="7005911" y="1594526"/>
            <a:ext cx="6271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6" name="Straight Connector 525">
            <a:extLst>
              <a:ext uri="{FF2B5EF4-FFF2-40B4-BE49-F238E27FC236}">
                <a16:creationId xmlns:a16="http://schemas.microsoft.com/office/drawing/2014/main" id="{D5CB7D85-9A1B-CF48-AF86-A1F911209A90}"/>
              </a:ext>
            </a:extLst>
          </p:cNvPr>
          <p:cNvCxnSpPr>
            <a:cxnSpLocks/>
          </p:cNvCxnSpPr>
          <p:nvPr/>
        </p:nvCxnSpPr>
        <p:spPr>
          <a:xfrm>
            <a:off x="2922842" y="2543350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7" name="Straight Connector 526">
            <a:extLst>
              <a:ext uri="{FF2B5EF4-FFF2-40B4-BE49-F238E27FC236}">
                <a16:creationId xmlns:a16="http://schemas.microsoft.com/office/drawing/2014/main" id="{19204A3E-F73F-0080-AA14-1900C99C8E2A}"/>
              </a:ext>
            </a:extLst>
          </p:cNvPr>
          <p:cNvCxnSpPr>
            <a:cxnSpLocks/>
          </p:cNvCxnSpPr>
          <p:nvPr/>
        </p:nvCxnSpPr>
        <p:spPr>
          <a:xfrm>
            <a:off x="3797699" y="2549085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8" name="Straight Connector 527">
            <a:extLst>
              <a:ext uri="{FF2B5EF4-FFF2-40B4-BE49-F238E27FC236}">
                <a16:creationId xmlns:a16="http://schemas.microsoft.com/office/drawing/2014/main" id="{AF1E9DF1-BD0F-75E0-1C32-C318A52BF237}"/>
              </a:ext>
            </a:extLst>
          </p:cNvPr>
          <p:cNvCxnSpPr>
            <a:cxnSpLocks/>
          </p:cNvCxnSpPr>
          <p:nvPr/>
        </p:nvCxnSpPr>
        <p:spPr>
          <a:xfrm>
            <a:off x="2059398" y="2549085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918601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7180D7-B8F1-B52E-D501-55A9A007C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D3FCD87C-8C84-D5A2-8FBB-1A6EE6374FE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45586" y="0"/>
            <a:ext cx="490082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452044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afik 36">
            <a:extLst>
              <a:ext uri="{FF2B5EF4-FFF2-40B4-BE49-F238E27FC236}">
                <a16:creationId xmlns:a16="http://schemas.microsoft.com/office/drawing/2014/main" id="{805ABFA0-D21F-2270-5176-54001474EA54}"/>
              </a:ext>
            </a:extLst>
          </p:cNvPr>
          <p:cNvGrpSpPr/>
          <p:nvPr/>
        </p:nvGrpSpPr>
        <p:grpSpPr bwMode="gray">
          <a:xfrm>
            <a:off x="6406232" y="2743197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3" name="Grafik 36">
              <a:extLst>
                <a:ext uri="{FF2B5EF4-FFF2-40B4-BE49-F238E27FC236}">
                  <a16:creationId xmlns:a16="http://schemas.microsoft.com/office/drawing/2014/main" id="{677960D1-AACE-5BA7-B978-0AC922A1B039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5" name="Grafik 36">
                <a:extLst>
                  <a:ext uri="{FF2B5EF4-FFF2-40B4-BE49-F238E27FC236}">
                    <a16:creationId xmlns:a16="http://schemas.microsoft.com/office/drawing/2014/main" id="{36CA9497-AC32-908B-8538-F527241B4DAE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" name="Grafik 36">
                <a:extLst>
                  <a:ext uri="{FF2B5EF4-FFF2-40B4-BE49-F238E27FC236}">
                    <a16:creationId xmlns:a16="http://schemas.microsoft.com/office/drawing/2014/main" id="{544919A6-F796-1034-A764-31E58531469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" name="Grafik 36">
                <a:extLst>
                  <a:ext uri="{FF2B5EF4-FFF2-40B4-BE49-F238E27FC236}">
                    <a16:creationId xmlns:a16="http://schemas.microsoft.com/office/drawing/2014/main" id="{9DD39308-E045-CE6A-9178-6F1EFB6BB75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" name="Grafik 36">
                <a:extLst>
                  <a:ext uri="{FF2B5EF4-FFF2-40B4-BE49-F238E27FC236}">
                    <a16:creationId xmlns:a16="http://schemas.microsoft.com/office/drawing/2014/main" id="{99D416D0-C329-1EAC-CDCB-43CB319FC00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" name="Grafik 36">
                <a:extLst>
                  <a:ext uri="{FF2B5EF4-FFF2-40B4-BE49-F238E27FC236}">
                    <a16:creationId xmlns:a16="http://schemas.microsoft.com/office/drawing/2014/main" id="{0F9F3982-44C1-241F-A234-682B77764CC0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" name="Grafik 36">
              <a:extLst>
                <a:ext uri="{FF2B5EF4-FFF2-40B4-BE49-F238E27FC236}">
                  <a16:creationId xmlns:a16="http://schemas.microsoft.com/office/drawing/2014/main" id="{22AAC8C6-83B4-195A-482D-9623F737A966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" name="Grafik 36">
                <a:extLst>
                  <a:ext uri="{FF2B5EF4-FFF2-40B4-BE49-F238E27FC236}">
                    <a16:creationId xmlns:a16="http://schemas.microsoft.com/office/drawing/2014/main" id="{F7A3A95C-B505-F797-A064-2DABC83E1CFE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6" name="Grafik 36">
                  <a:extLst>
                    <a:ext uri="{FF2B5EF4-FFF2-40B4-BE49-F238E27FC236}">
                      <a16:creationId xmlns:a16="http://schemas.microsoft.com/office/drawing/2014/main" id="{EDF92E35-71EE-6BDF-85CD-15C49FE7CD1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2" name="Grafik 36">
                    <a:extLst>
                      <a:ext uri="{FF2B5EF4-FFF2-40B4-BE49-F238E27FC236}">
                        <a16:creationId xmlns:a16="http://schemas.microsoft.com/office/drawing/2014/main" id="{DEF4593B-EB09-FDEE-0CD2-F0BA4481C03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" name="Grafik 36">
                    <a:extLst>
                      <a:ext uri="{FF2B5EF4-FFF2-40B4-BE49-F238E27FC236}">
                        <a16:creationId xmlns:a16="http://schemas.microsoft.com/office/drawing/2014/main" id="{43CE857E-7D48-4CAA-6573-B14ACD6C125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" name="Grafik 36">
                    <a:extLst>
                      <a:ext uri="{FF2B5EF4-FFF2-40B4-BE49-F238E27FC236}">
                        <a16:creationId xmlns:a16="http://schemas.microsoft.com/office/drawing/2014/main" id="{84420C81-5F0E-6649-2F33-4D3402CC1FD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7" name="Grafik 36">
                  <a:extLst>
                    <a:ext uri="{FF2B5EF4-FFF2-40B4-BE49-F238E27FC236}">
                      <a16:creationId xmlns:a16="http://schemas.microsoft.com/office/drawing/2014/main" id="{DF54D05D-C166-0837-8E70-0769A6940E33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18" name="Grafik 36">
                  <a:extLst>
                    <a:ext uri="{FF2B5EF4-FFF2-40B4-BE49-F238E27FC236}">
                      <a16:creationId xmlns:a16="http://schemas.microsoft.com/office/drawing/2014/main" id="{7DF36F6C-11FD-990A-9CEA-8CED8F25672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9" name="Grafik 36">
                    <a:extLst>
                      <a:ext uri="{FF2B5EF4-FFF2-40B4-BE49-F238E27FC236}">
                        <a16:creationId xmlns:a16="http://schemas.microsoft.com/office/drawing/2014/main" id="{83A3953A-333A-BDEE-D0CC-C0BE6BA643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0" name="Grafik 36">
                    <a:extLst>
                      <a:ext uri="{FF2B5EF4-FFF2-40B4-BE49-F238E27FC236}">
                        <a16:creationId xmlns:a16="http://schemas.microsoft.com/office/drawing/2014/main" id="{6D6CE9A7-BCFC-DF42-F46A-CBEE52594A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" name="Grafik 36">
                    <a:extLst>
                      <a:ext uri="{FF2B5EF4-FFF2-40B4-BE49-F238E27FC236}">
                        <a16:creationId xmlns:a16="http://schemas.microsoft.com/office/drawing/2014/main" id="{9C478A61-1694-68B7-30C9-8FC355D1199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6" name="Grafik 36">
                <a:extLst>
                  <a:ext uri="{FF2B5EF4-FFF2-40B4-BE49-F238E27FC236}">
                    <a16:creationId xmlns:a16="http://schemas.microsoft.com/office/drawing/2014/main" id="{B52A8419-02AF-64AC-6657-4545D4D769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7" name="Grafik 36">
                  <a:extLst>
                    <a:ext uri="{FF2B5EF4-FFF2-40B4-BE49-F238E27FC236}">
                      <a16:creationId xmlns:a16="http://schemas.microsoft.com/office/drawing/2014/main" id="{3A69DB6A-722C-668E-D335-5CC43D18D14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3" name="Grafik 36">
                    <a:extLst>
                      <a:ext uri="{FF2B5EF4-FFF2-40B4-BE49-F238E27FC236}">
                        <a16:creationId xmlns:a16="http://schemas.microsoft.com/office/drawing/2014/main" id="{6B5848EA-C7F1-E764-F4F9-96E6A5ED06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4" name="Grafik 36">
                    <a:extLst>
                      <a:ext uri="{FF2B5EF4-FFF2-40B4-BE49-F238E27FC236}">
                        <a16:creationId xmlns:a16="http://schemas.microsoft.com/office/drawing/2014/main" id="{B3891213-BBC9-F6BB-1A02-BEEEDE99C7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5" name="Grafik 36">
                    <a:extLst>
                      <a:ext uri="{FF2B5EF4-FFF2-40B4-BE49-F238E27FC236}">
                        <a16:creationId xmlns:a16="http://schemas.microsoft.com/office/drawing/2014/main" id="{193267BC-6348-4836-00CF-222C9B457CD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8" name="Grafik 36">
                  <a:extLst>
                    <a:ext uri="{FF2B5EF4-FFF2-40B4-BE49-F238E27FC236}">
                      <a16:creationId xmlns:a16="http://schemas.microsoft.com/office/drawing/2014/main" id="{15FA678D-107E-AE59-583F-6946F894E9D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" name="Grafik 36">
                  <a:extLst>
                    <a:ext uri="{FF2B5EF4-FFF2-40B4-BE49-F238E27FC236}">
                      <a16:creationId xmlns:a16="http://schemas.microsoft.com/office/drawing/2014/main" id="{E0881BC3-E494-ABA7-6006-E9AAA8C5F095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" name="Grafik 36">
                    <a:extLst>
                      <a:ext uri="{FF2B5EF4-FFF2-40B4-BE49-F238E27FC236}">
                        <a16:creationId xmlns:a16="http://schemas.microsoft.com/office/drawing/2014/main" id="{3867A823-8E82-295E-55D5-C9B0B8E263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" name="Grafik 36">
                    <a:extLst>
                      <a:ext uri="{FF2B5EF4-FFF2-40B4-BE49-F238E27FC236}">
                        <a16:creationId xmlns:a16="http://schemas.microsoft.com/office/drawing/2014/main" id="{EEC07A72-288C-1CBD-B877-91769065DFC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2" name="Grafik 36">
                    <a:extLst>
                      <a:ext uri="{FF2B5EF4-FFF2-40B4-BE49-F238E27FC236}">
                        <a16:creationId xmlns:a16="http://schemas.microsoft.com/office/drawing/2014/main" id="{1D3EF0DF-A3FB-AFC0-800B-101442D605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30" name="Grafik 36">
            <a:extLst>
              <a:ext uri="{FF2B5EF4-FFF2-40B4-BE49-F238E27FC236}">
                <a16:creationId xmlns:a16="http://schemas.microsoft.com/office/drawing/2014/main" id="{7B98DE10-BA6B-3F18-160A-4E96FAC7BE4F}"/>
              </a:ext>
            </a:extLst>
          </p:cNvPr>
          <p:cNvGrpSpPr/>
          <p:nvPr/>
        </p:nvGrpSpPr>
        <p:grpSpPr bwMode="gray">
          <a:xfrm>
            <a:off x="7613031" y="2743197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31" name="Grafik 36">
              <a:extLst>
                <a:ext uri="{FF2B5EF4-FFF2-40B4-BE49-F238E27FC236}">
                  <a16:creationId xmlns:a16="http://schemas.microsoft.com/office/drawing/2014/main" id="{260ABF50-1ED2-70FD-3680-45F8EC5331F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3" name="Grafik 36">
                <a:extLst>
                  <a:ext uri="{FF2B5EF4-FFF2-40B4-BE49-F238E27FC236}">
                    <a16:creationId xmlns:a16="http://schemas.microsoft.com/office/drawing/2014/main" id="{39FAE70C-D762-AA34-F386-2ABB0E3300F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" name="Grafik 36">
                <a:extLst>
                  <a:ext uri="{FF2B5EF4-FFF2-40B4-BE49-F238E27FC236}">
                    <a16:creationId xmlns:a16="http://schemas.microsoft.com/office/drawing/2014/main" id="{4B582F0E-1B0F-A2D7-E439-A00F7A60EADA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" name="Grafik 36">
                <a:extLst>
                  <a:ext uri="{FF2B5EF4-FFF2-40B4-BE49-F238E27FC236}">
                    <a16:creationId xmlns:a16="http://schemas.microsoft.com/office/drawing/2014/main" id="{F4AE49D7-E0B9-CDC2-50F9-A643E7C66A2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" name="Grafik 36">
                <a:extLst>
                  <a:ext uri="{FF2B5EF4-FFF2-40B4-BE49-F238E27FC236}">
                    <a16:creationId xmlns:a16="http://schemas.microsoft.com/office/drawing/2014/main" id="{8736F197-893E-3CA2-43F8-8CB46E62E15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" name="Grafik 36">
                <a:extLst>
                  <a:ext uri="{FF2B5EF4-FFF2-40B4-BE49-F238E27FC236}">
                    <a16:creationId xmlns:a16="http://schemas.microsoft.com/office/drawing/2014/main" id="{91C0387A-C141-DC7B-2440-AB7FE42438B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2" name="Grafik 36">
              <a:extLst>
                <a:ext uri="{FF2B5EF4-FFF2-40B4-BE49-F238E27FC236}">
                  <a16:creationId xmlns:a16="http://schemas.microsoft.com/office/drawing/2014/main" id="{B5630AC5-295D-7977-A79B-C33ED4E27DAE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33" name="Grafik 36">
                <a:extLst>
                  <a:ext uri="{FF2B5EF4-FFF2-40B4-BE49-F238E27FC236}">
                    <a16:creationId xmlns:a16="http://schemas.microsoft.com/office/drawing/2014/main" id="{193A1E17-69C7-540D-81A3-47F03545A294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44" name="Grafik 36">
                  <a:extLst>
                    <a:ext uri="{FF2B5EF4-FFF2-40B4-BE49-F238E27FC236}">
                      <a16:creationId xmlns:a16="http://schemas.microsoft.com/office/drawing/2014/main" id="{BEE5A630-3A74-44A8-1B6B-5F3F885D6593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0" name="Grafik 36">
                    <a:extLst>
                      <a:ext uri="{FF2B5EF4-FFF2-40B4-BE49-F238E27FC236}">
                        <a16:creationId xmlns:a16="http://schemas.microsoft.com/office/drawing/2014/main" id="{8FC65B1E-C1B0-8075-3AC3-C18A033E1DC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1" name="Grafik 36">
                    <a:extLst>
                      <a:ext uri="{FF2B5EF4-FFF2-40B4-BE49-F238E27FC236}">
                        <a16:creationId xmlns:a16="http://schemas.microsoft.com/office/drawing/2014/main" id="{9FC42ED2-A45C-F38C-A35A-9B8BC26745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2" name="Grafik 36">
                    <a:extLst>
                      <a:ext uri="{FF2B5EF4-FFF2-40B4-BE49-F238E27FC236}">
                        <a16:creationId xmlns:a16="http://schemas.microsoft.com/office/drawing/2014/main" id="{DCD5F007-EB87-B3F7-E867-5814DBAEE8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45" name="Grafik 36">
                  <a:extLst>
                    <a:ext uri="{FF2B5EF4-FFF2-40B4-BE49-F238E27FC236}">
                      <a16:creationId xmlns:a16="http://schemas.microsoft.com/office/drawing/2014/main" id="{E44B291E-EF5A-26B9-B918-0F3FF072AF6F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46" name="Grafik 36">
                  <a:extLst>
                    <a:ext uri="{FF2B5EF4-FFF2-40B4-BE49-F238E27FC236}">
                      <a16:creationId xmlns:a16="http://schemas.microsoft.com/office/drawing/2014/main" id="{5BDE5659-4602-D378-64B4-B6F4DBB74EB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47" name="Grafik 36">
                    <a:extLst>
                      <a:ext uri="{FF2B5EF4-FFF2-40B4-BE49-F238E27FC236}">
                        <a16:creationId xmlns:a16="http://schemas.microsoft.com/office/drawing/2014/main" id="{980FDA1F-CBF5-89F1-2BBE-A1B85BA7FF8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8" name="Grafik 36">
                    <a:extLst>
                      <a:ext uri="{FF2B5EF4-FFF2-40B4-BE49-F238E27FC236}">
                        <a16:creationId xmlns:a16="http://schemas.microsoft.com/office/drawing/2014/main" id="{21568460-6E34-83D6-C875-BA44695AC9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9" name="Grafik 36">
                    <a:extLst>
                      <a:ext uri="{FF2B5EF4-FFF2-40B4-BE49-F238E27FC236}">
                        <a16:creationId xmlns:a16="http://schemas.microsoft.com/office/drawing/2014/main" id="{3779FFA0-6DA9-4139-5913-226B652833A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34" name="Grafik 36">
                <a:extLst>
                  <a:ext uri="{FF2B5EF4-FFF2-40B4-BE49-F238E27FC236}">
                    <a16:creationId xmlns:a16="http://schemas.microsoft.com/office/drawing/2014/main" id="{DA172792-4007-C661-01E7-3FDDFDC98B19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35" name="Grafik 36">
                  <a:extLst>
                    <a:ext uri="{FF2B5EF4-FFF2-40B4-BE49-F238E27FC236}">
                      <a16:creationId xmlns:a16="http://schemas.microsoft.com/office/drawing/2014/main" id="{1F2465CC-3481-9161-322F-D0ED441D3E7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41" name="Grafik 36">
                    <a:extLst>
                      <a:ext uri="{FF2B5EF4-FFF2-40B4-BE49-F238E27FC236}">
                        <a16:creationId xmlns:a16="http://schemas.microsoft.com/office/drawing/2014/main" id="{7DAB5559-FF58-9A3E-DCB7-786A0E31893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2" name="Grafik 36">
                    <a:extLst>
                      <a:ext uri="{FF2B5EF4-FFF2-40B4-BE49-F238E27FC236}">
                        <a16:creationId xmlns:a16="http://schemas.microsoft.com/office/drawing/2014/main" id="{371412AB-4268-F215-0D45-F974C96EE2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3" name="Grafik 36">
                    <a:extLst>
                      <a:ext uri="{FF2B5EF4-FFF2-40B4-BE49-F238E27FC236}">
                        <a16:creationId xmlns:a16="http://schemas.microsoft.com/office/drawing/2014/main" id="{A887B695-188C-C5CE-519F-0DA664508F0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6" name="Grafik 36">
                  <a:extLst>
                    <a:ext uri="{FF2B5EF4-FFF2-40B4-BE49-F238E27FC236}">
                      <a16:creationId xmlns:a16="http://schemas.microsoft.com/office/drawing/2014/main" id="{F57078A7-7598-43C8-5D06-515DF390BC69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7" name="Grafik 36">
                  <a:extLst>
                    <a:ext uri="{FF2B5EF4-FFF2-40B4-BE49-F238E27FC236}">
                      <a16:creationId xmlns:a16="http://schemas.microsoft.com/office/drawing/2014/main" id="{EDC50E29-B258-0F39-96F0-028E051BC92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38" name="Grafik 36">
                    <a:extLst>
                      <a:ext uri="{FF2B5EF4-FFF2-40B4-BE49-F238E27FC236}">
                        <a16:creationId xmlns:a16="http://schemas.microsoft.com/office/drawing/2014/main" id="{B559DBF9-AAD9-B1FF-DF1B-252EFD4899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" name="Grafik 36">
                    <a:extLst>
                      <a:ext uri="{FF2B5EF4-FFF2-40B4-BE49-F238E27FC236}">
                        <a16:creationId xmlns:a16="http://schemas.microsoft.com/office/drawing/2014/main" id="{52E2A1EB-A1FB-11AD-868A-AB23EECDA79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" name="Grafik 36">
                    <a:extLst>
                      <a:ext uri="{FF2B5EF4-FFF2-40B4-BE49-F238E27FC236}">
                        <a16:creationId xmlns:a16="http://schemas.microsoft.com/office/drawing/2014/main" id="{99FAE9A2-E85A-BF9D-16AF-F8E0D516C9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58" name="Grafik 36">
            <a:extLst>
              <a:ext uri="{FF2B5EF4-FFF2-40B4-BE49-F238E27FC236}">
                <a16:creationId xmlns:a16="http://schemas.microsoft.com/office/drawing/2014/main" id="{D273B681-88FF-0725-6A8D-1DD6F0981251}"/>
              </a:ext>
            </a:extLst>
          </p:cNvPr>
          <p:cNvGrpSpPr/>
          <p:nvPr/>
        </p:nvGrpSpPr>
        <p:grpSpPr bwMode="gray">
          <a:xfrm>
            <a:off x="5199433" y="2743197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59" name="Grafik 36">
              <a:extLst>
                <a:ext uri="{FF2B5EF4-FFF2-40B4-BE49-F238E27FC236}">
                  <a16:creationId xmlns:a16="http://schemas.microsoft.com/office/drawing/2014/main" id="{6843FEB7-4E19-046D-15DA-7A34C86B25BC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81" name="Grafik 36">
                <a:extLst>
                  <a:ext uri="{FF2B5EF4-FFF2-40B4-BE49-F238E27FC236}">
                    <a16:creationId xmlns:a16="http://schemas.microsoft.com/office/drawing/2014/main" id="{5666EF4C-E927-A969-A669-AB6184C81D0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2" name="Grafik 36">
                <a:extLst>
                  <a:ext uri="{FF2B5EF4-FFF2-40B4-BE49-F238E27FC236}">
                    <a16:creationId xmlns:a16="http://schemas.microsoft.com/office/drawing/2014/main" id="{82572A31-EA53-77A5-4E45-5D4817B067D8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3" name="Grafik 36">
                <a:extLst>
                  <a:ext uri="{FF2B5EF4-FFF2-40B4-BE49-F238E27FC236}">
                    <a16:creationId xmlns:a16="http://schemas.microsoft.com/office/drawing/2014/main" id="{56E5F77B-036C-94BF-C668-78879D9BBD6A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4" name="Grafik 36">
                <a:extLst>
                  <a:ext uri="{FF2B5EF4-FFF2-40B4-BE49-F238E27FC236}">
                    <a16:creationId xmlns:a16="http://schemas.microsoft.com/office/drawing/2014/main" id="{97211EED-D50F-DFDC-58F7-84A14D5AA540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5" name="Grafik 36">
                <a:extLst>
                  <a:ext uri="{FF2B5EF4-FFF2-40B4-BE49-F238E27FC236}">
                    <a16:creationId xmlns:a16="http://schemas.microsoft.com/office/drawing/2014/main" id="{EA70263D-A05C-6719-B9E5-736C8636FD2A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0" name="Grafik 36">
              <a:extLst>
                <a:ext uri="{FF2B5EF4-FFF2-40B4-BE49-F238E27FC236}">
                  <a16:creationId xmlns:a16="http://schemas.microsoft.com/office/drawing/2014/main" id="{E3A7EDBD-5C98-F676-24CE-BCFF4694BF3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1" name="Grafik 36">
                <a:extLst>
                  <a:ext uri="{FF2B5EF4-FFF2-40B4-BE49-F238E27FC236}">
                    <a16:creationId xmlns:a16="http://schemas.microsoft.com/office/drawing/2014/main" id="{5214F098-6528-9845-680B-9FE5EB95D183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72" name="Grafik 36">
                  <a:extLst>
                    <a:ext uri="{FF2B5EF4-FFF2-40B4-BE49-F238E27FC236}">
                      <a16:creationId xmlns:a16="http://schemas.microsoft.com/office/drawing/2014/main" id="{38F0A09C-3533-8961-B205-DF21352947D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78" name="Grafik 36">
                    <a:extLst>
                      <a:ext uri="{FF2B5EF4-FFF2-40B4-BE49-F238E27FC236}">
                        <a16:creationId xmlns:a16="http://schemas.microsoft.com/office/drawing/2014/main" id="{7BD8E13F-65BD-0542-6037-5E626CE33BF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9" name="Grafik 36">
                    <a:extLst>
                      <a:ext uri="{FF2B5EF4-FFF2-40B4-BE49-F238E27FC236}">
                        <a16:creationId xmlns:a16="http://schemas.microsoft.com/office/drawing/2014/main" id="{B5F9C382-13B8-2A09-E62D-4937678B8C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0" name="Grafik 36">
                    <a:extLst>
                      <a:ext uri="{FF2B5EF4-FFF2-40B4-BE49-F238E27FC236}">
                        <a16:creationId xmlns:a16="http://schemas.microsoft.com/office/drawing/2014/main" id="{09BED46A-C22D-6C79-C54D-75C3EA6E6D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73" name="Grafik 36">
                  <a:extLst>
                    <a:ext uri="{FF2B5EF4-FFF2-40B4-BE49-F238E27FC236}">
                      <a16:creationId xmlns:a16="http://schemas.microsoft.com/office/drawing/2014/main" id="{A23A0EC0-28EF-7FFD-E055-77A518B834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74" name="Grafik 36">
                  <a:extLst>
                    <a:ext uri="{FF2B5EF4-FFF2-40B4-BE49-F238E27FC236}">
                      <a16:creationId xmlns:a16="http://schemas.microsoft.com/office/drawing/2014/main" id="{8B1ED712-A870-7637-81E0-D73138FB3DB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75" name="Grafik 36">
                    <a:extLst>
                      <a:ext uri="{FF2B5EF4-FFF2-40B4-BE49-F238E27FC236}">
                        <a16:creationId xmlns:a16="http://schemas.microsoft.com/office/drawing/2014/main" id="{08BD3D67-1238-159E-CEB2-BA8FBB63FC9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6" name="Grafik 36">
                    <a:extLst>
                      <a:ext uri="{FF2B5EF4-FFF2-40B4-BE49-F238E27FC236}">
                        <a16:creationId xmlns:a16="http://schemas.microsoft.com/office/drawing/2014/main" id="{2A0FA4D4-6E58-FC30-74EC-788842057E7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7" name="Grafik 36">
                    <a:extLst>
                      <a:ext uri="{FF2B5EF4-FFF2-40B4-BE49-F238E27FC236}">
                        <a16:creationId xmlns:a16="http://schemas.microsoft.com/office/drawing/2014/main" id="{266DAB5B-62A2-A31F-1DBE-59145967D0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62" name="Grafik 36">
                <a:extLst>
                  <a:ext uri="{FF2B5EF4-FFF2-40B4-BE49-F238E27FC236}">
                    <a16:creationId xmlns:a16="http://schemas.microsoft.com/office/drawing/2014/main" id="{9E36C580-0CB4-80CF-9529-A57B34264390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3" name="Grafik 36">
                  <a:extLst>
                    <a:ext uri="{FF2B5EF4-FFF2-40B4-BE49-F238E27FC236}">
                      <a16:creationId xmlns:a16="http://schemas.microsoft.com/office/drawing/2014/main" id="{48DAA7BC-1E74-A93C-5B88-775915852E42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9" name="Grafik 36">
                    <a:extLst>
                      <a:ext uri="{FF2B5EF4-FFF2-40B4-BE49-F238E27FC236}">
                        <a16:creationId xmlns:a16="http://schemas.microsoft.com/office/drawing/2014/main" id="{AF7AFACF-A698-C9EF-0AAD-0D499E1374D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0" name="Grafik 36">
                    <a:extLst>
                      <a:ext uri="{FF2B5EF4-FFF2-40B4-BE49-F238E27FC236}">
                        <a16:creationId xmlns:a16="http://schemas.microsoft.com/office/drawing/2014/main" id="{979C7DB9-01B4-CA15-7290-3749279F05B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1" name="Grafik 36">
                    <a:extLst>
                      <a:ext uri="{FF2B5EF4-FFF2-40B4-BE49-F238E27FC236}">
                        <a16:creationId xmlns:a16="http://schemas.microsoft.com/office/drawing/2014/main" id="{08377C9A-DA6A-8C27-A7A7-41A74F7B4E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4" name="Grafik 36">
                  <a:extLst>
                    <a:ext uri="{FF2B5EF4-FFF2-40B4-BE49-F238E27FC236}">
                      <a16:creationId xmlns:a16="http://schemas.microsoft.com/office/drawing/2014/main" id="{8621A8F9-5A15-B54E-6497-6CA3799516E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5" name="Grafik 36">
                  <a:extLst>
                    <a:ext uri="{FF2B5EF4-FFF2-40B4-BE49-F238E27FC236}">
                      <a16:creationId xmlns:a16="http://schemas.microsoft.com/office/drawing/2014/main" id="{E882FA44-C59E-108C-50DC-2A4A0F5F4C2E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6" name="Grafik 36">
                    <a:extLst>
                      <a:ext uri="{FF2B5EF4-FFF2-40B4-BE49-F238E27FC236}">
                        <a16:creationId xmlns:a16="http://schemas.microsoft.com/office/drawing/2014/main" id="{2901A3C6-D082-7F18-712B-F7959FBC36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7" name="Grafik 36">
                    <a:extLst>
                      <a:ext uri="{FF2B5EF4-FFF2-40B4-BE49-F238E27FC236}">
                        <a16:creationId xmlns:a16="http://schemas.microsoft.com/office/drawing/2014/main" id="{4DC77579-2A1F-0D3F-7E13-52C8DB2C0A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8" name="Grafik 36">
                    <a:extLst>
                      <a:ext uri="{FF2B5EF4-FFF2-40B4-BE49-F238E27FC236}">
                        <a16:creationId xmlns:a16="http://schemas.microsoft.com/office/drawing/2014/main" id="{AF462BF6-DA64-9DC3-9E10-526A1A0729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86" name="Grafik 36">
            <a:extLst>
              <a:ext uri="{FF2B5EF4-FFF2-40B4-BE49-F238E27FC236}">
                <a16:creationId xmlns:a16="http://schemas.microsoft.com/office/drawing/2014/main" id="{DFCB4992-6541-C00C-3CA3-1FD7DBFAC33F}"/>
              </a:ext>
            </a:extLst>
          </p:cNvPr>
          <p:cNvGrpSpPr/>
          <p:nvPr/>
        </p:nvGrpSpPr>
        <p:grpSpPr bwMode="gray">
          <a:xfrm>
            <a:off x="3992634" y="2743197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87" name="Grafik 36">
              <a:extLst>
                <a:ext uri="{FF2B5EF4-FFF2-40B4-BE49-F238E27FC236}">
                  <a16:creationId xmlns:a16="http://schemas.microsoft.com/office/drawing/2014/main" id="{B57671CD-A443-3569-6713-7399DBE6ABC8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09" name="Grafik 36">
                <a:extLst>
                  <a:ext uri="{FF2B5EF4-FFF2-40B4-BE49-F238E27FC236}">
                    <a16:creationId xmlns:a16="http://schemas.microsoft.com/office/drawing/2014/main" id="{F80C6BB6-508A-430E-1F70-2EF40BAF829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0" name="Grafik 36">
                <a:extLst>
                  <a:ext uri="{FF2B5EF4-FFF2-40B4-BE49-F238E27FC236}">
                    <a16:creationId xmlns:a16="http://schemas.microsoft.com/office/drawing/2014/main" id="{19978C5D-0240-1928-FEA5-1AC9A253003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1" name="Grafik 36">
                <a:extLst>
                  <a:ext uri="{FF2B5EF4-FFF2-40B4-BE49-F238E27FC236}">
                    <a16:creationId xmlns:a16="http://schemas.microsoft.com/office/drawing/2014/main" id="{51B63E53-35E7-8465-8822-5D72F98DA926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2" name="Grafik 36">
                <a:extLst>
                  <a:ext uri="{FF2B5EF4-FFF2-40B4-BE49-F238E27FC236}">
                    <a16:creationId xmlns:a16="http://schemas.microsoft.com/office/drawing/2014/main" id="{D568D708-FCFF-EE76-AAFD-DDBA979051F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3" name="Grafik 36">
                <a:extLst>
                  <a:ext uri="{FF2B5EF4-FFF2-40B4-BE49-F238E27FC236}">
                    <a16:creationId xmlns:a16="http://schemas.microsoft.com/office/drawing/2014/main" id="{70367EC0-404B-00C3-BB48-21436589832C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8" name="Grafik 36">
              <a:extLst>
                <a:ext uri="{FF2B5EF4-FFF2-40B4-BE49-F238E27FC236}">
                  <a16:creationId xmlns:a16="http://schemas.microsoft.com/office/drawing/2014/main" id="{9332462F-283F-CE21-3F39-2058C4A8FE0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89" name="Grafik 36">
                <a:extLst>
                  <a:ext uri="{FF2B5EF4-FFF2-40B4-BE49-F238E27FC236}">
                    <a16:creationId xmlns:a16="http://schemas.microsoft.com/office/drawing/2014/main" id="{61286C00-5197-A02D-B3AE-0F5701A9590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00" name="Grafik 36">
                  <a:extLst>
                    <a:ext uri="{FF2B5EF4-FFF2-40B4-BE49-F238E27FC236}">
                      <a16:creationId xmlns:a16="http://schemas.microsoft.com/office/drawing/2014/main" id="{AB4C0396-FFA9-61D5-59A3-FEFF4808D91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06" name="Grafik 36">
                    <a:extLst>
                      <a:ext uri="{FF2B5EF4-FFF2-40B4-BE49-F238E27FC236}">
                        <a16:creationId xmlns:a16="http://schemas.microsoft.com/office/drawing/2014/main" id="{8BE4B477-158F-1A02-5C57-08862B90A08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7" name="Grafik 36">
                    <a:extLst>
                      <a:ext uri="{FF2B5EF4-FFF2-40B4-BE49-F238E27FC236}">
                        <a16:creationId xmlns:a16="http://schemas.microsoft.com/office/drawing/2014/main" id="{68D98760-88FE-96B3-CD99-02FABF50C3A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8" name="Grafik 36">
                    <a:extLst>
                      <a:ext uri="{FF2B5EF4-FFF2-40B4-BE49-F238E27FC236}">
                        <a16:creationId xmlns:a16="http://schemas.microsoft.com/office/drawing/2014/main" id="{FB666D6C-F46D-89F9-E712-6556C185E1B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01" name="Grafik 36">
                  <a:extLst>
                    <a:ext uri="{FF2B5EF4-FFF2-40B4-BE49-F238E27FC236}">
                      <a16:creationId xmlns:a16="http://schemas.microsoft.com/office/drawing/2014/main" id="{912C01E2-DA0F-821B-80BA-EBBBAEF7FB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102" name="Grafik 36">
                  <a:extLst>
                    <a:ext uri="{FF2B5EF4-FFF2-40B4-BE49-F238E27FC236}">
                      <a16:creationId xmlns:a16="http://schemas.microsoft.com/office/drawing/2014/main" id="{53E9A2CC-3929-3E5D-A752-7BCFF04311C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03" name="Grafik 36">
                    <a:extLst>
                      <a:ext uri="{FF2B5EF4-FFF2-40B4-BE49-F238E27FC236}">
                        <a16:creationId xmlns:a16="http://schemas.microsoft.com/office/drawing/2014/main" id="{E60F5659-C5E3-7356-909F-4FF48A9FA7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4" name="Grafik 36">
                    <a:extLst>
                      <a:ext uri="{FF2B5EF4-FFF2-40B4-BE49-F238E27FC236}">
                        <a16:creationId xmlns:a16="http://schemas.microsoft.com/office/drawing/2014/main" id="{CD07A5E6-3597-DDFE-995C-3EAF398C5E9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5" name="Grafik 36">
                    <a:extLst>
                      <a:ext uri="{FF2B5EF4-FFF2-40B4-BE49-F238E27FC236}">
                        <a16:creationId xmlns:a16="http://schemas.microsoft.com/office/drawing/2014/main" id="{C08B4C9A-1E2E-D4AE-9F79-7429844CF7C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90" name="Grafik 36">
                <a:extLst>
                  <a:ext uri="{FF2B5EF4-FFF2-40B4-BE49-F238E27FC236}">
                    <a16:creationId xmlns:a16="http://schemas.microsoft.com/office/drawing/2014/main" id="{4E3FA89C-0DE1-A9F1-82D3-45955AA1BC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1" name="Grafik 36">
                  <a:extLst>
                    <a:ext uri="{FF2B5EF4-FFF2-40B4-BE49-F238E27FC236}">
                      <a16:creationId xmlns:a16="http://schemas.microsoft.com/office/drawing/2014/main" id="{1FF76BBB-4AD9-6F3D-104E-F6CE2ED57CAE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7" name="Grafik 36">
                    <a:extLst>
                      <a:ext uri="{FF2B5EF4-FFF2-40B4-BE49-F238E27FC236}">
                        <a16:creationId xmlns:a16="http://schemas.microsoft.com/office/drawing/2014/main" id="{D6DC4521-2777-94C5-B0F3-C4C56779CD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8" name="Grafik 36">
                    <a:extLst>
                      <a:ext uri="{FF2B5EF4-FFF2-40B4-BE49-F238E27FC236}">
                        <a16:creationId xmlns:a16="http://schemas.microsoft.com/office/drawing/2014/main" id="{BD1E27B6-133A-488A-CFC3-46B04E5DC25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9" name="Grafik 36">
                    <a:extLst>
                      <a:ext uri="{FF2B5EF4-FFF2-40B4-BE49-F238E27FC236}">
                        <a16:creationId xmlns:a16="http://schemas.microsoft.com/office/drawing/2014/main" id="{78A616CB-25DD-4B07-E56E-2CEFD3D26C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92" name="Grafik 36">
                  <a:extLst>
                    <a:ext uri="{FF2B5EF4-FFF2-40B4-BE49-F238E27FC236}">
                      <a16:creationId xmlns:a16="http://schemas.microsoft.com/office/drawing/2014/main" id="{799495E2-6A60-0F56-05F6-474BF819134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3" name="Grafik 36">
                  <a:extLst>
                    <a:ext uri="{FF2B5EF4-FFF2-40B4-BE49-F238E27FC236}">
                      <a16:creationId xmlns:a16="http://schemas.microsoft.com/office/drawing/2014/main" id="{3BF26573-8F99-25C6-954C-6CA3153201B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4" name="Grafik 36">
                    <a:extLst>
                      <a:ext uri="{FF2B5EF4-FFF2-40B4-BE49-F238E27FC236}">
                        <a16:creationId xmlns:a16="http://schemas.microsoft.com/office/drawing/2014/main" id="{23D4C708-9C53-C1EE-B01D-7112CC6FAD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5" name="Grafik 36">
                    <a:extLst>
                      <a:ext uri="{FF2B5EF4-FFF2-40B4-BE49-F238E27FC236}">
                        <a16:creationId xmlns:a16="http://schemas.microsoft.com/office/drawing/2014/main" id="{58C499C9-40A2-944D-F946-508329BBCF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6" name="Grafik 36">
                    <a:extLst>
                      <a:ext uri="{FF2B5EF4-FFF2-40B4-BE49-F238E27FC236}">
                        <a16:creationId xmlns:a16="http://schemas.microsoft.com/office/drawing/2014/main" id="{B38B316D-5BFE-211D-7A58-2ABDB27E51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114" name="Grafik 3753">
            <a:extLst>
              <a:ext uri="{FF2B5EF4-FFF2-40B4-BE49-F238E27FC236}">
                <a16:creationId xmlns:a16="http://schemas.microsoft.com/office/drawing/2014/main" id="{E27AAC83-BD6A-9216-224B-97103214501F}"/>
              </a:ext>
            </a:extLst>
          </p:cNvPr>
          <p:cNvGrpSpPr/>
          <p:nvPr/>
        </p:nvGrpSpPr>
        <p:grpSpPr bwMode="gray">
          <a:xfrm>
            <a:off x="3267684" y="3994004"/>
            <a:ext cx="373758" cy="373758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115" name="Grafik 3753">
              <a:extLst>
                <a:ext uri="{FF2B5EF4-FFF2-40B4-BE49-F238E27FC236}">
                  <a16:creationId xmlns:a16="http://schemas.microsoft.com/office/drawing/2014/main" id="{7C6DF8E8-7552-291F-98EB-21516B1F8117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118" name="Grafik 3753">
                <a:extLst>
                  <a:ext uri="{FF2B5EF4-FFF2-40B4-BE49-F238E27FC236}">
                    <a16:creationId xmlns:a16="http://schemas.microsoft.com/office/drawing/2014/main" id="{47043D93-C4FE-E74A-DD13-B97BFE7CE2CF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131" name="Grafik 3753">
                  <a:extLst>
                    <a:ext uri="{FF2B5EF4-FFF2-40B4-BE49-F238E27FC236}">
                      <a16:creationId xmlns:a16="http://schemas.microsoft.com/office/drawing/2014/main" id="{228FDD8B-6A3D-10A1-A1BD-6EC9AF7ED633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2" name="Grafik 3753">
                  <a:extLst>
                    <a:ext uri="{FF2B5EF4-FFF2-40B4-BE49-F238E27FC236}">
                      <a16:creationId xmlns:a16="http://schemas.microsoft.com/office/drawing/2014/main" id="{E17F888C-DB5F-872F-DB02-80E929ED87C6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3" name="Grafik 3753">
                  <a:extLst>
                    <a:ext uri="{FF2B5EF4-FFF2-40B4-BE49-F238E27FC236}">
                      <a16:creationId xmlns:a16="http://schemas.microsoft.com/office/drawing/2014/main" id="{8186A77C-012B-665C-28BF-F59802C64F04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9" name="Grafik 3753">
                <a:extLst>
                  <a:ext uri="{FF2B5EF4-FFF2-40B4-BE49-F238E27FC236}">
                    <a16:creationId xmlns:a16="http://schemas.microsoft.com/office/drawing/2014/main" id="{B9C6CA86-80DB-6162-0703-154B27689F5F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128" name="Grafik 3753">
                  <a:extLst>
                    <a:ext uri="{FF2B5EF4-FFF2-40B4-BE49-F238E27FC236}">
                      <a16:creationId xmlns:a16="http://schemas.microsoft.com/office/drawing/2014/main" id="{30CCD9B0-2E59-EA32-AB80-0FC24CBFEC96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9" name="Grafik 3753">
                  <a:extLst>
                    <a:ext uri="{FF2B5EF4-FFF2-40B4-BE49-F238E27FC236}">
                      <a16:creationId xmlns:a16="http://schemas.microsoft.com/office/drawing/2014/main" id="{264E7382-821B-1406-17A4-633BC34542BF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0" name="Grafik 3753">
                  <a:extLst>
                    <a:ext uri="{FF2B5EF4-FFF2-40B4-BE49-F238E27FC236}">
                      <a16:creationId xmlns:a16="http://schemas.microsoft.com/office/drawing/2014/main" id="{D9AB3EFD-37AA-8E12-3A51-C22DD195319B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20" name="Grafik 3753">
                <a:extLst>
                  <a:ext uri="{FF2B5EF4-FFF2-40B4-BE49-F238E27FC236}">
                    <a16:creationId xmlns:a16="http://schemas.microsoft.com/office/drawing/2014/main" id="{9858F912-B5BA-AD60-6F18-3A5DD62FCD55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125" name="Grafik 3753">
                  <a:extLst>
                    <a:ext uri="{FF2B5EF4-FFF2-40B4-BE49-F238E27FC236}">
                      <a16:creationId xmlns:a16="http://schemas.microsoft.com/office/drawing/2014/main" id="{BDA30EBA-D6A8-6ED4-AEE3-CFF1A195C019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6" name="Grafik 3753">
                  <a:extLst>
                    <a:ext uri="{FF2B5EF4-FFF2-40B4-BE49-F238E27FC236}">
                      <a16:creationId xmlns:a16="http://schemas.microsoft.com/office/drawing/2014/main" id="{0316979D-91E5-4CEE-24EB-A42C2C3CE74C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7" name="Grafik 3753">
                  <a:extLst>
                    <a:ext uri="{FF2B5EF4-FFF2-40B4-BE49-F238E27FC236}">
                      <a16:creationId xmlns:a16="http://schemas.microsoft.com/office/drawing/2014/main" id="{C6A49EDA-042B-7988-8BFF-CB4B0EA902A3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21" name="Grafik 3753">
                <a:extLst>
                  <a:ext uri="{FF2B5EF4-FFF2-40B4-BE49-F238E27FC236}">
                    <a16:creationId xmlns:a16="http://schemas.microsoft.com/office/drawing/2014/main" id="{1E441EA3-63FD-1544-0F88-4FAD06D75B0A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122" name="Grafik 3753">
                  <a:extLst>
                    <a:ext uri="{FF2B5EF4-FFF2-40B4-BE49-F238E27FC236}">
                      <a16:creationId xmlns:a16="http://schemas.microsoft.com/office/drawing/2014/main" id="{271EFBDC-5B61-B53B-CE0D-2CFBE1351017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3" name="Grafik 3753">
                  <a:extLst>
                    <a:ext uri="{FF2B5EF4-FFF2-40B4-BE49-F238E27FC236}">
                      <a16:creationId xmlns:a16="http://schemas.microsoft.com/office/drawing/2014/main" id="{EEEB08A7-02B8-D2C2-959A-7D0B7B32451C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4" name="Grafik 3753">
                  <a:extLst>
                    <a:ext uri="{FF2B5EF4-FFF2-40B4-BE49-F238E27FC236}">
                      <a16:creationId xmlns:a16="http://schemas.microsoft.com/office/drawing/2014/main" id="{FA2D2687-74DE-CCF8-9310-61A01A39DFA2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116" name="Grafik 3753">
              <a:extLst>
                <a:ext uri="{FF2B5EF4-FFF2-40B4-BE49-F238E27FC236}">
                  <a16:creationId xmlns:a16="http://schemas.microsoft.com/office/drawing/2014/main" id="{518A3E06-5D78-C0C0-E815-728815302C10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7" name="Grafik 3753">
              <a:extLst>
                <a:ext uri="{FF2B5EF4-FFF2-40B4-BE49-F238E27FC236}">
                  <a16:creationId xmlns:a16="http://schemas.microsoft.com/office/drawing/2014/main" id="{D4969171-A5B0-3E6D-018D-00E553BB8327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136" name="Grafik 3753">
            <a:extLst>
              <a:ext uri="{FF2B5EF4-FFF2-40B4-BE49-F238E27FC236}">
                <a16:creationId xmlns:a16="http://schemas.microsoft.com/office/drawing/2014/main" id="{ECE7D082-692A-D3D1-6A76-0DDE31C2A478}"/>
              </a:ext>
            </a:extLst>
          </p:cNvPr>
          <p:cNvGrpSpPr/>
          <p:nvPr/>
        </p:nvGrpSpPr>
        <p:grpSpPr bwMode="gray">
          <a:xfrm>
            <a:off x="4722005" y="3994004"/>
            <a:ext cx="373758" cy="373758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137" name="Grafik 3753">
              <a:extLst>
                <a:ext uri="{FF2B5EF4-FFF2-40B4-BE49-F238E27FC236}">
                  <a16:creationId xmlns:a16="http://schemas.microsoft.com/office/drawing/2014/main" id="{E5C772A2-CF3D-190C-3F06-4C0EA0F0E992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140" name="Grafik 3753">
                <a:extLst>
                  <a:ext uri="{FF2B5EF4-FFF2-40B4-BE49-F238E27FC236}">
                    <a16:creationId xmlns:a16="http://schemas.microsoft.com/office/drawing/2014/main" id="{2F908F3D-6E2A-FD9E-BE3C-0C411DBC20AE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153" name="Grafik 3753">
                  <a:extLst>
                    <a:ext uri="{FF2B5EF4-FFF2-40B4-BE49-F238E27FC236}">
                      <a16:creationId xmlns:a16="http://schemas.microsoft.com/office/drawing/2014/main" id="{D7539804-C86E-F2F0-70B2-F39D39B67E3E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54" name="Grafik 3753">
                  <a:extLst>
                    <a:ext uri="{FF2B5EF4-FFF2-40B4-BE49-F238E27FC236}">
                      <a16:creationId xmlns:a16="http://schemas.microsoft.com/office/drawing/2014/main" id="{E7366068-E319-5F19-8072-C45D79FFF866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55" name="Grafik 3753">
                  <a:extLst>
                    <a:ext uri="{FF2B5EF4-FFF2-40B4-BE49-F238E27FC236}">
                      <a16:creationId xmlns:a16="http://schemas.microsoft.com/office/drawing/2014/main" id="{4B12D07B-9CFD-A5C6-AC8B-C2B27DE2654E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41" name="Grafik 3753">
                <a:extLst>
                  <a:ext uri="{FF2B5EF4-FFF2-40B4-BE49-F238E27FC236}">
                    <a16:creationId xmlns:a16="http://schemas.microsoft.com/office/drawing/2014/main" id="{3CFEB8CB-D42B-936D-F5C7-6EA273F31E1B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150" name="Grafik 3753">
                  <a:extLst>
                    <a:ext uri="{FF2B5EF4-FFF2-40B4-BE49-F238E27FC236}">
                      <a16:creationId xmlns:a16="http://schemas.microsoft.com/office/drawing/2014/main" id="{76C2F5C6-0B65-2980-7C03-FE58A6F3EF27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51" name="Grafik 3753">
                  <a:extLst>
                    <a:ext uri="{FF2B5EF4-FFF2-40B4-BE49-F238E27FC236}">
                      <a16:creationId xmlns:a16="http://schemas.microsoft.com/office/drawing/2014/main" id="{4295819B-E2EB-EC73-9B83-4BC148BB390F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52" name="Grafik 3753">
                  <a:extLst>
                    <a:ext uri="{FF2B5EF4-FFF2-40B4-BE49-F238E27FC236}">
                      <a16:creationId xmlns:a16="http://schemas.microsoft.com/office/drawing/2014/main" id="{35E58453-A714-F8D1-4B57-DDD035A0560E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42" name="Grafik 3753">
                <a:extLst>
                  <a:ext uri="{FF2B5EF4-FFF2-40B4-BE49-F238E27FC236}">
                    <a16:creationId xmlns:a16="http://schemas.microsoft.com/office/drawing/2014/main" id="{78E9F541-8DEE-4C18-E6B4-6D39C4F2772F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147" name="Grafik 3753">
                  <a:extLst>
                    <a:ext uri="{FF2B5EF4-FFF2-40B4-BE49-F238E27FC236}">
                      <a16:creationId xmlns:a16="http://schemas.microsoft.com/office/drawing/2014/main" id="{F87569C7-811D-EA65-DC6A-FA5556152AF0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48" name="Grafik 3753">
                  <a:extLst>
                    <a:ext uri="{FF2B5EF4-FFF2-40B4-BE49-F238E27FC236}">
                      <a16:creationId xmlns:a16="http://schemas.microsoft.com/office/drawing/2014/main" id="{4CDBC1AE-83EE-7F15-794F-D66AE48E4D9F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49" name="Grafik 3753">
                  <a:extLst>
                    <a:ext uri="{FF2B5EF4-FFF2-40B4-BE49-F238E27FC236}">
                      <a16:creationId xmlns:a16="http://schemas.microsoft.com/office/drawing/2014/main" id="{F2ADD356-2EC3-CFCD-0818-8D46E9DB0D78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43" name="Grafik 3753">
                <a:extLst>
                  <a:ext uri="{FF2B5EF4-FFF2-40B4-BE49-F238E27FC236}">
                    <a16:creationId xmlns:a16="http://schemas.microsoft.com/office/drawing/2014/main" id="{360B89A3-817F-1E48-3774-C233EDC4EE23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144" name="Grafik 3753">
                  <a:extLst>
                    <a:ext uri="{FF2B5EF4-FFF2-40B4-BE49-F238E27FC236}">
                      <a16:creationId xmlns:a16="http://schemas.microsoft.com/office/drawing/2014/main" id="{3B6D1E32-3BDF-747A-8223-8068B1C38931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45" name="Grafik 3753">
                  <a:extLst>
                    <a:ext uri="{FF2B5EF4-FFF2-40B4-BE49-F238E27FC236}">
                      <a16:creationId xmlns:a16="http://schemas.microsoft.com/office/drawing/2014/main" id="{97E2DBB5-A54A-3F0E-66D4-5CA718596E40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46" name="Grafik 3753">
                  <a:extLst>
                    <a:ext uri="{FF2B5EF4-FFF2-40B4-BE49-F238E27FC236}">
                      <a16:creationId xmlns:a16="http://schemas.microsoft.com/office/drawing/2014/main" id="{35052433-BF8E-C319-32A1-48B907ED81C2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138" name="Grafik 3753">
              <a:extLst>
                <a:ext uri="{FF2B5EF4-FFF2-40B4-BE49-F238E27FC236}">
                  <a16:creationId xmlns:a16="http://schemas.microsoft.com/office/drawing/2014/main" id="{CE025007-DD18-072D-DE6D-5B8653C57635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9" name="Grafik 3753">
              <a:extLst>
                <a:ext uri="{FF2B5EF4-FFF2-40B4-BE49-F238E27FC236}">
                  <a16:creationId xmlns:a16="http://schemas.microsoft.com/office/drawing/2014/main" id="{94BFA6C4-FF87-77E0-5E11-791B0A0F7B08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156" name="Grafik 3753">
            <a:extLst>
              <a:ext uri="{FF2B5EF4-FFF2-40B4-BE49-F238E27FC236}">
                <a16:creationId xmlns:a16="http://schemas.microsoft.com/office/drawing/2014/main" id="{18ABD1A7-E4A0-4808-5B24-622229DB0006}"/>
              </a:ext>
            </a:extLst>
          </p:cNvPr>
          <p:cNvGrpSpPr/>
          <p:nvPr/>
        </p:nvGrpSpPr>
        <p:grpSpPr bwMode="gray">
          <a:xfrm>
            <a:off x="7613654" y="3994004"/>
            <a:ext cx="373758" cy="373758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157" name="Grafik 3753">
              <a:extLst>
                <a:ext uri="{FF2B5EF4-FFF2-40B4-BE49-F238E27FC236}">
                  <a16:creationId xmlns:a16="http://schemas.microsoft.com/office/drawing/2014/main" id="{E4B39905-8473-BB14-51FF-5D55B2BE7508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160" name="Grafik 3753">
                <a:extLst>
                  <a:ext uri="{FF2B5EF4-FFF2-40B4-BE49-F238E27FC236}">
                    <a16:creationId xmlns:a16="http://schemas.microsoft.com/office/drawing/2014/main" id="{34F9E2A7-7473-D073-11C8-71709CAE62A3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173" name="Grafik 3753">
                  <a:extLst>
                    <a:ext uri="{FF2B5EF4-FFF2-40B4-BE49-F238E27FC236}">
                      <a16:creationId xmlns:a16="http://schemas.microsoft.com/office/drawing/2014/main" id="{FA1FE865-5590-FE90-170F-540E6DE3D2EF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" name="Grafik 3753">
                  <a:extLst>
                    <a:ext uri="{FF2B5EF4-FFF2-40B4-BE49-F238E27FC236}">
                      <a16:creationId xmlns:a16="http://schemas.microsoft.com/office/drawing/2014/main" id="{5A99B986-78FE-5F6D-ADA6-007F26C7F294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5" name="Grafik 3753">
                  <a:extLst>
                    <a:ext uri="{FF2B5EF4-FFF2-40B4-BE49-F238E27FC236}">
                      <a16:creationId xmlns:a16="http://schemas.microsoft.com/office/drawing/2014/main" id="{AAFE0401-87D7-4714-330B-58ED9F90AB00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61" name="Grafik 3753">
                <a:extLst>
                  <a:ext uri="{FF2B5EF4-FFF2-40B4-BE49-F238E27FC236}">
                    <a16:creationId xmlns:a16="http://schemas.microsoft.com/office/drawing/2014/main" id="{38E71DBE-B30B-D74E-1918-4F5F71DF945A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170" name="Grafik 3753">
                  <a:extLst>
                    <a:ext uri="{FF2B5EF4-FFF2-40B4-BE49-F238E27FC236}">
                      <a16:creationId xmlns:a16="http://schemas.microsoft.com/office/drawing/2014/main" id="{A6FCA650-E78D-CFAB-260C-CCA7044BEDDB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1" name="Grafik 3753">
                  <a:extLst>
                    <a:ext uri="{FF2B5EF4-FFF2-40B4-BE49-F238E27FC236}">
                      <a16:creationId xmlns:a16="http://schemas.microsoft.com/office/drawing/2014/main" id="{8C1D4EA3-3CC3-6972-D7E2-BF82B9EEB1BB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2" name="Grafik 3753">
                  <a:extLst>
                    <a:ext uri="{FF2B5EF4-FFF2-40B4-BE49-F238E27FC236}">
                      <a16:creationId xmlns:a16="http://schemas.microsoft.com/office/drawing/2014/main" id="{2C80721B-25ED-5C70-865A-F27EB13DE8C0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62" name="Grafik 3753">
                <a:extLst>
                  <a:ext uri="{FF2B5EF4-FFF2-40B4-BE49-F238E27FC236}">
                    <a16:creationId xmlns:a16="http://schemas.microsoft.com/office/drawing/2014/main" id="{6392AD7C-3971-9DAB-E8F6-8FC6A30BF3BD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167" name="Grafik 3753">
                  <a:extLst>
                    <a:ext uri="{FF2B5EF4-FFF2-40B4-BE49-F238E27FC236}">
                      <a16:creationId xmlns:a16="http://schemas.microsoft.com/office/drawing/2014/main" id="{3D650349-4ABE-33D6-BDDE-818652853344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8" name="Grafik 3753">
                  <a:extLst>
                    <a:ext uri="{FF2B5EF4-FFF2-40B4-BE49-F238E27FC236}">
                      <a16:creationId xmlns:a16="http://schemas.microsoft.com/office/drawing/2014/main" id="{590A38E7-8E86-B2DC-272C-40EAFD6A7248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9" name="Grafik 3753">
                  <a:extLst>
                    <a:ext uri="{FF2B5EF4-FFF2-40B4-BE49-F238E27FC236}">
                      <a16:creationId xmlns:a16="http://schemas.microsoft.com/office/drawing/2014/main" id="{E00AAB9A-129D-6CD3-CEC9-B4A35AA184DA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63" name="Grafik 3753">
                <a:extLst>
                  <a:ext uri="{FF2B5EF4-FFF2-40B4-BE49-F238E27FC236}">
                    <a16:creationId xmlns:a16="http://schemas.microsoft.com/office/drawing/2014/main" id="{98E05D80-6581-8382-756A-868AAE421FDD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164" name="Grafik 3753">
                  <a:extLst>
                    <a:ext uri="{FF2B5EF4-FFF2-40B4-BE49-F238E27FC236}">
                      <a16:creationId xmlns:a16="http://schemas.microsoft.com/office/drawing/2014/main" id="{FCF06A4F-7E36-996D-CDDE-68AC928C82C4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5" name="Grafik 3753">
                  <a:extLst>
                    <a:ext uri="{FF2B5EF4-FFF2-40B4-BE49-F238E27FC236}">
                      <a16:creationId xmlns:a16="http://schemas.microsoft.com/office/drawing/2014/main" id="{857ED35C-5DA2-BC45-D601-F4699A9B88A6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6" name="Grafik 3753">
                  <a:extLst>
                    <a:ext uri="{FF2B5EF4-FFF2-40B4-BE49-F238E27FC236}">
                      <a16:creationId xmlns:a16="http://schemas.microsoft.com/office/drawing/2014/main" id="{085D26B6-27BD-A1CF-A352-52D0A65EECC3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158" name="Grafik 3753">
              <a:extLst>
                <a:ext uri="{FF2B5EF4-FFF2-40B4-BE49-F238E27FC236}">
                  <a16:creationId xmlns:a16="http://schemas.microsoft.com/office/drawing/2014/main" id="{E6B981C8-3625-A325-F0D7-E916092EFF90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9" name="Grafik 3753">
              <a:extLst>
                <a:ext uri="{FF2B5EF4-FFF2-40B4-BE49-F238E27FC236}">
                  <a16:creationId xmlns:a16="http://schemas.microsoft.com/office/drawing/2014/main" id="{0A3F8D1C-CADF-1792-A194-B4A8F6CC5A55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DB786F56-D555-0F65-C7D3-3734BE335CF3}"/>
              </a:ext>
            </a:extLst>
          </p:cNvPr>
          <p:cNvCxnSpPr>
            <a:cxnSpLocks/>
            <a:stCxn id="111" idx="4"/>
            <a:endCxn id="181" idx="2"/>
          </p:cNvCxnSpPr>
          <p:nvPr/>
        </p:nvCxnSpPr>
        <p:spPr>
          <a:xfrm flipV="1">
            <a:off x="4365465" y="2097395"/>
            <a:ext cx="1356135" cy="64737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9" name="Grafik 17">
            <a:extLst>
              <a:ext uri="{FF2B5EF4-FFF2-40B4-BE49-F238E27FC236}">
                <a16:creationId xmlns:a16="http://schemas.microsoft.com/office/drawing/2014/main" id="{E917DC60-9685-6E8B-0722-35D855C20CF5}"/>
              </a:ext>
            </a:extLst>
          </p:cNvPr>
          <p:cNvGrpSpPr/>
          <p:nvPr/>
        </p:nvGrpSpPr>
        <p:grpSpPr bwMode="gray">
          <a:xfrm>
            <a:off x="5721600" y="1728342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180" name="Grafik 17">
              <a:extLst>
                <a:ext uri="{FF2B5EF4-FFF2-40B4-BE49-F238E27FC236}">
                  <a16:creationId xmlns:a16="http://schemas.microsoft.com/office/drawing/2014/main" id="{EC38A597-DD64-5424-9475-953CFF982F1E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1" name="Grafik 17">
              <a:extLst>
                <a:ext uri="{FF2B5EF4-FFF2-40B4-BE49-F238E27FC236}">
                  <a16:creationId xmlns:a16="http://schemas.microsoft.com/office/drawing/2014/main" id="{ABCA9DC4-9A26-8E38-E145-773F947FFE6B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182" name="Grafik 17">
              <a:extLst>
                <a:ext uri="{FF2B5EF4-FFF2-40B4-BE49-F238E27FC236}">
                  <a16:creationId xmlns:a16="http://schemas.microsoft.com/office/drawing/2014/main" id="{57D79DD2-0706-3B6F-BEFF-D668A46003C7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183" name="Grafik 17">
                <a:extLst>
                  <a:ext uri="{FF2B5EF4-FFF2-40B4-BE49-F238E27FC236}">
                    <a16:creationId xmlns:a16="http://schemas.microsoft.com/office/drawing/2014/main" id="{75C337E2-70B1-ED9E-72FF-0A87EE489B2D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196" name="Grafik 17">
                  <a:extLst>
                    <a:ext uri="{FF2B5EF4-FFF2-40B4-BE49-F238E27FC236}">
                      <a16:creationId xmlns:a16="http://schemas.microsoft.com/office/drawing/2014/main" id="{0308E1FE-D601-463D-93B7-54E51A3B8441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7" name="Grafik 17">
                  <a:extLst>
                    <a:ext uri="{FF2B5EF4-FFF2-40B4-BE49-F238E27FC236}">
                      <a16:creationId xmlns:a16="http://schemas.microsoft.com/office/drawing/2014/main" id="{418171E1-61E6-36F8-9B96-B267BDC20B58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8" name="Grafik 17">
                  <a:extLst>
                    <a:ext uri="{FF2B5EF4-FFF2-40B4-BE49-F238E27FC236}">
                      <a16:creationId xmlns:a16="http://schemas.microsoft.com/office/drawing/2014/main" id="{1E65A753-85EC-C640-4750-14FE83AE951A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84" name="Grafik 17">
                <a:extLst>
                  <a:ext uri="{FF2B5EF4-FFF2-40B4-BE49-F238E27FC236}">
                    <a16:creationId xmlns:a16="http://schemas.microsoft.com/office/drawing/2014/main" id="{DD83FF8A-51A5-9894-C35F-EB751F941E83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193" name="Grafik 17">
                  <a:extLst>
                    <a:ext uri="{FF2B5EF4-FFF2-40B4-BE49-F238E27FC236}">
                      <a16:creationId xmlns:a16="http://schemas.microsoft.com/office/drawing/2014/main" id="{58B99761-F9D9-B3D1-BA3F-0E98F6687EE9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" name="Grafik 17">
                  <a:extLst>
                    <a:ext uri="{FF2B5EF4-FFF2-40B4-BE49-F238E27FC236}">
                      <a16:creationId xmlns:a16="http://schemas.microsoft.com/office/drawing/2014/main" id="{2602B8A9-D816-9C5D-FD70-8115B193559E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" name="Grafik 17">
                  <a:extLst>
                    <a:ext uri="{FF2B5EF4-FFF2-40B4-BE49-F238E27FC236}">
                      <a16:creationId xmlns:a16="http://schemas.microsoft.com/office/drawing/2014/main" id="{7A82EACF-C96A-B391-CBDB-84A1B981FC39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85" name="Grafik 17">
                <a:extLst>
                  <a:ext uri="{FF2B5EF4-FFF2-40B4-BE49-F238E27FC236}">
                    <a16:creationId xmlns:a16="http://schemas.microsoft.com/office/drawing/2014/main" id="{504C4DDB-AEFE-6348-1FC6-866204EC4F90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190" name="Grafik 17">
                  <a:extLst>
                    <a:ext uri="{FF2B5EF4-FFF2-40B4-BE49-F238E27FC236}">
                      <a16:creationId xmlns:a16="http://schemas.microsoft.com/office/drawing/2014/main" id="{AAF630CE-D48D-012F-EFC4-3B933DEE0708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1" name="Grafik 17">
                  <a:extLst>
                    <a:ext uri="{FF2B5EF4-FFF2-40B4-BE49-F238E27FC236}">
                      <a16:creationId xmlns:a16="http://schemas.microsoft.com/office/drawing/2014/main" id="{2C8A879D-7C78-6467-9ECB-68F7E9917343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" name="Grafik 17">
                  <a:extLst>
                    <a:ext uri="{FF2B5EF4-FFF2-40B4-BE49-F238E27FC236}">
                      <a16:creationId xmlns:a16="http://schemas.microsoft.com/office/drawing/2014/main" id="{D8C9C8C3-D516-66FF-281D-72168A599CA7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86" name="Grafik 17">
                <a:extLst>
                  <a:ext uri="{FF2B5EF4-FFF2-40B4-BE49-F238E27FC236}">
                    <a16:creationId xmlns:a16="http://schemas.microsoft.com/office/drawing/2014/main" id="{1606541B-85D3-07D5-65D0-CA28DB2BECF0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187" name="Grafik 17">
                  <a:extLst>
                    <a:ext uri="{FF2B5EF4-FFF2-40B4-BE49-F238E27FC236}">
                      <a16:creationId xmlns:a16="http://schemas.microsoft.com/office/drawing/2014/main" id="{B20D4FDA-E268-2DE4-5921-EBC4BD422244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8" name="Grafik 17">
                  <a:extLst>
                    <a:ext uri="{FF2B5EF4-FFF2-40B4-BE49-F238E27FC236}">
                      <a16:creationId xmlns:a16="http://schemas.microsoft.com/office/drawing/2014/main" id="{4A71C506-E975-FD52-2F2F-7C82A2213AC4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9" name="Grafik 17">
                  <a:extLst>
                    <a:ext uri="{FF2B5EF4-FFF2-40B4-BE49-F238E27FC236}">
                      <a16:creationId xmlns:a16="http://schemas.microsoft.com/office/drawing/2014/main" id="{BE123353-49D7-1B69-A75D-5C29D0C4D3BD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cxnSp>
        <p:nvCxnSpPr>
          <p:cNvPr id="201" name="Straight Connector 200">
            <a:extLst>
              <a:ext uri="{FF2B5EF4-FFF2-40B4-BE49-F238E27FC236}">
                <a16:creationId xmlns:a16="http://schemas.microsoft.com/office/drawing/2014/main" id="{5BD42AA1-F07F-C2A2-07C2-7CA9CE3A3933}"/>
              </a:ext>
            </a:extLst>
          </p:cNvPr>
          <p:cNvCxnSpPr>
            <a:cxnSpLocks/>
            <a:stCxn id="83" idx="4"/>
            <a:endCxn id="181" idx="9"/>
          </p:cNvCxnSpPr>
          <p:nvPr/>
        </p:nvCxnSpPr>
        <p:spPr>
          <a:xfrm flipV="1">
            <a:off x="5572264" y="2092048"/>
            <a:ext cx="160029" cy="652717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4" name="Straight Connector 203">
            <a:extLst>
              <a:ext uri="{FF2B5EF4-FFF2-40B4-BE49-F238E27FC236}">
                <a16:creationId xmlns:a16="http://schemas.microsoft.com/office/drawing/2014/main" id="{E1036680-6762-ABDA-CAAB-427B87AA4E07}"/>
              </a:ext>
            </a:extLst>
          </p:cNvPr>
          <p:cNvCxnSpPr>
            <a:cxnSpLocks/>
            <a:stCxn id="28" idx="4"/>
            <a:endCxn id="181" idx="10"/>
          </p:cNvCxnSpPr>
          <p:nvPr/>
        </p:nvCxnSpPr>
        <p:spPr>
          <a:xfrm flipH="1" flipV="1">
            <a:off x="6085307" y="2092048"/>
            <a:ext cx="378524" cy="652717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Straight Connector 206">
            <a:extLst>
              <a:ext uri="{FF2B5EF4-FFF2-40B4-BE49-F238E27FC236}">
                <a16:creationId xmlns:a16="http://schemas.microsoft.com/office/drawing/2014/main" id="{DB2BBEBF-FC07-FBB8-37FE-9712FDC86EB1}"/>
              </a:ext>
            </a:extLst>
          </p:cNvPr>
          <p:cNvCxnSpPr>
            <a:cxnSpLocks/>
            <a:stCxn id="56" idx="4"/>
            <a:endCxn id="181" idx="10"/>
          </p:cNvCxnSpPr>
          <p:nvPr/>
        </p:nvCxnSpPr>
        <p:spPr>
          <a:xfrm flipH="1" flipV="1">
            <a:off x="6085307" y="2092048"/>
            <a:ext cx="1585323" cy="652717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Straight Connector 209">
            <a:extLst>
              <a:ext uri="{FF2B5EF4-FFF2-40B4-BE49-F238E27FC236}">
                <a16:creationId xmlns:a16="http://schemas.microsoft.com/office/drawing/2014/main" id="{F820D728-CFBB-064B-9D49-D6663B5D5F8D}"/>
              </a:ext>
            </a:extLst>
          </p:cNvPr>
          <p:cNvCxnSpPr>
            <a:cxnSpLocks/>
            <a:stCxn id="116" idx="2"/>
            <a:endCxn id="109" idx="1"/>
          </p:cNvCxnSpPr>
          <p:nvPr/>
        </p:nvCxnSpPr>
        <p:spPr>
          <a:xfrm flipV="1">
            <a:off x="3454563" y="3117597"/>
            <a:ext cx="543418" cy="876407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Straight Connector 212">
            <a:extLst>
              <a:ext uri="{FF2B5EF4-FFF2-40B4-BE49-F238E27FC236}">
                <a16:creationId xmlns:a16="http://schemas.microsoft.com/office/drawing/2014/main" id="{8F830562-19DC-7CC7-63B2-F9263867BFE3}"/>
              </a:ext>
            </a:extLst>
          </p:cNvPr>
          <p:cNvCxnSpPr>
            <a:cxnSpLocks/>
            <a:stCxn id="138" idx="2"/>
            <a:endCxn id="109" idx="10"/>
          </p:cNvCxnSpPr>
          <p:nvPr/>
        </p:nvCxnSpPr>
        <p:spPr>
          <a:xfrm flipH="1" flipV="1">
            <a:off x="4307866" y="3106904"/>
            <a:ext cx="601018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Straight Connector 215">
            <a:extLst>
              <a:ext uri="{FF2B5EF4-FFF2-40B4-BE49-F238E27FC236}">
                <a16:creationId xmlns:a16="http://schemas.microsoft.com/office/drawing/2014/main" id="{402A34BE-0B92-A0D0-189B-B09371A7EB9E}"/>
              </a:ext>
            </a:extLst>
          </p:cNvPr>
          <p:cNvCxnSpPr>
            <a:cxnSpLocks/>
            <a:stCxn id="158" idx="2"/>
          </p:cNvCxnSpPr>
          <p:nvPr/>
        </p:nvCxnSpPr>
        <p:spPr>
          <a:xfrm flipH="1" flipV="1">
            <a:off x="7781646" y="3106904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Straight Connector 218">
            <a:extLst>
              <a:ext uri="{FF2B5EF4-FFF2-40B4-BE49-F238E27FC236}">
                <a16:creationId xmlns:a16="http://schemas.microsoft.com/office/drawing/2014/main" id="{561AA80B-9FA6-DC88-212C-14884BCAF4E9}"/>
              </a:ext>
            </a:extLst>
          </p:cNvPr>
          <p:cNvCxnSpPr>
            <a:cxnSpLocks/>
          </p:cNvCxnSpPr>
          <p:nvPr/>
        </p:nvCxnSpPr>
        <p:spPr>
          <a:xfrm flipV="1">
            <a:off x="4323153" y="2934809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>
            <a:extLst>
              <a:ext uri="{FF2B5EF4-FFF2-40B4-BE49-F238E27FC236}">
                <a16:creationId xmlns:a16="http://schemas.microsoft.com/office/drawing/2014/main" id="{0571A5AB-9271-FA4D-A4D8-7E9C9DCF7AE7}"/>
              </a:ext>
            </a:extLst>
          </p:cNvPr>
          <p:cNvCxnSpPr>
            <a:cxnSpLocks/>
          </p:cNvCxnSpPr>
          <p:nvPr/>
        </p:nvCxnSpPr>
        <p:spPr>
          <a:xfrm flipV="1">
            <a:off x="5517780" y="2930247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>
            <a:extLst>
              <a:ext uri="{FF2B5EF4-FFF2-40B4-BE49-F238E27FC236}">
                <a16:creationId xmlns:a16="http://schemas.microsoft.com/office/drawing/2014/main" id="{34F824AB-9145-20EB-A948-1AE1A5EEAD29}"/>
              </a:ext>
            </a:extLst>
          </p:cNvPr>
          <p:cNvCxnSpPr>
            <a:cxnSpLocks/>
          </p:cNvCxnSpPr>
          <p:nvPr/>
        </p:nvCxnSpPr>
        <p:spPr>
          <a:xfrm flipV="1">
            <a:off x="6728899" y="2924563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3" name="Straight Connector 222">
            <a:extLst>
              <a:ext uri="{FF2B5EF4-FFF2-40B4-BE49-F238E27FC236}">
                <a16:creationId xmlns:a16="http://schemas.microsoft.com/office/drawing/2014/main" id="{E7538F59-4C98-4FF0-D24C-94E6D1F00E75}"/>
              </a:ext>
            </a:extLst>
          </p:cNvPr>
          <p:cNvCxnSpPr>
            <a:cxnSpLocks/>
          </p:cNvCxnSpPr>
          <p:nvPr/>
        </p:nvCxnSpPr>
        <p:spPr>
          <a:xfrm flipV="1">
            <a:off x="5908799" y="1532374"/>
            <a:ext cx="0" cy="195968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TextBox 226">
            <a:extLst>
              <a:ext uri="{FF2B5EF4-FFF2-40B4-BE49-F238E27FC236}">
                <a16:creationId xmlns:a16="http://schemas.microsoft.com/office/drawing/2014/main" id="{9167C8CD-D6C7-EA29-004F-3911589C9108}"/>
              </a:ext>
            </a:extLst>
          </p:cNvPr>
          <p:cNvSpPr txBox="1"/>
          <p:nvPr/>
        </p:nvSpPr>
        <p:spPr>
          <a:xfrm>
            <a:off x="5115651" y="3128935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2</a:t>
            </a:r>
            <a:endParaRPr lang="en-DE" sz="1100" b="1" dirty="0"/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8EC6B962-6CC9-E1F1-B2EC-7F8ECEA9B52A}"/>
              </a:ext>
            </a:extLst>
          </p:cNvPr>
          <p:cNvSpPr txBox="1"/>
          <p:nvPr/>
        </p:nvSpPr>
        <p:spPr>
          <a:xfrm>
            <a:off x="6311737" y="3124582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3</a:t>
            </a:r>
            <a:endParaRPr lang="en-DE" sz="1100" b="1" dirty="0"/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5B761EC3-F8A9-6236-1697-5BE1EDE5E56E}"/>
              </a:ext>
            </a:extLst>
          </p:cNvPr>
          <p:cNvSpPr txBox="1"/>
          <p:nvPr/>
        </p:nvSpPr>
        <p:spPr>
          <a:xfrm>
            <a:off x="8008124" y="2802882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4</a:t>
            </a:r>
            <a:endParaRPr lang="en-DE" sz="1100" b="1" dirty="0"/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50B35E80-68C6-7240-F4E9-0516047948A2}"/>
              </a:ext>
            </a:extLst>
          </p:cNvPr>
          <p:cNvSpPr txBox="1"/>
          <p:nvPr/>
        </p:nvSpPr>
        <p:spPr>
          <a:xfrm>
            <a:off x="3430862" y="2810584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1</a:t>
            </a:r>
            <a:endParaRPr lang="en-DE" sz="1100" b="1" dirty="0"/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127FCC1C-A664-4811-ECA5-3ECCA08231D7}"/>
              </a:ext>
            </a:extLst>
          </p:cNvPr>
          <p:cNvSpPr txBox="1"/>
          <p:nvPr/>
        </p:nvSpPr>
        <p:spPr>
          <a:xfrm>
            <a:off x="3547738" y="2470587"/>
            <a:ext cx="96372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92.168.122.161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233" name="TextBox 232">
            <a:extLst>
              <a:ext uri="{FF2B5EF4-FFF2-40B4-BE49-F238E27FC236}">
                <a16:creationId xmlns:a16="http://schemas.microsoft.com/office/drawing/2014/main" id="{12461565-6A32-1E60-5648-AF3D02FD1A8D}"/>
              </a:ext>
            </a:extLst>
          </p:cNvPr>
          <p:cNvSpPr txBox="1"/>
          <p:nvPr/>
        </p:nvSpPr>
        <p:spPr>
          <a:xfrm>
            <a:off x="7492866" y="2470587"/>
            <a:ext cx="96372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92.168.122.16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234" name="TextBox 233">
            <a:extLst>
              <a:ext uri="{FF2B5EF4-FFF2-40B4-BE49-F238E27FC236}">
                <a16:creationId xmlns:a16="http://schemas.microsoft.com/office/drawing/2014/main" id="{7D8A7678-E44F-2C9A-48A2-F6C16BBB9652}"/>
              </a:ext>
            </a:extLst>
          </p:cNvPr>
          <p:cNvSpPr txBox="1"/>
          <p:nvPr/>
        </p:nvSpPr>
        <p:spPr>
          <a:xfrm>
            <a:off x="6334982" y="2470587"/>
            <a:ext cx="96372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92.168.122.163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235" name="TextBox 234">
            <a:extLst>
              <a:ext uri="{FF2B5EF4-FFF2-40B4-BE49-F238E27FC236}">
                <a16:creationId xmlns:a16="http://schemas.microsoft.com/office/drawing/2014/main" id="{A437069B-F58D-C538-4F12-84135A3DC661}"/>
              </a:ext>
            </a:extLst>
          </p:cNvPr>
          <p:cNvSpPr txBox="1"/>
          <p:nvPr/>
        </p:nvSpPr>
        <p:spPr>
          <a:xfrm>
            <a:off x="4734426" y="2470587"/>
            <a:ext cx="96372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92.168.122.162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236" name="TextBox 235">
            <a:extLst>
              <a:ext uri="{FF2B5EF4-FFF2-40B4-BE49-F238E27FC236}">
                <a16:creationId xmlns:a16="http://schemas.microsoft.com/office/drawing/2014/main" id="{FA2EEF77-7CC2-6596-14F8-6B295F37168A}"/>
              </a:ext>
            </a:extLst>
          </p:cNvPr>
          <p:cNvSpPr txBox="1"/>
          <p:nvPr/>
        </p:nvSpPr>
        <p:spPr>
          <a:xfrm>
            <a:off x="2811494" y="3771596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237" name="TextBox 236">
            <a:extLst>
              <a:ext uri="{FF2B5EF4-FFF2-40B4-BE49-F238E27FC236}">
                <a16:creationId xmlns:a16="http://schemas.microsoft.com/office/drawing/2014/main" id="{6035BC7F-4E57-2370-667A-C460C3EAEA10}"/>
              </a:ext>
            </a:extLst>
          </p:cNvPr>
          <p:cNvSpPr txBox="1"/>
          <p:nvPr/>
        </p:nvSpPr>
        <p:spPr>
          <a:xfrm>
            <a:off x="4824179" y="3771596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2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238" name="TextBox 237">
            <a:extLst>
              <a:ext uri="{FF2B5EF4-FFF2-40B4-BE49-F238E27FC236}">
                <a16:creationId xmlns:a16="http://schemas.microsoft.com/office/drawing/2014/main" id="{28DD8293-65A8-96F2-60B3-CD070EE3FED3}"/>
              </a:ext>
            </a:extLst>
          </p:cNvPr>
          <p:cNvSpPr txBox="1"/>
          <p:nvPr/>
        </p:nvSpPr>
        <p:spPr>
          <a:xfrm>
            <a:off x="7800533" y="3771596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3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239" name="TextBox 238">
            <a:extLst>
              <a:ext uri="{FF2B5EF4-FFF2-40B4-BE49-F238E27FC236}">
                <a16:creationId xmlns:a16="http://schemas.microsoft.com/office/drawing/2014/main" id="{89B519F9-8FF1-2CDB-05DC-61DA7E648DC4}"/>
              </a:ext>
            </a:extLst>
          </p:cNvPr>
          <p:cNvSpPr txBox="1"/>
          <p:nvPr/>
        </p:nvSpPr>
        <p:spPr>
          <a:xfrm>
            <a:off x="4044782" y="2578729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0</a:t>
            </a:r>
            <a:endParaRPr lang="en-DE" sz="900" dirty="0"/>
          </a:p>
        </p:txBody>
      </p:sp>
      <p:sp>
        <p:nvSpPr>
          <p:cNvPr id="240" name="TextBox 239">
            <a:extLst>
              <a:ext uri="{FF2B5EF4-FFF2-40B4-BE49-F238E27FC236}">
                <a16:creationId xmlns:a16="http://schemas.microsoft.com/office/drawing/2014/main" id="{F58F9E04-AB3C-4FB3-CDFF-2849E2CFDEB5}"/>
              </a:ext>
            </a:extLst>
          </p:cNvPr>
          <p:cNvSpPr txBox="1"/>
          <p:nvPr/>
        </p:nvSpPr>
        <p:spPr>
          <a:xfrm>
            <a:off x="7575261" y="2578729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0</a:t>
            </a:r>
            <a:endParaRPr lang="en-DE" sz="900" dirty="0"/>
          </a:p>
        </p:txBody>
      </p:sp>
      <p:grpSp>
        <p:nvGrpSpPr>
          <p:cNvPr id="252" name="Grafik 23">
            <a:extLst>
              <a:ext uri="{FF2B5EF4-FFF2-40B4-BE49-F238E27FC236}">
                <a16:creationId xmlns:a16="http://schemas.microsoft.com/office/drawing/2014/main" id="{80359D61-8602-5F76-7459-3602014E417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031259" y="1055294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253" name="Grafik 23">
              <a:extLst>
                <a:ext uri="{FF2B5EF4-FFF2-40B4-BE49-F238E27FC236}">
                  <a16:creationId xmlns:a16="http://schemas.microsoft.com/office/drawing/2014/main" id="{E9A8E76C-5CB1-503B-BE07-BB487EE831D3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254" name="Grafik 23">
              <a:extLst>
                <a:ext uri="{FF2B5EF4-FFF2-40B4-BE49-F238E27FC236}">
                  <a16:creationId xmlns:a16="http://schemas.microsoft.com/office/drawing/2014/main" id="{01E6797A-564B-38D3-4DFF-73D2AF2758ED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255" name="Grafik 23">
              <a:extLst>
                <a:ext uri="{FF2B5EF4-FFF2-40B4-BE49-F238E27FC236}">
                  <a16:creationId xmlns:a16="http://schemas.microsoft.com/office/drawing/2014/main" id="{834A731F-FDE6-3E96-3E8D-FFF519BB39EA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256" name="Grafik 23">
              <a:extLst>
                <a:ext uri="{FF2B5EF4-FFF2-40B4-BE49-F238E27FC236}">
                  <a16:creationId xmlns:a16="http://schemas.microsoft.com/office/drawing/2014/main" id="{E6653B37-84DC-A552-9475-FB7CB01903C2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257" name="Grafik 23">
              <a:extLst>
                <a:ext uri="{FF2B5EF4-FFF2-40B4-BE49-F238E27FC236}">
                  <a16:creationId xmlns:a16="http://schemas.microsoft.com/office/drawing/2014/main" id="{323056C6-7189-A6CB-8332-6082BE9FDB81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258" name="Grafik 23">
              <a:extLst>
                <a:ext uri="{FF2B5EF4-FFF2-40B4-BE49-F238E27FC236}">
                  <a16:creationId xmlns:a16="http://schemas.microsoft.com/office/drawing/2014/main" id="{09B23E2B-4D0B-7DFC-B298-21B29EB35C8F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259" name="Grafik 23">
                <a:extLst>
                  <a:ext uri="{FF2B5EF4-FFF2-40B4-BE49-F238E27FC236}">
                    <a16:creationId xmlns:a16="http://schemas.microsoft.com/office/drawing/2014/main" id="{BA2866B5-2284-D394-375E-B58101E0B1E2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60" name="Grafik 23">
                <a:extLst>
                  <a:ext uri="{FF2B5EF4-FFF2-40B4-BE49-F238E27FC236}">
                    <a16:creationId xmlns:a16="http://schemas.microsoft.com/office/drawing/2014/main" id="{C50316B1-5748-1C4E-B771-7B9B7EFE9433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61" name="Grafik 23">
                <a:extLst>
                  <a:ext uri="{FF2B5EF4-FFF2-40B4-BE49-F238E27FC236}">
                    <a16:creationId xmlns:a16="http://schemas.microsoft.com/office/drawing/2014/main" id="{50014001-EAFB-83DF-4E3D-6C759F08C512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62" name="Grafik 23">
                <a:extLst>
                  <a:ext uri="{FF2B5EF4-FFF2-40B4-BE49-F238E27FC236}">
                    <a16:creationId xmlns:a16="http://schemas.microsoft.com/office/drawing/2014/main" id="{F55F3F72-A872-FF10-E605-B73F1EC5BF9D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sp>
        <p:nvSpPr>
          <p:cNvPr id="263" name="TextBox 262">
            <a:extLst>
              <a:ext uri="{FF2B5EF4-FFF2-40B4-BE49-F238E27FC236}">
                <a16:creationId xmlns:a16="http://schemas.microsoft.com/office/drawing/2014/main" id="{2E917394-CE16-DDA3-7A11-062D54609941}"/>
              </a:ext>
            </a:extLst>
          </p:cNvPr>
          <p:cNvSpPr txBox="1"/>
          <p:nvPr/>
        </p:nvSpPr>
        <p:spPr>
          <a:xfrm>
            <a:off x="6296946" y="1314204"/>
            <a:ext cx="84830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92.168.0.11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264" name="TextBox 263">
            <a:extLst>
              <a:ext uri="{FF2B5EF4-FFF2-40B4-BE49-F238E27FC236}">
                <a16:creationId xmlns:a16="http://schemas.microsoft.com/office/drawing/2014/main" id="{ADE497D2-0E80-9F53-6FAA-9542BD78E6E6}"/>
              </a:ext>
            </a:extLst>
          </p:cNvPr>
          <p:cNvSpPr txBox="1"/>
          <p:nvPr/>
        </p:nvSpPr>
        <p:spPr>
          <a:xfrm>
            <a:off x="6689287" y="780449"/>
            <a:ext cx="116089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NOS Controller</a:t>
            </a:r>
            <a:endParaRPr lang="en-DE" sz="1100" b="1" dirty="0"/>
          </a:p>
        </p:txBody>
      </p:sp>
      <p:sp>
        <p:nvSpPr>
          <p:cNvPr id="265" name="TextBox 264">
            <a:extLst>
              <a:ext uri="{FF2B5EF4-FFF2-40B4-BE49-F238E27FC236}">
                <a16:creationId xmlns:a16="http://schemas.microsoft.com/office/drawing/2014/main" id="{8E527F25-F6A6-4804-5B00-AC63323FA955}"/>
              </a:ext>
            </a:extLst>
          </p:cNvPr>
          <p:cNvSpPr txBox="1"/>
          <p:nvPr/>
        </p:nvSpPr>
        <p:spPr>
          <a:xfrm>
            <a:off x="5252458" y="2578729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0</a:t>
            </a:r>
            <a:endParaRPr lang="en-DE" sz="900" dirty="0"/>
          </a:p>
        </p:txBody>
      </p:sp>
      <p:sp>
        <p:nvSpPr>
          <p:cNvPr id="266" name="TextBox 265">
            <a:extLst>
              <a:ext uri="{FF2B5EF4-FFF2-40B4-BE49-F238E27FC236}">
                <a16:creationId xmlns:a16="http://schemas.microsoft.com/office/drawing/2014/main" id="{5A10653C-14A7-10A8-FEA6-3BE9942D1A04}"/>
              </a:ext>
            </a:extLst>
          </p:cNvPr>
          <p:cNvSpPr txBox="1"/>
          <p:nvPr/>
        </p:nvSpPr>
        <p:spPr>
          <a:xfrm>
            <a:off x="6376533" y="2578729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0</a:t>
            </a:r>
            <a:endParaRPr lang="en-DE" sz="900" dirty="0"/>
          </a:p>
        </p:txBody>
      </p:sp>
      <p:sp>
        <p:nvSpPr>
          <p:cNvPr id="267" name="TextBox 266">
            <a:extLst>
              <a:ext uri="{FF2B5EF4-FFF2-40B4-BE49-F238E27FC236}">
                <a16:creationId xmlns:a16="http://schemas.microsoft.com/office/drawing/2014/main" id="{AFFDEE78-1795-3C3F-29DC-B66DBF9D6D08}"/>
              </a:ext>
            </a:extLst>
          </p:cNvPr>
          <p:cNvSpPr txBox="1"/>
          <p:nvPr/>
        </p:nvSpPr>
        <p:spPr>
          <a:xfrm>
            <a:off x="3574281" y="3122033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269" name="TextBox 268">
            <a:extLst>
              <a:ext uri="{FF2B5EF4-FFF2-40B4-BE49-F238E27FC236}">
                <a16:creationId xmlns:a16="http://schemas.microsoft.com/office/drawing/2014/main" id="{66099F02-B602-C7F4-07E9-B79A511A3ADE}"/>
              </a:ext>
            </a:extLst>
          </p:cNvPr>
          <p:cNvSpPr txBox="1"/>
          <p:nvPr/>
        </p:nvSpPr>
        <p:spPr>
          <a:xfrm>
            <a:off x="4869826" y="2893814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270" name="TextBox 269">
            <a:extLst>
              <a:ext uri="{FF2B5EF4-FFF2-40B4-BE49-F238E27FC236}">
                <a16:creationId xmlns:a16="http://schemas.microsoft.com/office/drawing/2014/main" id="{3511F1CC-CD7C-5D99-DA08-F1FAED7BBB5A}"/>
              </a:ext>
            </a:extLst>
          </p:cNvPr>
          <p:cNvSpPr txBox="1"/>
          <p:nvPr/>
        </p:nvSpPr>
        <p:spPr>
          <a:xfrm>
            <a:off x="6086185" y="2885482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4F274921-598A-C966-6F31-9541233A36F5}"/>
              </a:ext>
            </a:extLst>
          </p:cNvPr>
          <p:cNvSpPr txBox="1"/>
          <p:nvPr/>
        </p:nvSpPr>
        <p:spPr>
          <a:xfrm>
            <a:off x="7276124" y="2901058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272" name="TextBox 271">
            <a:extLst>
              <a:ext uri="{FF2B5EF4-FFF2-40B4-BE49-F238E27FC236}">
                <a16:creationId xmlns:a16="http://schemas.microsoft.com/office/drawing/2014/main" id="{DCAB84B2-8F4F-BFBF-873B-FC3F811FD8FC}"/>
              </a:ext>
            </a:extLst>
          </p:cNvPr>
          <p:cNvSpPr txBox="1"/>
          <p:nvPr/>
        </p:nvSpPr>
        <p:spPr>
          <a:xfrm>
            <a:off x="4069773" y="3122033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273" name="TextBox 272">
            <a:extLst>
              <a:ext uri="{FF2B5EF4-FFF2-40B4-BE49-F238E27FC236}">
                <a16:creationId xmlns:a16="http://schemas.microsoft.com/office/drawing/2014/main" id="{B175B2C6-ED17-C407-B13E-6AB283F49AD2}"/>
              </a:ext>
            </a:extLst>
          </p:cNvPr>
          <p:cNvSpPr txBox="1"/>
          <p:nvPr/>
        </p:nvSpPr>
        <p:spPr>
          <a:xfrm>
            <a:off x="5506877" y="2885197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274" name="TextBox 273">
            <a:extLst>
              <a:ext uri="{FF2B5EF4-FFF2-40B4-BE49-F238E27FC236}">
                <a16:creationId xmlns:a16="http://schemas.microsoft.com/office/drawing/2014/main" id="{73DCFA63-DE4B-28BE-7DDB-80A3EF2979BF}"/>
              </a:ext>
            </a:extLst>
          </p:cNvPr>
          <p:cNvSpPr txBox="1"/>
          <p:nvPr/>
        </p:nvSpPr>
        <p:spPr>
          <a:xfrm>
            <a:off x="6703444" y="2884123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275" name="TextBox 274">
            <a:extLst>
              <a:ext uri="{FF2B5EF4-FFF2-40B4-BE49-F238E27FC236}">
                <a16:creationId xmlns:a16="http://schemas.microsoft.com/office/drawing/2014/main" id="{30952B8B-FD14-E425-A142-CF3A4348B512}"/>
              </a:ext>
            </a:extLst>
          </p:cNvPr>
          <p:cNvSpPr txBox="1"/>
          <p:nvPr/>
        </p:nvSpPr>
        <p:spPr>
          <a:xfrm>
            <a:off x="7728546" y="3122033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276" name="TextBox 275">
            <a:extLst>
              <a:ext uri="{FF2B5EF4-FFF2-40B4-BE49-F238E27FC236}">
                <a16:creationId xmlns:a16="http://schemas.microsoft.com/office/drawing/2014/main" id="{C90B79AB-8822-B344-2626-F814C50976B4}"/>
              </a:ext>
            </a:extLst>
          </p:cNvPr>
          <p:cNvSpPr txBox="1"/>
          <p:nvPr/>
        </p:nvSpPr>
        <p:spPr>
          <a:xfrm>
            <a:off x="4287584" y="2897888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277" name="TextBox 276">
            <a:extLst>
              <a:ext uri="{FF2B5EF4-FFF2-40B4-BE49-F238E27FC236}">
                <a16:creationId xmlns:a16="http://schemas.microsoft.com/office/drawing/2014/main" id="{99DEE1D6-7526-2FE2-64C7-089EF3B9C17E}"/>
              </a:ext>
            </a:extLst>
          </p:cNvPr>
          <p:cNvSpPr txBox="1"/>
          <p:nvPr/>
        </p:nvSpPr>
        <p:spPr>
          <a:xfrm>
            <a:off x="3442956" y="3801644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g0/0</a:t>
            </a:r>
            <a:endParaRPr lang="en-DE" sz="900" dirty="0"/>
          </a:p>
        </p:txBody>
      </p:sp>
      <p:sp>
        <p:nvSpPr>
          <p:cNvPr id="279" name="TextBox 278">
            <a:extLst>
              <a:ext uri="{FF2B5EF4-FFF2-40B4-BE49-F238E27FC236}">
                <a16:creationId xmlns:a16="http://schemas.microsoft.com/office/drawing/2014/main" id="{3486E0EF-348C-F622-EC04-C64B92883312}"/>
              </a:ext>
            </a:extLst>
          </p:cNvPr>
          <p:cNvSpPr txBox="1"/>
          <p:nvPr/>
        </p:nvSpPr>
        <p:spPr>
          <a:xfrm>
            <a:off x="4503406" y="3801644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g0/0</a:t>
            </a:r>
            <a:endParaRPr lang="en-DE" sz="900" dirty="0"/>
          </a:p>
        </p:txBody>
      </p:sp>
      <p:sp>
        <p:nvSpPr>
          <p:cNvPr id="280" name="TextBox 279">
            <a:extLst>
              <a:ext uri="{FF2B5EF4-FFF2-40B4-BE49-F238E27FC236}">
                <a16:creationId xmlns:a16="http://schemas.microsoft.com/office/drawing/2014/main" id="{50A33404-6AE4-FE94-401B-9018CA8F2268}"/>
              </a:ext>
            </a:extLst>
          </p:cNvPr>
          <p:cNvSpPr txBox="1"/>
          <p:nvPr/>
        </p:nvSpPr>
        <p:spPr>
          <a:xfrm>
            <a:off x="7469034" y="3801644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g0/0</a:t>
            </a:r>
            <a:endParaRPr lang="en-DE" sz="900" dirty="0"/>
          </a:p>
        </p:txBody>
      </p:sp>
      <p:sp>
        <p:nvSpPr>
          <p:cNvPr id="281" name="TextBox 280">
            <a:extLst>
              <a:ext uri="{FF2B5EF4-FFF2-40B4-BE49-F238E27FC236}">
                <a16:creationId xmlns:a16="http://schemas.microsoft.com/office/drawing/2014/main" id="{6EA5D466-DFC4-F042-B334-E9832F43054C}"/>
              </a:ext>
            </a:extLst>
          </p:cNvPr>
          <p:cNvSpPr txBox="1"/>
          <p:nvPr/>
        </p:nvSpPr>
        <p:spPr>
          <a:xfrm>
            <a:off x="3290254" y="4381731"/>
            <a:ext cx="333746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R1</a:t>
            </a:r>
            <a:endParaRPr lang="en-DE" sz="1100" b="1" dirty="0"/>
          </a:p>
        </p:txBody>
      </p:sp>
      <p:sp>
        <p:nvSpPr>
          <p:cNvPr id="283" name="TextBox 282">
            <a:extLst>
              <a:ext uri="{FF2B5EF4-FFF2-40B4-BE49-F238E27FC236}">
                <a16:creationId xmlns:a16="http://schemas.microsoft.com/office/drawing/2014/main" id="{3AEC0670-EB0B-9825-A0FF-B92C712F7573}"/>
              </a:ext>
            </a:extLst>
          </p:cNvPr>
          <p:cNvSpPr txBox="1"/>
          <p:nvPr/>
        </p:nvSpPr>
        <p:spPr>
          <a:xfrm>
            <a:off x="4750172" y="4381731"/>
            <a:ext cx="333746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R2</a:t>
            </a:r>
            <a:endParaRPr lang="en-DE" sz="1100" b="1" dirty="0"/>
          </a:p>
        </p:txBody>
      </p:sp>
      <p:sp>
        <p:nvSpPr>
          <p:cNvPr id="284" name="TextBox 283">
            <a:extLst>
              <a:ext uri="{FF2B5EF4-FFF2-40B4-BE49-F238E27FC236}">
                <a16:creationId xmlns:a16="http://schemas.microsoft.com/office/drawing/2014/main" id="{7F7D584D-085A-FDEC-95AF-1E748F96F63B}"/>
              </a:ext>
            </a:extLst>
          </p:cNvPr>
          <p:cNvSpPr txBox="1"/>
          <p:nvPr/>
        </p:nvSpPr>
        <p:spPr>
          <a:xfrm>
            <a:off x="7647831" y="4381731"/>
            <a:ext cx="333746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R3</a:t>
            </a:r>
            <a:endParaRPr lang="en-DE" sz="1100" b="1" dirty="0"/>
          </a:p>
        </p:txBody>
      </p:sp>
      <p:sp>
        <p:nvSpPr>
          <p:cNvPr id="285" name="Cloud 284">
            <a:extLst>
              <a:ext uri="{FF2B5EF4-FFF2-40B4-BE49-F238E27FC236}">
                <a16:creationId xmlns:a16="http://schemas.microsoft.com/office/drawing/2014/main" id="{DAF2FD3F-3D10-7002-AA2F-164B5F464CD2}"/>
              </a:ext>
            </a:extLst>
          </p:cNvPr>
          <p:cNvSpPr/>
          <p:nvPr/>
        </p:nvSpPr>
        <p:spPr>
          <a:xfrm>
            <a:off x="5501310" y="1113929"/>
            <a:ext cx="742995" cy="423348"/>
          </a:xfrm>
          <a:prstGeom prst="cloud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cxnSp>
        <p:nvCxnSpPr>
          <p:cNvPr id="288" name="Straight Connector 287">
            <a:extLst>
              <a:ext uri="{FF2B5EF4-FFF2-40B4-BE49-F238E27FC236}">
                <a16:creationId xmlns:a16="http://schemas.microsoft.com/office/drawing/2014/main" id="{38A4361F-B055-18EC-358E-50465280BB60}"/>
              </a:ext>
            </a:extLst>
          </p:cNvPr>
          <p:cNvCxnSpPr>
            <a:cxnSpLocks/>
            <a:stCxn id="285" idx="0"/>
            <a:endCxn id="259" idx="1"/>
          </p:cNvCxnSpPr>
          <p:nvPr/>
        </p:nvCxnSpPr>
        <p:spPr>
          <a:xfrm>
            <a:off x="6243686" y="1325603"/>
            <a:ext cx="787573" cy="713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2" name="TextBox 291">
            <a:extLst>
              <a:ext uri="{FF2B5EF4-FFF2-40B4-BE49-F238E27FC236}">
                <a16:creationId xmlns:a16="http://schemas.microsoft.com/office/drawing/2014/main" id="{E6F7E0D2-91CD-A571-93A9-A5BC8EB16980}"/>
              </a:ext>
            </a:extLst>
          </p:cNvPr>
          <p:cNvSpPr txBox="1"/>
          <p:nvPr/>
        </p:nvSpPr>
        <p:spPr>
          <a:xfrm>
            <a:off x="5681176" y="1208851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NAT</a:t>
            </a:r>
            <a:endParaRPr lang="en-DE" sz="900" dirty="0"/>
          </a:p>
        </p:txBody>
      </p:sp>
      <p:sp>
        <p:nvSpPr>
          <p:cNvPr id="293" name="TextBox 292">
            <a:extLst>
              <a:ext uri="{FF2B5EF4-FFF2-40B4-BE49-F238E27FC236}">
                <a16:creationId xmlns:a16="http://schemas.microsoft.com/office/drawing/2014/main" id="{48D628E6-B517-10F8-420F-23AB949F5E4C}"/>
              </a:ext>
            </a:extLst>
          </p:cNvPr>
          <p:cNvSpPr txBox="1"/>
          <p:nvPr/>
        </p:nvSpPr>
        <p:spPr>
          <a:xfrm>
            <a:off x="5148551" y="1753260"/>
            <a:ext cx="540533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en-US" sz="1000" b="1" dirty="0"/>
              <a:t>Switch</a:t>
            </a:r>
            <a:endParaRPr lang="en-DE" sz="1000" b="1" dirty="0"/>
          </a:p>
        </p:txBody>
      </p:sp>
    </p:spTree>
    <p:extLst>
      <p:ext uri="{BB962C8B-B14F-4D97-AF65-F5344CB8AC3E}">
        <p14:creationId xmlns:p14="http://schemas.microsoft.com/office/powerpoint/2010/main" val="14060444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4BFF6F1-C87F-CA3E-FA21-0EE3182C0A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14312" y="693899"/>
            <a:ext cx="5563376" cy="265784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F808626-4869-07B6-CAAB-9B8DC1F1F9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95260" y="3515781"/>
            <a:ext cx="5544324" cy="264832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23194752-CC76-3E55-633D-F4C914577576}"/>
              </a:ext>
            </a:extLst>
          </p:cNvPr>
          <p:cNvSpPr/>
          <p:nvPr/>
        </p:nvSpPr>
        <p:spPr>
          <a:xfrm>
            <a:off x="3295260" y="5161149"/>
            <a:ext cx="5544324" cy="55664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82911C8-D6A4-95FF-08CF-D5C16EB8740E}"/>
              </a:ext>
            </a:extLst>
          </p:cNvPr>
          <p:cNvSpPr/>
          <p:nvPr/>
        </p:nvSpPr>
        <p:spPr>
          <a:xfrm>
            <a:off x="3349081" y="2376906"/>
            <a:ext cx="5475053" cy="335001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DD0F4E4-C39A-2E77-E2A6-F7DC331CBE8E}"/>
              </a:ext>
            </a:extLst>
          </p:cNvPr>
          <p:cNvSpPr/>
          <p:nvPr/>
        </p:nvSpPr>
        <p:spPr>
          <a:xfrm>
            <a:off x="3349081" y="2754861"/>
            <a:ext cx="5475053" cy="52626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350C04B-C26E-5D0E-BC8F-B593A9EAAC2F}"/>
              </a:ext>
            </a:extLst>
          </p:cNvPr>
          <p:cNvSpPr/>
          <p:nvPr/>
        </p:nvSpPr>
        <p:spPr>
          <a:xfrm>
            <a:off x="3295260" y="5746376"/>
            <a:ext cx="5544324" cy="37266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0717ECF-F0DA-D742-EE7B-7BA6C90A5D91}"/>
              </a:ext>
            </a:extLst>
          </p:cNvPr>
          <p:cNvCxnSpPr>
            <a:cxnSpLocks/>
          </p:cNvCxnSpPr>
          <p:nvPr/>
        </p:nvCxnSpPr>
        <p:spPr>
          <a:xfrm>
            <a:off x="3330029" y="4264526"/>
            <a:ext cx="3629800" cy="0"/>
          </a:xfrm>
          <a:prstGeom prst="line">
            <a:avLst/>
          </a:prstGeom>
          <a:ln w="127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E7F980F-DBB2-7E73-FF11-D83799F25348}"/>
              </a:ext>
            </a:extLst>
          </p:cNvPr>
          <p:cNvCxnSpPr>
            <a:cxnSpLocks/>
          </p:cNvCxnSpPr>
          <p:nvPr/>
        </p:nvCxnSpPr>
        <p:spPr>
          <a:xfrm>
            <a:off x="3375979" y="1476485"/>
            <a:ext cx="3602902" cy="0"/>
          </a:xfrm>
          <a:prstGeom prst="line">
            <a:avLst/>
          </a:prstGeom>
          <a:ln w="127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2668466-6A42-0EE7-6B09-34690C807F88}"/>
              </a:ext>
            </a:extLst>
          </p:cNvPr>
          <p:cNvCxnSpPr>
            <a:cxnSpLocks/>
          </p:cNvCxnSpPr>
          <p:nvPr/>
        </p:nvCxnSpPr>
        <p:spPr>
          <a:xfrm flipV="1">
            <a:off x="3205804" y="3429000"/>
            <a:ext cx="5922828" cy="13975"/>
          </a:xfrm>
          <a:prstGeom prst="line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769545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3" name="Rectangle 712">
            <a:extLst>
              <a:ext uri="{FF2B5EF4-FFF2-40B4-BE49-F238E27FC236}">
                <a16:creationId xmlns:a16="http://schemas.microsoft.com/office/drawing/2014/main" id="{34615174-8976-A539-43FD-9934B89E1542}"/>
              </a:ext>
            </a:extLst>
          </p:cNvPr>
          <p:cNvSpPr/>
          <p:nvPr/>
        </p:nvSpPr>
        <p:spPr>
          <a:xfrm rot="8100000">
            <a:off x="4160726" y="3780936"/>
            <a:ext cx="1786636" cy="1715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712" name="Rectangle 711">
            <a:extLst>
              <a:ext uri="{FF2B5EF4-FFF2-40B4-BE49-F238E27FC236}">
                <a16:creationId xmlns:a16="http://schemas.microsoft.com/office/drawing/2014/main" id="{1777E52C-FD6A-AC07-2261-EF86447675E0}"/>
              </a:ext>
            </a:extLst>
          </p:cNvPr>
          <p:cNvSpPr/>
          <p:nvPr/>
        </p:nvSpPr>
        <p:spPr>
          <a:xfrm>
            <a:off x="5575779" y="3120043"/>
            <a:ext cx="2254993" cy="1715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711" name="Rectangle 710">
            <a:extLst>
              <a:ext uri="{FF2B5EF4-FFF2-40B4-BE49-F238E27FC236}">
                <a16:creationId xmlns:a16="http://schemas.microsoft.com/office/drawing/2014/main" id="{66BC762D-861E-267F-81F3-B5BD437170EF}"/>
              </a:ext>
            </a:extLst>
          </p:cNvPr>
          <p:cNvSpPr/>
          <p:nvPr/>
        </p:nvSpPr>
        <p:spPr>
          <a:xfrm rot="5400000">
            <a:off x="3920372" y="4885443"/>
            <a:ext cx="1087088" cy="1715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710" name="Rectangle 709">
            <a:extLst>
              <a:ext uri="{FF2B5EF4-FFF2-40B4-BE49-F238E27FC236}">
                <a16:creationId xmlns:a16="http://schemas.microsoft.com/office/drawing/2014/main" id="{A94C1F9E-5D7C-8B7A-A38E-42F47CDD29A0}"/>
              </a:ext>
            </a:extLst>
          </p:cNvPr>
          <p:cNvSpPr/>
          <p:nvPr/>
        </p:nvSpPr>
        <p:spPr>
          <a:xfrm>
            <a:off x="2254593" y="4403995"/>
            <a:ext cx="2254993" cy="1715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709" name="Rectangle 708">
            <a:extLst>
              <a:ext uri="{FF2B5EF4-FFF2-40B4-BE49-F238E27FC236}">
                <a16:creationId xmlns:a16="http://schemas.microsoft.com/office/drawing/2014/main" id="{F277A18C-AC38-527C-A8C5-5FEA42FC1B04}"/>
              </a:ext>
            </a:extLst>
          </p:cNvPr>
          <p:cNvSpPr/>
          <p:nvPr/>
        </p:nvSpPr>
        <p:spPr>
          <a:xfrm>
            <a:off x="4334494" y="4387269"/>
            <a:ext cx="1394192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708" name="Rectangle 707">
            <a:extLst>
              <a:ext uri="{FF2B5EF4-FFF2-40B4-BE49-F238E27FC236}">
                <a16:creationId xmlns:a16="http://schemas.microsoft.com/office/drawing/2014/main" id="{5FD15102-E3FE-D093-04D4-8CB0BBA3D5C4}"/>
              </a:ext>
            </a:extLst>
          </p:cNvPr>
          <p:cNvSpPr/>
          <p:nvPr/>
        </p:nvSpPr>
        <p:spPr>
          <a:xfrm rot="2700000">
            <a:off x="2970269" y="3816456"/>
            <a:ext cx="1742047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707" name="Rectangle 706">
            <a:extLst>
              <a:ext uri="{FF2B5EF4-FFF2-40B4-BE49-F238E27FC236}">
                <a16:creationId xmlns:a16="http://schemas.microsoft.com/office/drawing/2014/main" id="{1DE9C779-9855-C17F-F78C-B9CE1D62E292}"/>
              </a:ext>
            </a:extLst>
          </p:cNvPr>
          <p:cNvSpPr/>
          <p:nvPr/>
        </p:nvSpPr>
        <p:spPr>
          <a:xfrm rot="2700000">
            <a:off x="5283933" y="3751277"/>
            <a:ext cx="1742047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706" name="Rectangle 705">
            <a:extLst>
              <a:ext uri="{FF2B5EF4-FFF2-40B4-BE49-F238E27FC236}">
                <a16:creationId xmlns:a16="http://schemas.microsoft.com/office/drawing/2014/main" id="{0CCB13C8-9708-E88A-C785-0165FB827069}"/>
              </a:ext>
            </a:extLst>
          </p:cNvPr>
          <p:cNvSpPr/>
          <p:nvPr/>
        </p:nvSpPr>
        <p:spPr>
          <a:xfrm rot="16200000">
            <a:off x="5107274" y="4892970"/>
            <a:ext cx="1102139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705" name="Rectangle 704">
            <a:extLst>
              <a:ext uri="{FF2B5EF4-FFF2-40B4-BE49-F238E27FC236}">
                <a16:creationId xmlns:a16="http://schemas.microsoft.com/office/drawing/2014/main" id="{86EBBDA4-7017-E3F7-B3BD-FFC543CFF2EF}"/>
              </a:ext>
            </a:extLst>
          </p:cNvPr>
          <p:cNvSpPr/>
          <p:nvPr/>
        </p:nvSpPr>
        <p:spPr>
          <a:xfrm>
            <a:off x="6719137" y="4375631"/>
            <a:ext cx="1110744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676" name="Rectangle 675">
            <a:extLst>
              <a:ext uri="{FF2B5EF4-FFF2-40B4-BE49-F238E27FC236}">
                <a16:creationId xmlns:a16="http://schemas.microsoft.com/office/drawing/2014/main" id="{3043A8B3-6D64-F322-9DFE-0E2E57A7E54F}"/>
              </a:ext>
            </a:extLst>
          </p:cNvPr>
          <p:cNvSpPr/>
          <p:nvPr/>
        </p:nvSpPr>
        <p:spPr>
          <a:xfrm>
            <a:off x="2238677" y="3181861"/>
            <a:ext cx="3380230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grpSp>
        <p:nvGrpSpPr>
          <p:cNvPr id="2" name="Grafik 36">
            <a:extLst>
              <a:ext uri="{FF2B5EF4-FFF2-40B4-BE49-F238E27FC236}">
                <a16:creationId xmlns:a16="http://schemas.microsoft.com/office/drawing/2014/main" id="{805ABFA0-D21F-2270-5176-54001474EA54}"/>
              </a:ext>
            </a:extLst>
          </p:cNvPr>
          <p:cNvGrpSpPr/>
          <p:nvPr/>
        </p:nvGrpSpPr>
        <p:grpSpPr bwMode="gray">
          <a:xfrm>
            <a:off x="5471525" y="3054600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" name="Grafik 36">
              <a:extLst>
                <a:ext uri="{FF2B5EF4-FFF2-40B4-BE49-F238E27FC236}">
                  <a16:creationId xmlns:a16="http://schemas.microsoft.com/office/drawing/2014/main" id="{677960D1-AACE-5BA7-B978-0AC922A1B039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5" name="Grafik 36">
                <a:extLst>
                  <a:ext uri="{FF2B5EF4-FFF2-40B4-BE49-F238E27FC236}">
                    <a16:creationId xmlns:a16="http://schemas.microsoft.com/office/drawing/2014/main" id="{36CA9497-AC32-908B-8538-F527241B4DAE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" name="Grafik 36">
                <a:extLst>
                  <a:ext uri="{FF2B5EF4-FFF2-40B4-BE49-F238E27FC236}">
                    <a16:creationId xmlns:a16="http://schemas.microsoft.com/office/drawing/2014/main" id="{544919A6-F796-1034-A764-31E58531469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" name="Grafik 36">
                <a:extLst>
                  <a:ext uri="{FF2B5EF4-FFF2-40B4-BE49-F238E27FC236}">
                    <a16:creationId xmlns:a16="http://schemas.microsoft.com/office/drawing/2014/main" id="{9DD39308-E045-CE6A-9178-6F1EFB6BB75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" name="Grafik 36">
                <a:extLst>
                  <a:ext uri="{FF2B5EF4-FFF2-40B4-BE49-F238E27FC236}">
                    <a16:creationId xmlns:a16="http://schemas.microsoft.com/office/drawing/2014/main" id="{99D416D0-C329-1EAC-CDCB-43CB319FC00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" name="Grafik 36">
                <a:extLst>
                  <a:ext uri="{FF2B5EF4-FFF2-40B4-BE49-F238E27FC236}">
                    <a16:creationId xmlns:a16="http://schemas.microsoft.com/office/drawing/2014/main" id="{0F9F3982-44C1-241F-A234-682B77764CC0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" name="Grafik 36">
              <a:extLst>
                <a:ext uri="{FF2B5EF4-FFF2-40B4-BE49-F238E27FC236}">
                  <a16:creationId xmlns:a16="http://schemas.microsoft.com/office/drawing/2014/main" id="{22AAC8C6-83B4-195A-482D-9623F737A966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" name="Grafik 36">
                <a:extLst>
                  <a:ext uri="{FF2B5EF4-FFF2-40B4-BE49-F238E27FC236}">
                    <a16:creationId xmlns:a16="http://schemas.microsoft.com/office/drawing/2014/main" id="{F7A3A95C-B505-F797-A064-2DABC83E1CFE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6" name="Grafik 36">
                  <a:extLst>
                    <a:ext uri="{FF2B5EF4-FFF2-40B4-BE49-F238E27FC236}">
                      <a16:creationId xmlns:a16="http://schemas.microsoft.com/office/drawing/2014/main" id="{EDF92E35-71EE-6BDF-85CD-15C49FE7CD1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2" name="Grafik 36">
                    <a:extLst>
                      <a:ext uri="{FF2B5EF4-FFF2-40B4-BE49-F238E27FC236}">
                        <a16:creationId xmlns:a16="http://schemas.microsoft.com/office/drawing/2014/main" id="{DEF4593B-EB09-FDEE-0CD2-F0BA4481C03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" name="Grafik 36">
                    <a:extLst>
                      <a:ext uri="{FF2B5EF4-FFF2-40B4-BE49-F238E27FC236}">
                        <a16:creationId xmlns:a16="http://schemas.microsoft.com/office/drawing/2014/main" id="{43CE857E-7D48-4CAA-6573-B14ACD6C125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" name="Grafik 36">
                    <a:extLst>
                      <a:ext uri="{FF2B5EF4-FFF2-40B4-BE49-F238E27FC236}">
                        <a16:creationId xmlns:a16="http://schemas.microsoft.com/office/drawing/2014/main" id="{84420C81-5F0E-6649-2F33-4D3402CC1FD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7" name="Grafik 36">
                  <a:extLst>
                    <a:ext uri="{FF2B5EF4-FFF2-40B4-BE49-F238E27FC236}">
                      <a16:creationId xmlns:a16="http://schemas.microsoft.com/office/drawing/2014/main" id="{DF54D05D-C166-0837-8E70-0769A6940E33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18" name="Grafik 36">
                  <a:extLst>
                    <a:ext uri="{FF2B5EF4-FFF2-40B4-BE49-F238E27FC236}">
                      <a16:creationId xmlns:a16="http://schemas.microsoft.com/office/drawing/2014/main" id="{7DF36F6C-11FD-990A-9CEA-8CED8F25672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9" name="Grafik 36">
                    <a:extLst>
                      <a:ext uri="{FF2B5EF4-FFF2-40B4-BE49-F238E27FC236}">
                        <a16:creationId xmlns:a16="http://schemas.microsoft.com/office/drawing/2014/main" id="{83A3953A-333A-BDEE-D0CC-C0BE6BA643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0" name="Grafik 36">
                    <a:extLst>
                      <a:ext uri="{FF2B5EF4-FFF2-40B4-BE49-F238E27FC236}">
                        <a16:creationId xmlns:a16="http://schemas.microsoft.com/office/drawing/2014/main" id="{6D6CE9A7-BCFC-DF42-F46A-CBEE52594A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" name="Grafik 36">
                    <a:extLst>
                      <a:ext uri="{FF2B5EF4-FFF2-40B4-BE49-F238E27FC236}">
                        <a16:creationId xmlns:a16="http://schemas.microsoft.com/office/drawing/2014/main" id="{9C478A61-1694-68B7-30C9-8FC355D1199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6" name="Grafik 36">
                <a:extLst>
                  <a:ext uri="{FF2B5EF4-FFF2-40B4-BE49-F238E27FC236}">
                    <a16:creationId xmlns:a16="http://schemas.microsoft.com/office/drawing/2014/main" id="{B52A8419-02AF-64AC-6657-4545D4D769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7" name="Grafik 36">
                  <a:extLst>
                    <a:ext uri="{FF2B5EF4-FFF2-40B4-BE49-F238E27FC236}">
                      <a16:creationId xmlns:a16="http://schemas.microsoft.com/office/drawing/2014/main" id="{3A69DB6A-722C-668E-D335-5CC43D18D14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3" name="Grafik 36">
                    <a:extLst>
                      <a:ext uri="{FF2B5EF4-FFF2-40B4-BE49-F238E27FC236}">
                        <a16:creationId xmlns:a16="http://schemas.microsoft.com/office/drawing/2014/main" id="{6B5848EA-C7F1-E764-F4F9-96E6A5ED06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4" name="Grafik 36">
                    <a:extLst>
                      <a:ext uri="{FF2B5EF4-FFF2-40B4-BE49-F238E27FC236}">
                        <a16:creationId xmlns:a16="http://schemas.microsoft.com/office/drawing/2014/main" id="{B3891213-BBC9-F6BB-1A02-BEEEDE99C7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5" name="Grafik 36">
                    <a:extLst>
                      <a:ext uri="{FF2B5EF4-FFF2-40B4-BE49-F238E27FC236}">
                        <a16:creationId xmlns:a16="http://schemas.microsoft.com/office/drawing/2014/main" id="{193267BC-6348-4836-00CF-222C9B457CD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8" name="Grafik 36">
                  <a:extLst>
                    <a:ext uri="{FF2B5EF4-FFF2-40B4-BE49-F238E27FC236}">
                      <a16:creationId xmlns:a16="http://schemas.microsoft.com/office/drawing/2014/main" id="{15FA678D-107E-AE59-583F-6946F894E9D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" name="Grafik 36">
                  <a:extLst>
                    <a:ext uri="{FF2B5EF4-FFF2-40B4-BE49-F238E27FC236}">
                      <a16:creationId xmlns:a16="http://schemas.microsoft.com/office/drawing/2014/main" id="{E0881BC3-E494-ABA7-6006-E9AAA8C5F095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" name="Grafik 36">
                    <a:extLst>
                      <a:ext uri="{FF2B5EF4-FFF2-40B4-BE49-F238E27FC236}">
                        <a16:creationId xmlns:a16="http://schemas.microsoft.com/office/drawing/2014/main" id="{3867A823-8E82-295E-55D5-C9B0B8E263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" name="Grafik 36">
                    <a:extLst>
                      <a:ext uri="{FF2B5EF4-FFF2-40B4-BE49-F238E27FC236}">
                        <a16:creationId xmlns:a16="http://schemas.microsoft.com/office/drawing/2014/main" id="{EEC07A72-288C-1CBD-B877-91769065DFC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2" name="Grafik 36">
                    <a:extLst>
                      <a:ext uri="{FF2B5EF4-FFF2-40B4-BE49-F238E27FC236}">
                        <a16:creationId xmlns:a16="http://schemas.microsoft.com/office/drawing/2014/main" id="{1D3EF0DF-A3FB-AFC0-800B-101442D605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30" name="Grafik 36">
            <a:extLst>
              <a:ext uri="{FF2B5EF4-FFF2-40B4-BE49-F238E27FC236}">
                <a16:creationId xmlns:a16="http://schemas.microsoft.com/office/drawing/2014/main" id="{7B98DE10-BA6B-3F18-160A-4E96FAC7BE4F}"/>
              </a:ext>
            </a:extLst>
          </p:cNvPr>
          <p:cNvGrpSpPr/>
          <p:nvPr/>
        </p:nvGrpSpPr>
        <p:grpSpPr bwMode="gray">
          <a:xfrm>
            <a:off x="6678324" y="3054600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1" name="Grafik 36">
              <a:extLst>
                <a:ext uri="{FF2B5EF4-FFF2-40B4-BE49-F238E27FC236}">
                  <a16:creationId xmlns:a16="http://schemas.microsoft.com/office/drawing/2014/main" id="{260ABF50-1ED2-70FD-3680-45F8EC5331F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3" name="Grafik 36">
                <a:extLst>
                  <a:ext uri="{FF2B5EF4-FFF2-40B4-BE49-F238E27FC236}">
                    <a16:creationId xmlns:a16="http://schemas.microsoft.com/office/drawing/2014/main" id="{39FAE70C-D762-AA34-F386-2ABB0E3300F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" name="Grafik 36">
                <a:extLst>
                  <a:ext uri="{FF2B5EF4-FFF2-40B4-BE49-F238E27FC236}">
                    <a16:creationId xmlns:a16="http://schemas.microsoft.com/office/drawing/2014/main" id="{4B582F0E-1B0F-A2D7-E439-A00F7A60EADA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" name="Grafik 36">
                <a:extLst>
                  <a:ext uri="{FF2B5EF4-FFF2-40B4-BE49-F238E27FC236}">
                    <a16:creationId xmlns:a16="http://schemas.microsoft.com/office/drawing/2014/main" id="{F4AE49D7-E0B9-CDC2-50F9-A643E7C66A2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" name="Grafik 36">
                <a:extLst>
                  <a:ext uri="{FF2B5EF4-FFF2-40B4-BE49-F238E27FC236}">
                    <a16:creationId xmlns:a16="http://schemas.microsoft.com/office/drawing/2014/main" id="{8736F197-893E-3CA2-43F8-8CB46E62E15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" name="Grafik 36">
                <a:extLst>
                  <a:ext uri="{FF2B5EF4-FFF2-40B4-BE49-F238E27FC236}">
                    <a16:creationId xmlns:a16="http://schemas.microsoft.com/office/drawing/2014/main" id="{91C0387A-C141-DC7B-2440-AB7FE42438B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2" name="Grafik 36">
              <a:extLst>
                <a:ext uri="{FF2B5EF4-FFF2-40B4-BE49-F238E27FC236}">
                  <a16:creationId xmlns:a16="http://schemas.microsoft.com/office/drawing/2014/main" id="{B5630AC5-295D-7977-A79B-C33ED4E27DAE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33" name="Grafik 36">
                <a:extLst>
                  <a:ext uri="{FF2B5EF4-FFF2-40B4-BE49-F238E27FC236}">
                    <a16:creationId xmlns:a16="http://schemas.microsoft.com/office/drawing/2014/main" id="{193A1E17-69C7-540D-81A3-47F03545A294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44" name="Grafik 36">
                  <a:extLst>
                    <a:ext uri="{FF2B5EF4-FFF2-40B4-BE49-F238E27FC236}">
                      <a16:creationId xmlns:a16="http://schemas.microsoft.com/office/drawing/2014/main" id="{BEE5A630-3A74-44A8-1B6B-5F3F885D6593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0" name="Grafik 36">
                    <a:extLst>
                      <a:ext uri="{FF2B5EF4-FFF2-40B4-BE49-F238E27FC236}">
                        <a16:creationId xmlns:a16="http://schemas.microsoft.com/office/drawing/2014/main" id="{8FC65B1E-C1B0-8075-3AC3-C18A033E1DC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1" name="Grafik 36">
                    <a:extLst>
                      <a:ext uri="{FF2B5EF4-FFF2-40B4-BE49-F238E27FC236}">
                        <a16:creationId xmlns:a16="http://schemas.microsoft.com/office/drawing/2014/main" id="{9FC42ED2-A45C-F38C-A35A-9B8BC26745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2" name="Grafik 36">
                    <a:extLst>
                      <a:ext uri="{FF2B5EF4-FFF2-40B4-BE49-F238E27FC236}">
                        <a16:creationId xmlns:a16="http://schemas.microsoft.com/office/drawing/2014/main" id="{DCD5F007-EB87-B3F7-E867-5814DBAEE8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45" name="Grafik 36">
                  <a:extLst>
                    <a:ext uri="{FF2B5EF4-FFF2-40B4-BE49-F238E27FC236}">
                      <a16:creationId xmlns:a16="http://schemas.microsoft.com/office/drawing/2014/main" id="{E44B291E-EF5A-26B9-B918-0F3FF072AF6F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46" name="Grafik 36">
                  <a:extLst>
                    <a:ext uri="{FF2B5EF4-FFF2-40B4-BE49-F238E27FC236}">
                      <a16:creationId xmlns:a16="http://schemas.microsoft.com/office/drawing/2014/main" id="{5BDE5659-4602-D378-64B4-B6F4DBB74EB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47" name="Grafik 36">
                    <a:extLst>
                      <a:ext uri="{FF2B5EF4-FFF2-40B4-BE49-F238E27FC236}">
                        <a16:creationId xmlns:a16="http://schemas.microsoft.com/office/drawing/2014/main" id="{980FDA1F-CBF5-89F1-2BBE-A1B85BA7FF8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8" name="Grafik 36">
                    <a:extLst>
                      <a:ext uri="{FF2B5EF4-FFF2-40B4-BE49-F238E27FC236}">
                        <a16:creationId xmlns:a16="http://schemas.microsoft.com/office/drawing/2014/main" id="{21568460-6E34-83D6-C875-BA44695AC9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9" name="Grafik 36">
                    <a:extLst>
                      <a:ext uri="{FF2B5EF4-FFF2-40B4-BE49-F238E27FC236}">
                        <a16:creationId xmlns:a16="http://schemas.microsoft.com/office/drawing/2014/main" id="{3779FFA0-6DA9-4139-5913-226B652833A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34" name="Grafik 36">
                <a:extLst>
                  <a:ext uri="{FF2B5EF4-FFF2-40B4-BE49-F238E27FC236}">
                    <a16:creationId xmlns:a16="http://schemas.microsoft.com/office/drawing/2014/main" id="{DA172792-4007-C661-01E7-3FDDFDC98B19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35" name="Grafik 36">
                  <a:extLst>
                    <a:ext uri="{FF2B5EF4-FFF2-40B4-BE49-F238E27FC236}">
                      <a16:creationId xmlns:a16="http://schemas.microsoft.com/office/drawing/2014/main" id="{1F2465CC-3481-9161-322F-D0ED441D3E7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41" name="Grafik 36">
                    <a:extLst>
                      <a:ext uri="{FF2B5EF4-FFF2-40B4-BE49-F238E27FC236}">
                        <a16:creationId xmlns:a16="http://schemas.microsoft.com/office/drawing/2014/main" id="{7DAB5559-FF58-9A3E-DCB7-786A0E31893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2" name="Grafik 36">
                    <a:extLst>
                      <a:ext uri="{FF2B5EF4-FFF2-40B4-BE49-F238E27FC236}">
                        <a16:creationId xmlns:a16="http://schemas.microsoft.com/office/drawing/2014/main" id="{371412AB-4268-F215-0D45-F974C96EE2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3" name="Grafik 36">
                    <a:extLst>
                      <a:ext uri="{FF2B5EF4-FFF2-40B4-BE49-F238E27FC236}">
                        <a16:creationId xmlns:a16="http://schemas.microsoft.com/office/drawing/2014/main" id="{A887B695-188C-C5CE-519F-0DA664508F0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6" name="Grafik 36">
                  <a:extLst>
                    <a:ext uri="{FF2B5EF4-FFF2-40B4-BE49-F238E27FC236}">
                      <a16:creationId xmlns:a16="http://schemas.microsoft.com/office/drawing/2014/main" id="{F57078A7-7598-43C8-5D06-515DF390BC69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7" name="Grafik 36">
                  <a:extLst>
                    <a:ext uri="{FF2B5EF4-FFF2-40B4-BE49-F238E27FC236}">
                      <a16:creationId xmlns:a16="http://schemas.microsoft.com/office/drawing/2014/main" id="{EDC50E29-B258-0F39-96F0-028E051BC92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38" name="Grafik 36">
                    <a:extLst>
                      <a:ext uri="{FF2B5EF4-FFF2-40B4-BE49-F238E27FC236}">
                        <a16:creationId xmlns:a16="http://schemas.microsoft.com/office/drawing/2014/main" id="{B559DBF9-AAD9-B1FF-DF1B-252EFD4899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" name="Grafik 36">
                    <a:extLst>
                      <a:ext uri="{FF2B5EF4-FFF2-40B4-BE49-F238E27FC236}">
                        <a16:creationId xmlns:a16="http://schemas.microsoft.com/office/drawing/2014/main" id="{52E2A1EB-A1FB-11AD-868A-AB23EECDA79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" name="Grafik 36">
                    <a:extLst>
                      <a:ext uri="{FF2B5EF4-FFF2-40B4-BE49-F238E27FC236}">
                        <a16:creationId xmlns:a16="http://schemas.microsoft.com/office/drawing/2014/main" id="{99FAE9A2-E85A-BF9D-16AF-F8E0D516C9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58" name="Grafik 36">
            <a:extLst>
              <a:ext uri="{FF2B5EF4-FFF2-40B4-BE49-F238E27FC236}">
                <a16:creationId xmlns:a16="http://schemas.microsoft.com/office/drawing/2014/main" id="{D273B681-88FF-0725-6A8D-1DD6F0981251}"/>
              </a:ext>
            </a:extLst>
          </p:cNvPr>
          <p:cNvGrpSpPr/>
          <p:nvPr/>
        </p:nvGrpSpPr>
        <p:grpSpPr bwMode="gray">
          <a:xfrm>
            <a:off x="4264726" y="3054600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9" name="Grafik 36">
              <a:extLst>
                <a:ext uri="{FF2B5EF4-FFF2-40B4-BE49-F238E27FC236}">
                  <a16:creationId xmlns:a16="http://schemas.microsoft.com/office/drawing/2014/main" id="{6843FEB7-4E19-046D-15DA-7A34C86B25BC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81" name="Grafik 36">
                <a:extLst>
                  <a:ext uri="{FF2B5EF4-FFF2-40B4-BE49-F238E27FC236}">
                    <a16:creationId xmlns:a16="http://schemas.microsoft.com/office/drawing/2014/main" id="{5666EF4C-E927-A969-A669-AB6184C81D0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2" name="Grafik 36">
                <a:extLst>
                  <a:ext uri="{FF2B5EF4-FFF2-40B4-BE49-F238E27FC236}">
                    <a16:creationId xmlns:a16="http://schemas.microsoft.com/office/drawing/2014/main" id="{82572A31-EA53-77A5-4E45-5D4817B067D8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3" name="Grafik 36">
                <a:extLst>
                  <a:ext uri="{FF2B5EF4-FFF2-40B4-BE49-F238E27FC236}">
                    <a16:creationId xmlns:a16="http://schemas.microsoft.com/office/drawing/2014/main" id="{56E5F77B-036C-94BF-C668-78879D9BBD6A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4" name="Grafik 36">
                <a:extLst>
                  <a:ext uri="{FF2B5EF4-FFF2-40B4-BE49-F238E27FC236}">
                    <a16:creationId xmlns:a16="http://schemas.microsoft.com/office/drawing/2014/main" id="{97211EED-D50F-DFDC-58F7-84A14D5AA540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5" name="Grafik 36">
                <a:extLst>
                  <a:ext uri="{FF2B5EF4-FFF2-40B4-BE49-F238E27FC236}">
                    <a16:creationId xmlns:a16="http://schemas.microsoft.com/office/drawing/2014/main" id="{EA70263D-A05C-6719-B9E5-736C8636FD2A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0" name="Grafik 36">
              <a:extLst>
                <a:ext uri="{FF2B5EF4-FFF2-40B4-BE49-F238E27FC236}">
                  <a16:creationId xmlns:a16="http://schemas.microsoft.com/office/drawing/2014/main" id="{E3A7EDBD-5C98-F676-24CE-BCFF4694BF3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1" name="Grafik 36">
                <a:extLst>
                  <a:ext uri="{FF2B5EF4-FFF2-40B4-BE49-F238E27FC236}">
                    <a16:creationId xmlns:a16="http://schemas.microsoft.com/office/drawing/2014/main" id="{5214F098-6528-9845-680B-9FE5EB95D183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72" name="Grafik 36">
                  <a:extLst>
                    <a:ext uri="{FF2B5EF4-FFF2-40B4-BE49-F238E27FC236}">
                      <a16:creationId xmlns:a16="http://schemas.microsoft.com/office/drawing/2014/main" id="{38F0A09C-3533-8961-B205-DF21352947D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78" name="Grafik 36">
                    <a:extLst>
                      <a:ext uri="{FF2B5EF4-FFF2-40B4-BE49-F238E27FC236}">
                        <a16:creationId xmlns:a16="http://schemas.microsoft.com/office/drawing/2014/main" id="{7BD8E13F-65BD-0542-6037-5E626CE33BF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9" name="Grafik 36">
                    <a:extLst>
                      <a:ext uri="{FF2B5EF4-FFF2-40B4-BE49-F238E27FC236}">
                        <a16:creationId xmlns:a16="http://schemas.microsoft.com/office/drawing/2014/main" id="{B5F9C382-13B8-2A09-E62D-4937678B8C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0" name="Grafik 36">
                    <a:extLst>
                      <a:ext uri="{FF2B5EF4-FFF2-40B4-BE49-F238E27FC236}">
                        <a16:creationId xmlns:a16="http://schemas.microsoft.com/office/drawing/2014/main" id="{09BED46A-C22D-6C79-C54D-75C3EA6E6D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73" name="Grafik 36">
                  <a:extLst>
                    <a:ext uri="{FF2B5EF4-FFF2-40B4-BE49-F238E27FC236}">
                      <a16:creationId xmlns:a16="http://schemas.microsoft.com/office/drawing/2014/main" id="{A23A0EC0-28EF-7FFD-E055-77A518B834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74" name="Grafik 36">
                  <a:extLst>
                    <a:ext uri="{FF2B5EF4-FFF2-40B4-BE49-F238E27FC236}">
                      <a16:creationId xmlns:a16="http://schemas.microsoft.com/office/drawing/2014/main" id="{8B1ED712-A870-7637-81E0-D73138FB3DB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75" name="Grafik 36">
                    <a:extLst>
                      <a:ext uri="{FF2B5EF4-FFF2-40B4-BE49-F238E27FC236}">
                        <a16:creationId xmlns:a16="http://schemas.microsoft.com/office/drawing/2014/main" id="{08BD3D67-1238-159E-CEB2-BA8FBB63FC9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6" name="Grafik 36">
                    <a:extLst>
                      <a:ext uri="{FF2B5EF4-FFF2-40B4-BE49-F238E27FC236}">
                        <a16:creationId xmlns:a16="http://schemas.microsoft.com/office/drawing/2014/main" id="{2A0FA4D4-6E58-FC30-74EC-788842057E7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7" name="Grafik 36">
                    <a:extLst>
                      <a:ext uri="{FF2B5EF4-FFF2-40B4-BE49-F238E27FC236}">
                        <a16:creationId xmlns:a16="http://schemas.microsoft.com/office/drawing/2014/main" id="{266DAB5B-62A2-A31F-1DBE-59145967D0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62" name="Grafik 36">
                <a:extLst>
                  <a:ext uri="{FF2B5EF4-FFF2-40B4-BE49-F238E27FC236}">
                    <a16:creationId xmlns:a16="http://schemas.microsoft.com/office/drawing/2014/main" id="{9E36C580-0CB4-80CF-9529-A57B34264390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3" name="Grafik 36">
                  <a:extLst>
                    <a:ext uri="{FF2B5EF4-FFF2-40B4-BE49-F238E27FC236}">
                      <a16:creationId xmlns:a16="http://schemas.microsoft.com/office/drawing/2014/main" id="{48DAA7BC-1E74-A93C-5B88-775915852E42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9" name="Grafik 36">
                    <a:extLst>
                      <a:ext uri="{FF2B5EF4-FFF2-40B4-BE49-F238E27FC236}">
                        <a16:creationId xmlns:a16="http://schemas.microsoft.com/office/drawing/2014/main" id="{AF7AFACF-A698-C9EF-0AAD-0D499E1374D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0" name="Grafik 36">
                    <a:extLst>
                      <a:ext uri="{FF2B5EF4-FFF2-40B4-BE49-F238E27FC236}">
                        <a16:creationId xmlns:a16="http://schemas.microsoft.com/office/drawing/2014/main" id="{979C7DB9-01B4-CA15-7290-3749279F05B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1" name="Grafik 36">
                    <a:extLst>
                      <a:ext uri="{FF2B5EF4-FFF2-40B4-BE49-F238E27FC236}">
                        <a16:creationId xmlns:a16="http://schemas.microsoft.com/office/drawing/2014/main" id="{08377C9A-DA6A-8C27-A7A7-41A74F7B4E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4" name="Grafik 36">
                  <a:extLst>
                    <a:ext uri="{FF2B5EF4-FFF2-40B4-BE49-F238E27FC236}">
                      <a16:creationId xmlns:a16="http://schemas.microsoft.com/office/drawing/2014/main" id="{8621A8F9-5A15-B54E-6497-6CA3799516E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5" name="Grafik 36">
                  <a:extLst>
                    <a:ext uri="{FF2B5EF4-FFF2-40B4-BE49-F238E27FC236}">
                      <a16:creationId xmlns:a16="http://schemas.microsoft.com/office/drawing/2014/main" id="{E882FA44-C59E-108C-50DC-2A4A0F5F4C2E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6" name="Grafik 36">
                    <a:extLst>
                      <a:ext uri="{FF2B5EF4-FFF2-40B4-BE49-F238E27FC236}">
                        <a16:creationId xmlns:a16="http://schemas.microsoft.com/office/drawing/2014/main" id="{2901A3C6-D082-7F18-712B-F7959FBC36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7" name="Grafik 36">
                    <a:extLst>
                      <a:ext uri="{FF2B5EF4-FFF2-40B4-BE49-F238E27FC236}">
                        <a16:creationId xmlns:a16="http://schemas.microsoft.com/office/drawing/2014/main" id="{4DC77579-2A1F-0D3F-7E13-52C8DB2C0A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8" name="Grafik 36">
                    <a:extLst>
                      <a:ext uri="{FF2B5EF4-FFF2-40B4-BE49-F238E27FC236}">
                        <a16:creationId xmlns:a16="http://schemas.microsoft.com/office/drawing/2014/main" id="{AF462BF6-DA64-9DC3-9E10-526A1A0729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86" name="Grafik 36">
            <a:extLst>
              <a:ext uri="{FF2B5EF4-FFF2-40B4-BE49-F238E27FC236}">
                <a16:creationId xmlns:a16="http://schemas.microsoft.com/office/drawing/2014/main" id="{DFCB4992-6541-C00C-3CA3-1FD7DBFAC33F}"/>
              </a:ext>
            </a:extLst>
          </p:cNvPr>
          <p:cNvGrpSpPr/>
          <p:nvPr/>
        </p:nvGrpSpPr>
        <p:grpSpPr bwMode="gray">
          <a:xfrm>
            <a:off x="3057927" y="3054600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87" name="Grafik 36">
              <a:extLst>
                <a:ext uri="{FF2B5EF4-FFF2-40B4-BE49-F238E27FC236}">
                  <a16:creationId xmlns:a16="http://schemas.microsoft.com/office/drawing/2014/main" id="{B57671CD-A443-3569-6713-7399DBE6ABC8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09" name="Grafik 36">
                <a:extLst>
                  <a:ext uri="{FF2B5EF4-FFF2-40B4-BE49-F238E27FC236}">
                    <a16:creationId xmlns:a16="http://schemas.microsoft.com/office/drawing/2014/main" id="{F80C6BB6-508A-430E-1F70-2EF40BAF829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0" name="Grafik 36">
                <a:extLst>
                  <a:ext uri="{FF2B5EF4-FFF2-40B4-BE49-F238E27FC236}">
                    <a16:creationId xmlns:a16="http://schemas.microsoft.com/office/drawing/2014/main" id="{19978C5D-0240-1928-FEA5-1AC9A253003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1" name="Grafik 36">
                <a:extLst>
                  <a:ext uri="{FF2B5EF4-FFF2-40B4-BE49-F238E27FC236}">
                    <a16:creationId xmlns:a16="http://schemas.microsoft.com/office/drawing/2014/main" id="{51B63E53-35E7-8465-8822-5D72F98DA926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2" name="Grafik 36">
                <a:extLst>
                  <a:ext uri="{FF2B5EF4-FFF2-40B4-BE49-F238E27FC236}">
                    <a16:creationId xmlns:a16="http://schemas.microsoft.com/office/drawing/2014/main" id="{D568D708-FCFF-EE76-AAFD-DDBA979051F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3" name="Grafik 36">
                <a:extLst>
                  <a:ext uri="{FF2B5EF4-FFF2-40B4-BE49-F238E27FC236}">
                    <a16:creationId xmlns:a16="http://schemas.microsoft.com/office/drawing/2014/main" id="{70367EC0-404B-00C3-BB48-21436589832C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8" name="Grafik 36">
              <a:extLst>
                <a:ext uri="{FF2B5EF4-FFF2-40B4-BE49-F238E27FC236}">
                  <a16:creationId xmlns:a16="http://schemas.microsoft.com/office/drawing/2014/main" id="{9332462F-283F-CE21-3F39-2058C4A8FE0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89" name="Grafik 36">
                <a:extLst>
                  <a:ext uri="{FF2B5EF4-FFF2-40B4-BE49-F238E27FC236}">
                    <a16:creationId xmlns:a16="http://schemas.microsoft.com/office/drawing/2014/main" id="{61286C00-5197-A02D-B3AE-0F5701A9590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00" name="Grafik 36">
                  <a:extLst>
                    <a:ext uri="{FF2B5EF4-FFF2-40B4-BE49-F238E27FC236}">
                      <a16:creationId xmlns:a16="http://schemas.microsoft.com/office/drawing/2014/main" id="{AB4C0396-FFA9-61D5-59A3-FEFF4808D91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06" name="Grafik 36">
                    <a:extLst>
                      <a:ext uri="{FF2B5EF4-FFF2-40B4-BE49-F238E27FC236}">
                        <a16:creationId xmlns:a16="http://schemas.microsoft.com/office/drawing/2014/main" id="{8BE4B477-158F-1A02-5C57-08862B90A08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7" name="Grafik 36">
                    <a:extLst>
                      <a:ext uri="{FF2B5EF4-FFF2-40B4-BE49-F238E27FC236}">
                        <a16:creationId xmlns:a16="http://schemas.microsoft.com/office/drawing/2014/main" id="{68D98760-88FE-96B3-CD99-02FABF50C3A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8" name="Grafik 36">
                    <a:extLst>
                      <a:ext uri="{FF2B5EF4-FFF2-40B4-BE49-F238E27FC236}">
                        <a16:creationId xmlns:a16="http://schemas.microsoft.com/office/drawing/2014/main" id="{FB666D6C-F46D-89F9-E712-6556C185E1B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01" name="Grafik 36">
                  <a:extLst>
                    <a:ext uri="{FF2B5EF4-FFF2-40B4-BE49-F238E27FC236}">
                      <a16:creationId xmlns:a16="http://schemas.microsoft.com/office/drawing/2014/main" id="{912C01E2-DA0F-821B-80BA-EBBBAEF7FB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102" name="Grafik 36">
                  <a:extLst>
                    <a:ext uri="{FF2B5EF4-FFF2-40B4-BE49-F238E27FC236}">
                      <a16:creationId xmlns:a16="http://schemas.microsoft.com/office/drawing/2014/main" id="{53E9A2CC-3929-3E5D-A752-7BCFF04311C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03" name="Grafik 36">
                    <a:extLst>
                      <a:ext uri="{FF2B5EF4-FFF2-40B4-BE49-F238E27FC236}">
                        <a16:creationId xmlns:a16="http://schemas.microsoft.com/office/drawing/2014/main" id="{E60F5659-C5E3-7356-909F-4FF48A9FA7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4" name="Grafik 36">
                    <a:extLst>
                      <a:ext uri="{FF2B5EF4-FFF2-40B4-BE49-F238E27FC236}">
                        <a16:creationId xmlns:a16="http://schemas.microsoft.com/office/drawing/2014/main" id="{CD07A5E6-3597-DDFE-995C-3EAF398C5E9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5" name="Grafik 36">
                    <a:extLst>
                      <a:ext uri="{FF2B5EF4-FFF2-40B4-BE49-F238E27FC236}">
                        <a16:creationId xmlns:a16="http://schemas.microsoft.com/office/drawing/2014/main" id="{C08B4C9A-1E2E-D4AE-9F79-7429844CF7C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90" name="Grafik 36">
                <a:extLst>
                  <a:ext uri="{FF2B5EF4-FFF2-40B4-BE49-F238E27FC236}">
                    <a16:creationId xmlns:a16="http://schemas.microsoft.com/office/drawing/2014/main" id="{4E3FA89C-0DE1-A9F1-82D3-45955AA1BC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1" name="Grafik 36">
                  <a:extLst>
                    <a:ext uri="{FF2B5EF4-FFF2-40B4-BE49-F238E27FC236}">
                      <a16:creationId xmlns:a16="http://schemas.microsoft.com/office/drawing/2014/main" id="{1FF76BBB-4AD9-6F3D-104E-F6CE2ED57CAE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7" name="Grafik 36">
                    <a:extLst>
                      <a:ext uri="{FF2B5EF4-FFF2-40B4-BE49-F238E27FC236}">
                        <a16:creationId xmlns:a16="http://schemas.microsoft.com/office/drawing/2014/main" id="{D6DC4521-2777-94C5-B0F3-C4C56779CD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8" name="Grafik 36">
                    <a:extLst>
                      <a:ext uri="{FF2B5EF4-FFF2-40B4-BE49-F238E27FC236}">
                        <a16:creationId xmlns:a16="http://schemas.microsoft.com/office/drawing/2014/main" id="{BD1E27B6-133A-488A-CFC3-46B04E5DC25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9" name="Grafik 36">
                    <a:extLst>
                      <a:ext uri="{FF2B5EF4-FFF2-40B4-BE49-F238E27FC236}">
                        <a16:creationId xmlns:a16="http://schemas.microsoft.com/office/drawing/2014/main" id="{78A616CB-25DD-4B07-E56E-2CEFD3D26C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92" name="Grafik 36">
                  <a:extLst>
                    <a:ext uri="{FF2B5EF4-FFF2-40B4-BE49-F238E27FC236}">
                      <a16:creationId xmlns:a16="http://schemas.microsoft.com/office/drawing/2014/main" id="{799495E2-6A60-0F56-05F6-474BF819134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3" name="Grafik 36">
                  <a:extLst>
                    <a:ext uri="{FF2B5EF4-FFF2-40B4-BE49-F238E27FC236}">
                      <a16:creationId xmlns:a16="http://schemas.microsoft.com/office/drawing/2014/main" id="{3BF26573-8F99-25C6-954C-6CA3153201B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4" name="Grafik 36">
                    <a:extLst>
                      <a:ext uri="{FF2B5EF4-FFF2-40B4-BE49-F238E27FC236}">
                        <a16:creationId xmlns:a16="http://schemas.microsoft.com/office/drawing/2014/main" id="{23D4C708-9C53-C1EE-B01D-7112CC6FAD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5" name="Grafik 36">
                    <a:extLst>
                      <a:ext uri="{FF2B5EF4-FFF2-40B4-BE49-F238E27FC236}">
                        <a16:creationId xmlns:a16="http://schemas.microsoft.com/office/drawing/2014/main" id="{58C499C9-40A2-944D-F946-508329BBCF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6" name="Grafik 36">
                    <a:extLst>
                      <a:ext uri="{FF2B5EF4-FFF2-40B4-BE49-F238E27FC236}">
                        <a16:creationId xmlns:a16="http://schemas.microsoft.com/office/drawing/2014/main" id="{B38B316D-5BFE-211D-7A58-2ABDB27E51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cxnSp>
        <p:nvCxnSpPr>
          <p:cNvPr id="210" name="Straight Connector 209">
            <a:extLst>
              <a:ext uri="{FF2B5EF4-FFF2-40B4-BE49-F238E27FC236}">
                <a16:creationId xmlns:a16="http://schemas.microsoft.com/office/drawing/2014/main" id="{F820D728-CFBB-064B-9D49-D6663B5D5F8D}"/>
              </a:ext>
            </a:extLst>
          </p:cNvPr>
          <p:cNvCxnSpPr>
            <a:cxnSpLocks/>
            <a:stCxn id="626" idx="5"/>
            <a:endCxn id="81" idx="9"/>
          </p:cNvCxnSpPr>
          <p:nvPr/>
        </p:nvCxnSpPr>
        <p:spPr>
          <a:xfrm flipV="1">
            <a:off x="3426127" y="3418307"/>
            <a:ext cx="849292" cy="87199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Straight Connector 212">
            <a:extLst>
              <a:ext uri="{FF2B5EF4-FFF2-40B4-BE49-F238E27FC236}">
                <a16:creationId xmlns:a16="http://schemas.microsoft.com/office/drawing/2014/main" id="{8F830562-19DC-7CC7-63B2-F9263867BFE3}"/>
              </a:ext>
            </a:extLst>
          </p:cNvPr>
          <p:cNvCxnSpPr>
            <a:cxnSpLocks/>
            <a:stCxn id="596" idx="12"/>
            <a:endCxn id="109" idx="10"/>
          </p:cNvCxnSpPr>
          <p:nvPr/>
        </p:nvCxnSpPr>
        <p:spPr>
          <a:xfrm flipH="1" flipV="1">
            <a:off x="3373159" y="3418307"/>
            <a:ext cx="897629" cy="922039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Straight Connector 215">
            <a:extLst>
              <a:ext uri="{FF2B5EF4-FFF2-40B4-BE49-F238E27FC236}">
                <a16:creationId xmlns:a16="http://schemas.microsoft.com/office/drawing/2014/main" id="{402A34BE-0B92-A0D0-189B-B09371A7EB9E}"/>
              </a:ext>
            </a:extLst>
          </p:cNvPr>
          <p:cNvCxnSpPr>
            <a:cxnSpLocks/>
          </p:cNvCxnSpPr>
          <p:nvPr/>
        </p:nvCxnSpPr>
        <p:spPr>
          <a:xfrm flipH="1" flipV="1">
            <a:off x="6846939" y="3418307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Straight Connector 218">
            <a:extLst>
              <a:ext uri="{FF2B5EF4-FFF2-40B4-BE49-F238E27FC236}">
                <a16:creationId xmlns:a16="http://schemas.microsoft.com/office/drawing/2014/main" id="{561AA80B-9FA6-DC88-212C-14884BCAF4E9}"/>
              </a:ext>
            </a:extLst>
          </p:cNvPr>
          <p:cNvCxnSpPr>
            <a:cxnSpLocks/>
          </p:cNvCxnSpPr>
          <p:nvPr/>
        </p:nvCxnSpPr>
        <p:spPr>
          <a:xfrm flipV="1">
            <a:off x="3388446" y="3246212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>
            <a:extLst>
              <a:ext uri="{FF2B5EF4-FFF2-40B4-BE49-F238E27FC236}">
                <a16:creationId xmlns:a16="http://schemas.microsoft.com/office/drawing/2014/main" id="{0571A5AB-9271-FA4D-A4D8-7E9C9DCF7AE7}"/>
              </a:ext>
            </a:extLst>
          </p:cNvPr>
          <p:cNvCxnSpPr>
            <a:cxnSpLocks/>
          </p:cNvCxnSpPr>
          <p:nvPr/>
        </p:nvCxnSpPr>
        <p:spPr>
          <a:xfrm flipV="1">
            <a:off x="4583073" y="3241650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>
            <a:extLst>
              <a:ext uri="{FF2B5EF4-FFF2-40B4-BE49-F238E27FC236}">
                <a16:creationId xmlns:a16="http://schemas.microsoft.com/office/drawing/2014/main" id="{34F824AB-9145-20EB-A948-1AE1A5EEAD29}"/>
              </a:ext>
            </a:extLst>
          </p:cNvPr>
          <p:cNvCxnSpPr>
            <a:cxnSpLocks/>
          </p:cNvCxnSpPr>
          <p:nvPr/>
        </p:nvCxnSpPr>
        <p:spPr>
          <a:xfrm flipV="1">
            <a:off x="5794192" y="3235966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TextBox 226">
            <a:extLst>
              <a:ext uri="{FF2B5EF4-FFF2-40B4-BE49-F238E27FC236}">
                <a16:creationId xmlns:a16="http://schemas.microsoft.com/office/drawing/2014/main" id="{9167C8CD-D6C7-EA29-004F-3911589C9108}"/>
              </a:ext>
            </a:extLst>
          </p:cNvPr>
          <p:cNvSpPr txBox="1"/>
          <p:nvPr/>
        </p:nvSpPr>
        <p:spPr>
          <a:xfrm>
            <a:off x="4189220" y="2709937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3</a:t>
            </a:r>
            <a:endParaRPr lang="en-DE" sz="1100" b="1" dirty="0"/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8EC6B962-6CC9-E1F1-B2EC-7F8ECEA9B52A}"/>
              </a:ext>
            </a:extLst>
          </p:cNvPr>
          <p:cNvSpPr txBox="1"/>
          <p:nvPr/>
        </p:nvSpPr>
        <p:spPr>
          <a:xfrm>
            <a:off x="5372399" y="2709937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5</a:t>
            </a:r>
            <a:endParaRPr lang="en-DE" sz="1100" b="1" dirty="0"/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5B761EC3-F8A9-6236-1697-5BE1EDE5E56E}"/>
              </a:ext>
            </a:extLst>
          </p:cNvPr>
          <p:cNvSpPr txBox="1"/>
          <p:nvPr/>
        </p:nvSpPr>
        <p:spPr>
          <a:xfrm>
            <a:off x="6604264" y="2709937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7</a:t>
            </a:r>
            <a:endParaRPr lang="en-DE" sz="1100" b="1" dirty="0"/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50B35E80-68C6-7240-F4E9-0516047948A2}"/>
              </a:ext>
            </a:extLst>
          </p:cNvPr>
          <p:cNvSpPr txBox="1"/>
          <p:nvPr/>
        </p:nvSpPr>
        <p:spPr>
          <a:xfrm>
            <a:off x="2957355" y="2709937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1</a:t>
            </a:r>
            <a:endParaRPr lang="en-DE" sz="1100" b="1" dirty="0"/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127FCC1C-A664-4811-ECA5-3ECCA08231D7}"/>
              </a:ext>
            </a:extLst>
          </p:cNvPr>
          <p:cNvSpPr txBox="1"/>
          <p:nvPr/>
        </p:nvSpPr>
        <p:spPr>
          <a:xfrm>
            <a:off x="2183461" y="3307819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265" name="TextBox 264">
            <a:extLst>
              <a:ext uri="{FF2B5EF4-FFF2-40B4-BE49-F238E27FC236}">
                <a16:creationId xmlns:a16="http://schemas.microsoft.com/office/drawing/2014/main" id="{8E527F25-F6A6-4804-5B00-AC63323FA955}"/>
              </a:ext>
            </a:extLst>
          </p:cNvPr>
          <p:cNvSpPr txBox="1"/>
          <p:nvPr/>
        </p:nvSpPr>
        <p:spPr>
          <a:xfrm>
            <a:off x="4570192" y="3049680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4</a:t>
            </a:r>
            <a:endParaRPr lang="en-DE" sz="900" dirty="0"/>
          </a:p>
        </p:txBody>
      </p:sp>
      <p:sp>
        <p:nvSpPr>
          <p:cNvPr id="267" name="TextBox 266">
            <a:extLst>
              <a:ext uri="{FF2B5EF4-FFF2-40B4-BE49-F238E27FC236}">
                <a16:creationId xmlns:a16="http://schemas.microsoft.com/office/drawing/2014/main" id="{AFFDEE78-1795-3C3F-29DC-B66DBF9D6D08}"/>
              </a:ext>
            </a:extLst>
          </p:cNvPr>
          <p:cNvSpPr txBox="1"/>
          <p:nvPr/>
        </p:nvSpPr>
        <p:spPr>
          <a:xfrm>
            <a:off x="2675214" y="3087122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sp>
        <p:nvSpPr>
          <p:cNvPr id="269" name="TextBox 268">
            <a:extLst>
              <a:ext uri="{FF2B5EF4-FFF2-40B4-BE49-F238E27FC236}">
                <a16:creationId xmlns:a16="http://schemas.microsoft.com/office/drawing/2014/main" id="{66099F02-B602-C7F4-07E9-B79A511A3ADE}"/>
              </a:ext>
            </a:extLst>
          </p:cNvPr>
          <p:cNvSpPr txBox="1"/>
          <p:nvPr/>
        </p:nvSpPr>
        <p:spPr>
          <a:xfrm>
            <a:off x="3944708" y="3063294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270" name="TextBox 269">
            <a:extLst>
              <a:ext uri="{FF2B5EF4-FFF2-40B4-BE49-F238E27FC236}">
                <a16:creationId xmlns:a16="http://schemas.microsoft.com/office/drawing/2014/main" id="{3511F1CC-CD7C-5D99-DA08-F1FAED7BBB5A}"/>
              </a:ext>
            </a:extLst>
          </p:cNvPr>
          <p:cNvSpPr txBox="1"/>
          <p:nvPr/>
        </p:nvSpPr>
        <p:spPr>
          <a:xfrm>
            <a:off x="5151223" y="3050636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4F274921-598A-C966-6F31-9541233A36F5}"/>
              </a:ext>
            </a:extLst>
          </p:cNvPr>
          <p:cNvSpPr txBox="1"/>
          <p:nvPr/>
        </p:nvSpPr>
        <p:spPr>
          <a:xfrm>
            <a:off x="6347207" y="3047290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272" name="TextBox 271">
            <a:extLst>
              <a:ext uri="{FF2B5EF4-FFF2-40B4-BE49-F238E27FC236}">
                <a16:creationId xmlns:a16="http://schemas.microsoft.com/office/drawing/2014/main" id="{DCAB84B2-8F4F-BFBF-873B-FC3F811FD8FC}"/>
              </a:ext>
            </a:extLst>
          </p:cNvPr>
          <p:cNvSpPr txBox="1"/>
          <p:nvPr/>
        </p:nvSpPr>
        <p:spPr>
          <a:xfrm>
            <a:off x="3376712" y="3315152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273" name="TextBox 272">
            <a:extLst>
              <a:ext uri="{FF2B5EF4-FFF2-40B4-BE49-F238E27FC236}">
                <a16:creationId xmlns:a16="http://schemas.microsoft.com/office/drawing/2014/main" id="{B175B2C6-ED17-C407-B13E-6AB283F49AD2}"/>
              </a:ext>
            </a:extLst>
          </p:cNvPr>
          <p:cNvSpPr txBox="1"/>
          <p:nvPr/>
        </p:nvSpPr>
        <p:spPr>
          <a:xfrm>
            <a:off x="3893543" y="3315152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274" name="TextBox 273">
            <a:extLst>
              <a:ext uri="{FF2B5EF4-FFF2-40B4-BE49-F238E27FC236}">
                <a16:creationId xmlns:a16="http://schemas.microsoft.com/office/drawing/2014/main" id="{73DCFA63-DE4B-28BE-7DDB-80A3EF2979BF}"/>
              </a:ext>
            </a:extLst>
          </p:cNvPr>
          <p:cNvSpPr txBox="1"/>
          <p:nvPr/>
        </p:nvSpPr>
        <p:spPr>
          <a:xfrm>
            <a:off x="5105689" y="3315152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275" name="TextBox 274">
            <a:extLst>
              <a:ext uri="{FF2B5EF4-FFF2-40B4-BE49-F238E27FC236}">
                <a16:creationId xmlns:a16="http://schemas.microsoft.com/office/drawing/2014/main" id="{30952B8B-FD14-E425-A142-CF3A4348B512}"/>
              </a:ext>
            </a:extLst>
          </p:cNvPr>
          <p:cNvSpPr txBox="1"/>
          <p:nvPr/>
        </p:nvSpPr>
        <p:spPr>
          <a:xfrm>
            <a:off x="6302235" y="3315152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276" name="TextBox 275">
            <a:extLst>
              <a:ext uri="{FF2B5EF4-FFF2-40B4-BE49-F238E27FC236}">
                <a16:creationId xmlns:a16="http://schemas.microsoft.com/office/drawing/2014/main" id="{C90B79AB-8822-B344-2626-F814C50976B4}"/>
              </a:ext>
            </a:extLst>
          </p:cNvPr>
          <p:cNvSpPr txBox="1"/>
          <p:nvPr/>
        </p:nvSpPr>
        <p:spPr>
          <a:xfrm>
            <a:off x="3355258" y="3073438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grpSp>
        <p:nvGrpSpPr>
          <p:cNvPr id="517" name="Grafik 36">
            <a:extLst>
              <a:ext uri="{FF2B5EF4-FFF2-40B4-BE49-F238E27FC236}">
                <a16:creationId xmlns:a16="http://schemas.microsoft.com/office/drawing/2014/main" id="{672B39B7-8196-2C3B-C1FD-B11F119AE3ED}"/>
              </a:ext>
            </a:extLst>
          </p:cNvPr>
          <p:cNvGrpSpPr/>
          <p:nvPr/>
        </p:nvGrpSpPr>
        <p:grpSpPr bwMode="gray">
          <a:xfrm>
            <a:off x="5466894" y="428117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18" name="Grafik 36">
              <a:extLst>
                <a:ext uri="{FF2B5EF4-FFF2-40B4-BE49-F238E27FC236}">
                  <a16:creationId xmlns:a16="http://schemas.microsoft.com/office/drawing/2014/main" id="{F36E510A-3D9C-A8D2-D44A-A9E5EB22BD3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40" name="Grafik 36">
                <a:extLst>
                  <a:ext uri="{FF2B5EF4-FFF2-40B4-BE49-F238E27FC236}">
                    <a16:creationId xmlns:a16="http://schemas.microsoft.com/office/drawing/2014/main" id="{6CC681B5-5438-C383-DF0F-517EB687C1D6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1" name="Grafik 36">
                <a:extLst>
                  <a:ext uri="{FF2B5EF4-FFF2-40B4-BE49-F238E27FC236}">
                    <a16:creationId xmlns:a16="http://schemas.microsoft.com/office/drawing/2014/main" id="{6B39D7B6-61F5-58FC-AA6A-4B7F39FE6F7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2" name="Grafik 36">
                <a:extLst>
                  <a:ext uri="{FF2B5EF4-FFF2-40B4-BE49-F238E27FC236}">
                    <a16:creationId xmlns:a16="http://schemas.microsoft.com/office/drawing/2014/main" id="{4F803F8A-5E3E-D66B-6C48-2B69F443C67C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3" name="Grafik 36">
                <a:extLst>
                  <a:ext uri="{FF2B5EF4-FFF2-40B4-BE49-F238E27FC236}">
                    <a16:creationId xmlns:a16="http://schemas.microsoft.com/office/drawing/2014/main" id="{9A7CBCC1-2550-36F8-8C39-1BF1BA7760BF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4" name="Grafik 36">
                <a:extLst>
                  <a:ext uri="{FF2B5EF4-FFF2-40B4-BE49-F238E27FC236}">
                    <a16:creationId xmlns:a16="http://schemas.microsoft.com/office/drawing/2014/main" id="{24FCE35C-C1B3-1872-A3B2-05E34AE019BF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19" name="Grafik 36">
              <a:extLst>
                <a:ext uri="{FF2B5EF4-FFF2-40B4-BE49-F238E27FC236}">
                  <a16:creationId xmlns:a16="http://schemas.microsoft.com/office/drawing/2014/main" id="{157C3313-D8EA-0FE0-F9CA-1C8A9AE7DAA8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20" name="Grafik 36">
                <a:extLst>
                  <a:ext uri="{FF2B5EF4-FFF2-40B4-BE49-F238E27FC236}">
                    <a16:creationId xmlns:a16="http://schemas.microsoft.com/office/drawing/2014/main" id="{BD89B017-8D68-B65A-6D6E-25A78849CC9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31" name="Grafik 36">
                  <a:extLst>
                    <a:ext uri="{FF2B5EF4-FFF2-40B4-BE49-F238E27FC236}">
                      <a16:creationId xmlns:a16="http://schemas.microsoft.com/office/drawing/2014/main" id="{10518FBD-7300-4F8F-3678-26FDA1F9FA5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37" name="Grafik 36">
                    <a:extLst>
                      <a:ext uri="{FF2B5EF4-FFF2-40B4-BE49-F238E27FC236}">
                        <a16:creationId xmlns:a16="http://schemas.microsoft.com/office/drawing/2014/main" id="{3F4C9600-EBE0-3DEC-67C9-C421C43A87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8" name="Grafik 36">
                    <a:extLst>
                      <a:ext uri="{FF2B5EF4-FFF2-40B4-BE49-F238E27FC236}">
                        <a16:creationId xmlns:a16="http://schemas.microsoft.com/office/drawing/2014/main" id="{379EC6C6-7E30-CF0B-9F01-86E086285D4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9" name="Grafik 36">
                    <a:extLst>
                      <a:ext uri="{FF2B5EF4-FFF2-40B4-BE49-F238E27FC236}">
                        <a16:creationId xmlns:a16="http://schemas.microsoft.com/office/drawing/2014/main" id="{2C7D9A7E-A8C0-756D-90FA-4216C15004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32" name="Grafik 36">
                  <a:extLst>
                    <a:ext uri="{FF2B5EF4-FFF2-40B4-BE49-F238E27FC236}">
                      <a16:creationId xmlns:a16="http://schemas.microsoft.com/office/drawing/2014/main" id="{6B3370BD-CB8C-0BEE-3CB6-C719E873C3E4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533" name="Grafik 36">
                  <a:extLst>
                    <a:ext uri="{FF2B5EF4-FFF2-40B4-BE49-F238E27FC236}">
                      <a16:creationId xmlns:a16="http://schemas.microsoft.com/office/drawing/2014/main" id="{2533D452-8BB1-0BD4-FE49-E7CC0769A186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34" name="Grafik 36">
                    <a:extLst>
                      <a:ext uri="{FF2B5EF4-FFF2-40B4-BE49-F238E27FC236}">
                        <a16:creationId xmlns:a16="http://schemas.microsoft.com/office/drawing/2014/main" id="{42A37C6D-C937-6A81-4F1E-2D05079641C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5" name="Grafik 36">
                    <a:extLst>
                      <a:ext uri="{FF2B5EF4-FFF2-40B4-BE49-F238E27FC236}">
                        <a16:creationId xmlns:a16="http://schemas.microsoft.com/office/drawing/2014/main" id="{73E7F891-E6F6-8ADF-825C-864630299A7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6" name="Grafik 36">
                    <a:extLst>
                      <a:ext uri="{FF2B5EF4-FFF2-40B4-BE49-F238E27FC236}">
                        <a16:creationId xmlns:a16="http://schemas.microsoft.com/office/drawing/2014/main" id="{5390B35F-8ACF-80E6-711F-3BC0B94EA58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521" name="Grafik 36">
                <a:extLst>
                  <a:ext uri="{FF2B5EF4-FFF2-40B4-BE49-F238E27FC236}">
                    <a16:creationId xmlns:a16="http://schemas.microsoft.com/office/drawing/2014/main" id="{80C7B8A7-6936-7B3A-B991-8D7C5836F828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22" name="Grafik 36">
                  <a:extLst>
                    <a:ext uri="{FF2B5EF4-FFF2-40B4-BE49-F238E27FC236}">
                      <a16:creationId xmlns:a16="http://schemas.microsoft.com/office/drawing/2014/main" id="{50C14ABC-967C-888E-3656-89F7EEB74C61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28" name="Grafik 36">
                    <a:extLst>
                      <a:ext uri="{FF2B5EF4-FFF2-40B4-BE49-F238E27FC236}">
                        <a16:creationId xmlns:a16="http://schemas.microsoft.com/office/drawing/2014/main" id="{120D460F-0A7A-DE70-05CD-18E1321C66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29" name="Grafik 36">
                    <a:extLst>
                      <a:ext uri="{FF2B5EF4-FFF2-40B4-BE49-F238E27FC236}">
                        <a16:creationId xmlns:a16="http://schemas.microsoft.com/office/drawing/2014/main" id="{A3FD546D-E061-B486-E457-0AFB82DCC01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0" name="Grafik 36">
                    <a:extLst>
                      <a:ext uri="{FF2B5EF4-FFF2-40B4-BE49-F238E27FC236}">
                        <a16:creationId xmlns:a16="http://schemas.microsoft.com/office/drawing/2014/main" id="{4FB3F588-BCAA-B716-8FBE-A7974CAF811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23" name="Grafik 36">
                  <a:extLst>
                    <a:ext uri="{FF2B5EF4-FFF2-40B4-BE49-F238E27FC236}">
                      <a16:creationId xmlns:a16="http://schemas.microsoft.com/office/drawing/2014/main" id="{F49436FE-60B4-5BB7-244C-F177AE4123CF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24" name="Grafik 36">
                  <a:extLst>
                    <a:ext uri="{FF2B5EF4-FFF2-40B4-BE49-F238E27FC236}">
                      <a16:creationId xmlns:a16="http://schemas.microsoft.com/office/drawing/2014/main" id="{CB555BAA-93FC-9FEF-BB5A-C882D08DD84B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25" name="Grafik 36">
                    <a:extLst>
                      <a:ext uri="{FF2B5EF4-FFF2-40B4-BE49-F238E27FC236}">
                        <a16:creationId xmlns:a16="http://schemas.microsoft.com/office/drawing/2014/main" id="{07EE4157-8794-CD2F-77C8-F09E96AF117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26" name="Grafik 36">
                    <a:extLst>
                      <a:ext uri="{FF2B5EF4-FFF2-40B4-BE49-F238E27FC236}">
                        <a16:creationId xmlns:a16="http://schemas.microsoft.com/office/drawing/2014/main" id="{04119073-3A84-E776-7169-9A66D8245C0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27" name="Grafik 36">
                    <a:extLst>
                      <a:ext uri="{FF2B5EF4-FFF2-40B4-BE49-F238E27FC236}">
                        <a16:creationId xmlns:a16="http://schemas.microsoft.com/office/drawing/2014/main" id="{17173D03-2D53-0EE2-DF89-028D596ED7B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545" name="Grafik 36">
            <a:extLst>
              <a:ext uri="{FF2B5EF4-FFF2-40B4-BE49-F238E27FC236}">
                <a16:creationId xmlns:a16="http://schemas.microsoft.com/office/drawing/2014/main" id="{5BBE4158-017D-954A-C2D8-5CF14641AE92}"/>
              </a:ext>
            </a:extLst>
          </p:cNvPr>
          <p:cNvGrpSpPr/>
          <p:nvPr/>
        </p:nvGrpSpPr>
        <p:grpSpPr bwMode="gray">
          <a:xfrm>
            <a:off x="6673693" y="428117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46" name="Grafik 36">
              <a:extLst>
                <a:ext uri="{FF2B5EF4-FFF2-40B4-BE49-F238E27FC236}">
                  <a16:creationId xmlns:a16="http://schemas.microsoft.com/office/drawing/2014/main" id="{7C4C3A49-B317-4AE4-AF60-C1172A53F670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68" name="Grafik 36">
                <a:extLst>
                  <a:ext uri="{FF2B5EF4-FFF2-40B4-BE49-F238E27FC236}">
                    <a16:creationId xmlns:a16="http://schemas.microsoft.com/office/drawing/2014/main" id="{0D4CE03A-41D2-5D32-9009-1D0BBFC9021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9" name="Grafik 36">
                <a:extLst>
                  <a:ext uri="{FF2B5EF4-FFF2-40B4-BE49-F238E27FC236}">
                    <a16:creationId xmlns:a16="http://schemas.microsoft.com/office/drawing/2014/main" id="{F44410D3-1BA0-DFF8-9B9C-2C43A9836CF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0" name="Grafik 36">
                <a:extLst>
                  <a:ext uri="{FF2B5EF4-FFF2-40B4-BE49-F238E27FC236}">
                    <a16:creationId xmlns:a16="http://schemas.microsoft.com/office/drawing/2014/main" id="{F00CB2BD-5961-6C2E-7773-68F8F7B2E33B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1" name="Grafik 36">
                <a:extLst>
                  <a:ext uri="{FF2B5EF4-FFF2-40B4-BE49-F238E27FC236}">
                    <a16:creationId xmlns:a16="http://schemas.microsoft.com/office/drawing/2014/main" id="{732E0D6E-4A70-BB5F-F5D5-85D9610DDF9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2" name="Grafik 36">
                <a:extLst>
                  <a:ext uri="{FF2B5EF4-FFF2-40B4-BE49-F238E27FC236}">
                    <a16:creationId xmlns:a16="http://schemas.microsoft.com/office/drawing/2014/main" id="{27815954-BE29-9EF1-CA58-57B01A69988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47" name="Grafik 36">
              <a:extLst>
                <a:ext uri="{FF2B5EF4-FFF2-40B4-BE49-F238E27FC236}">
                  <a16:creationId xmlns:a16="http://schemas.microsoft.com/office/drawing/2014/main" id="{5AC5CBE1-B272-7A35-89B0-73D7215D9191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48" name="Grafik 36">
                <a:extLst>
                  <a:ext uri="{FF2B5EF4-FFF2-40B4-BE49-F238E27FC236}">
                    <a16:creationId xmlns:a16="http://schemas.microsoft.com/office/drawing/2014/main" id="{94E7600C-2E5A-7F72-D0CD-43C79C43F9F0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59" name="Grafik 36">
                  <a:extLst>
                    <a:ext uri="{FF2B5EF4-FFF2-40B4-BE49-F238E27FC236}">
                      <a16:creationId xmlns:a16="http://schemas.microsoft.com/office/drawing/2014/main" id="{EA113EAD-A9D9-815C-5FEE-FD8010FDFF5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65" name="Grafik 36">
                    <a:extLst>
                      <a:ext uri="{FF2B5EF4-FFF2-40B4-BE49-F238E27FC236}">
                        <a16:creationId xmlns:a16="http://schemas.microsoft.com/office/drawing/2014/main" id="{42C8A170-9277-E9F8-00B4-0B77F8040C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66" name="Grafik 36">
                    <a:extLst>
                      <a:ext uri="{FF2B5EF4-FFF2-40B4-BE49-F238E27FC236}">
                        <a16:creationId xmlns:a16="http://schemas.microsoft.com/office/drawing/2014/main" id="{EB727C68-108A-2185-EFBC-DF698B6B67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67" name="Grafik 36">
                    <a:extLst>
                      <a:ext uri="{FF2B5EF4-FFF2-40B4-BE49-F238E27FC236}">
                        <a16:creationId xmlns:a16="http://schemas.microsoft.com/office/drawing/2014/main" id="{4C374CC8-2033-A665-427E-205C73E950F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60" name="Grafik 36">
                  <a:extLst>
                    <a:ext uri="{FF2B5EF4-FFF2-40B4-BE49-F238E27FC236}">
                      <a16:creationId xmlns:a16="http://schemas.microsoft.com/office/drawing/2014/main" id="{2F9AABD1-92F3-EFC3-9877-67074AC9C7C2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561" name="Grafik 36">
                  <a:extLst>
                    <a:ext uri="{FF2B5EF4-FFF2-40B4-BE49-F238E27FC236}">
                      <a16:creationId xmlns:a16="http://schemas.microsoft.com/office/drawing/2014/main" id="{4E1098FB-3084-5D1E-B495-77A9447A702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62" name="Grafik 36">
                    <a:extLst>
                      <a:ext uri="{FF2B5EF4-FFF2-40B4-BE49-F238E27FC236}">
                        <a16:creationId xmlns:a16="http://schemas.microsoft.com/office/drawing/2014/main" id="{0F6A61D9-EE04-CF51-31B7-B057BD8DA76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63" name="Grafik 36">
                    <a:extLst>
                      <a:ext uri="{FF2B5EF4-FFF2-40B4-BE49-F238E27FC236}">
                        <a16:creationId xmlns:a16="http://schemas.microsoft.com/office/drawing/2014/main" id="{D698D980-C0F2-3EED-EE5D-22AB05BB034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64" name="Grafik 36">
                    <a:extLst>
                      <a:ext uri="{FF2B5EF4-FFF2-40B4-BE49-F238E27FC236}">
                        <a16:creationId xmlns:a16="http://schemas.microsoft.com/office/drawing/2014/main" id="{85348513-94C5-23CD-783D-7AF42215CCA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549" name="Grafik 36">
                <a:extLst>
                  <a:ext uri="{FF2B5EF4-FFF2-40B4-BE49-F238E27FC236}">
                    <a16:creationId xmlns:a16="http://schemas.microsoft.com/office/drawing/2014/main" id="{B693A4C5-7EA1-225E-6AB2-781AE3A32740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50" name="Grafik 36">
                  <a:extLst>
                    <a:ext uri="{FF2B5EF4-FFF2-40B4-BE49-F238E27FC236}">
                      <a16:creationId xmlns:a16="http://schemas.microsoft.com/office/drawing/2014/main" id="{8E06D6AB-01F9-2B7A-81BF-FC850A385C7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56" name="Grafik 36">
                    <a:extLst>
                      <a:ext uri="{FF2B5EF4-FFF2-40B4-BE49-F238E27FC236}">
                        <a16:creationId xmlns:a16="http://schemas.microsoft.com/office/drawing/2014/main" id="{189A8E5E-5DFF-5581-04F3-7D64BD24EA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57" name="Grafik 36">
                    <a:extLst>
                      <a:ext uri="{FF2B5EF4-FFF2-40B4-BE49-F238E27FC236}">
                        <a16:creationId xmlns:a16="http://schemas.microsoft.com/office/drawing/2014/main" id="{1AB67DB4-F7DB-FD41-F350-0087E89F9D0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58" name="Grafik 36">
                    <a:extLst>
                      <a:ext uri="{FF2B5EF4-FFF2-40B4-BE49-F238E27FC236}">
                        <a16:creationId xmlns:a16="http://schemas.microsoft.com/office/drawing/2014/main" id="{C6C02F76-50CB-6FDB-0FBD-09EC2DA6443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51" name="Grafik 36">
                  <a:extLst>
                    <a:ext uri="{FF2B5EF4-FFF2-40B4-BE49-F238E27FC236}">
                      <a16:creationId xmlns:a16="http://schemas.microsoft.com/office/drawing/2014/main" id="{EA708937-3114-930A-2C3F-B71D3251DCF3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52" name="Grafik 36">
                  <a:extLst>
                    <a:ext uri="{FF2B5EF4-FFF2-40B4-BE49-F238E27FC236}">
                      <a16:creationId xmlns:a16="http://schemas.microsoft.com/office/drawing/2014/main" id="{AF16D011-2170-61B6-0944-844F2D3C1D7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53" name="Grafik 36">
                    <a:extLst>
                      <a:ext uri="{FF2B5EF4-FFF2-40B4-BE49-F238E27FC236}">
                        <a16:creationId xmlns:a16="http://schemas.microsoft.com/office/drawing/2014/main" id="{0FC38060-E62B-8993-71B6-400AD04B2A6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54" name="Grafik 36">
                    <a:extLst>
                      <a:ext uri="{FF2B5EF4-FFF2-40B4-BE49-F238E27FC236}">
                        <a16:creationId xmlns:a16="http://schemas.microsoft.com/office/drawing/2014/main" id="{02A62990-291A-BBF5-6567-854C65929A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55" name="Grafik 36">
                    <a:extLst>
                      <a:ext uri="{FF2B5EF4-FFF2-40B4-BE49-F238E27FC236}">
                        <a16:creationId xmlns:a16="http://schemas.microsoft.com/office/drawing/2014/main" id="{BF50F6B0-551E-64E1-FAEA-E47033FE8C4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573" name="Grafik 36">
            <a:extLst>
              <a:ext uri="{FF2B5EF4-FFF2-40B4-BE49-F238E27FC236}">
                <a16:creationId xmlns:a16="http://schemas.microsoft.com/office/drawing/2014/main" id="{3BA6AB2D-830F-5EAC-A6B2-1497FCFFB9EB}"/>
              </a:ext>
            </a:extLst>
          </p:cNvPr>
          <p:cNvGrpSpPr/>
          <p:nvPr/>
        </p:nvGrpSpPr>
        <p:grpSpPr bwMode="gray">
          <a:xfrm>
            <a:off x="4260095" y="428117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74" name="Grafik 36">
              <a:extLst>
                <a:ext uri="{FF2B5EF4-FFF2-40B4-BE49-F238E27FC236}">
                  <a16:creationId xmlns:a16="http://schemas.microsoft.com/office/drawing/2014/main" id="{5810AA60-EDA2-11A6-B103-A6E4E6126BE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96" name="Grafik 36">
                <a:extLst>
                  <a:ext uri="{FF2B5EF4-FFF2-40B4-BE49-F238E27FC236}">
                    <a16:creationId xmlns:a16="http://schemas.microsoft.com/office/drawing/2014/main" id="{FFDD175E-E1D1-C763-C1A8-65EBFDEB30A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7" name="Grafik 36">
                <a:extLst>
                  <a:ext uri="{FF2B5EF4-FFF2-40B4-BE49-F238E27FC236}">
                    <a16:creationId xmlns:a16="http://schemas.microsoft.com/office/drawing/2014/main" id="{FB41B439-CF3D-1CC1-50BA-283C306E5937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8" name="Grafik 36">
                <a:extLst>
                  <a:ext uri="{FF2B5EF4-FFF2-40B4-BE49-F238E27FC236}">
                    <a16:creationId xmlns:a16="http://schemas.microsoft.com/office/drawing/2014/main" id="{7B86C912-3C07-E8CF-7E94-38F82E6B508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9" name="Grafik 36">
                <a:extLst>
                  <a:ext uri="{FF2B5EF4-FFF2-40B4-BE49-F238E27FC236}">
                    <a16:creationId xmlns:a16="http://schemas.microsoft.com/office/drawing/2014/main" id="{8CCF4820-82D2-0400-419D-9380E315C7B5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0" name="Grafik 36">
                <a:extLst>
                  <a:ext uri="{FF2B5EF4-FFF2-40B4-BE49-F238E27FC236}">
                    <a16:creationId xmlns:a16="http://schemas.microsoft.com/office/drawing/2014/main" id="{AA2DECC7-3AC7-B74D-1300-09F48C6670A5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75" name="Grafik 36">
              <a:extLst>
                <a:ext uri="{FF2B5EF4-FFF2-40B4-BE49-F238E27FC236}">
                  <a16:creationId xmlns:a16="http://schemas.microsoft.com/office/drawing/2014/main" id="{E61DD48B-CCBD-D135-B865-AC011B6E403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76" name="Grafik 36">
                <a:extLst>
                  <a:ext uri="{FF2B5EF4-FFF2-40B4-BE49-F238E27FC236}">
                    <a16:creationId xmlns:a16="http://schemas.microsoft.com/office/drawing/2014/main" id="{EEF2206D-9763-4F89-B282-570B3A256705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87" name="Grafik 36">
                  <a:extLst>
                    <a:ext uri="{FF2B5EF4-FFF2-40B4-BE49-F238E27FC236}">
                      <a16:creationId xmlns:a16="http://schemas.microsoft.com/office/drawing/2014/main" id="{7459C37B-4A1A-D62F-E8D0-BF133268397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93" name="Grafik 36">
                    <a:extLst>
                      <a:ext uri="{FF2B5EF4-FFF2-40B4-BE49-F238E27FC236}">
                        <a16:creationId xmlns:a16="http://schemas.microsoft.com/office/drawing/2014/main" id="{77D342CC-31EA-6083-4827-4A95919562F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94" name="Grafik 36">
                    <a:extLst>
                      <a:ext uri="{FF2B5EF4-FFF2-40B4-BE49-F238E27FC236}">
                        <a16:creationId xmlns:a16="http://schemas.microsoft.com/office/drawing/2014/main" id="{76AA2B5E-D745-BF28-379A-48C0F0691DE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95" name="Grafik 36">
                    <a:extLst>
                      <a:ext uri="{FF2B5EF4-FFF2-40B4-BE49-F238E27FC236}">
                        <a16:creationId xmlns:a16="http://schemas.microsoft.com/office/drawing/2014/main" id="{16E1F35C-1FC1-561D-9442-34470782E03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88" name="Grafik 36">
                  <a:extLst>
                    <a:ext uri="{FF2B5EF4-FFF2-40B4-BE49-F238E27FC236}">
                      <a16:creationId xmlns:a16="http://schemas.microsoft.com/office/drawing/2014/main" id="{E50CB740-09D1-FBB8-1F21-7F8A3AB3259A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589" name="Grafik 36">
                  <a:extLst>
                    <a:ext uri="{FF2B5EF4-FFF2-40B4-BE49-F238E27FC236}">
                      <a16:creationId xmlns:a16="http://schemas.microsoft.com/office/drawing/2014/main" id="{424D286B-F09C-46BA-A2FA-838B690DA44D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90" name="Grafik 36">
                    <a:extLst>
                      <a:ext uri="{FF2B5EF4-FFF2-40B4-BE49-F238E27FC236}">
                        <a16:creationId xmlns:a16="http://schemas.microsoft.com/office/drawing/2014/main" id="{AE5A703A-24C2-7AEC-A32E-B4006191852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91" name="Grafik 36">
                    <a:extLst>
                      <a:ext uri="{FF2B5EF4-FFF2-40B4-BE49-F238E27FC236}">
                        <a16:creationId xmlns:a16="http://schemas.microsoft.com/office/drawing/2014/main" id="{77B2424C-81B0-12F4-06AC-A09B8D2B77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92" name="Grafik 36">
                    <a:extLst>
                      <a:ext uri="{FF2B5EF4-FFF2-40B4-BE49-F238E27FC236}">
                        <a16:creationId xmlns:a16="http://schemas.microsoft.com/office/drawing/2014/main" id="{6F63C714-2861-900E-91B8-543B57F8C1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577" name="Grafik 36">
                <a:extLst>
                  <a:ext uri="{FF2B5EF4-FFF2-40B4-BE49-F238E27FC236}">
                    <a16:creationId xmlns:a16="http://schemas.microsoft.com/office/drawing/2014/main" id="{107C5149-1059-0E55-326B-A4E98C58626B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78" name="Grafik 36">
                  <a:extLst>
                    <a:ext uri="{FF2B5EF4-FFF2-40B4-BE49-F238E27FC236}">
                      <a16:creationId xmlns:a16="http://schemas.microsoft.com/office/drawing/2014/main" id="{5AAF09D9-B544-4181-D4E0-5819B91F07A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84" name="Grafik 36">
                    <a:extLst>
                      <a:ext uri="{FF2B5EF4-FFF2-40B4-BE49-F238E27FC236}">
                        <a16:creationId xmlns:a16="http://schemas.microsoft.com/office/drawing/2014/main" id="{D5E5AC09-C38B-8094-06EC-C6737E31EAE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85" name="Grafik 36">
                    <a:extLst>
                      <a:ext uri="{FF2B5EF4-FFF2-40B4-BE49-F238E27FC236}">
                        <a16:creationId xmlns:a16="http://schemas.microsoft.com/office/drawing/2014/main" id="{3631713F-8FF1-A1A8-04A4-EF41AA2C0B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86" name="Grafik 36">
                    <a:extLst>
                      <a:ext uri="{FF2B5EF4-FFF2-40B4-BE49-F238E27FC236}">
                        <a16:creationId xmlns:a16="http://schemas.microsoft.com/office/drawing/2014/main" id="{836A4991-B159-6905-CCEE-0F4EF127325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79" name="Grafik 36">
                  <a:extLst>
                    <a:ext uri="{FF2B5EF4-FFF2-40B4-BE49-F238E27FC236}">
                      <a16:creationId xmlns:a16="http://schemas.microsoft.com/office/drawing/2014/main" id="{C3B7B972-A79B-7D45-0BFF-E07131648236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80" name="Grafik 36">
                  <a:extLst>
                    <a:ext uri="{FF2B5EF4-FFF2-40B4-BE49-F238E27FC236}">
                      <a16:creationId xmlns:a16="http://schemas.microsoft.com/office/drawing/2014/main" id="{67BAB84A-48BB-3F13-F8B5-08273C450FC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81" name="Grafik 36">
                    <a:extLst>
                      <a:ext uri="{FF2B5EF4-FFF2-40B4-BE49-F238E27FC236}">
                        <a16:creationId xmlns:a16="http://schemas.microsoft.com/office/drawing/2014/main" id="{A9B7A058-624D-0F65-791A-A7B663D325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82" name="Grafik 36">
                    <a:extLst>
                      <a:ext uri="{FF2B5EF4-FFF2-40B4-BE49-F238E27FC236}">
                        <a16:creationId xmlns:a16="http://schemas.microsoft.com/office/drawing/2014/main" id="{EA08AE1F-3A23-07BE-2105-9F22179E0AE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83" name="Grafik 36">
                    <a:extLst>
                      <a:ext uri="{FF2B5EF4-FFF2-40B4-BE49-F238E27FC236}">
                        <a16:creationId xmlns:a16="http://schemas.microsoft.com/office/drawing/2014/main" id="{5D371CFB-EBE1-87A5-1953-9151175D81F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601" name="Grafik 36">
            <a:extLst>
              <a:ext uri="{FF2B5EF4-FFF2-40B4-BE49-F238E27FC236}">
                <a16:creationId xmlns:a16="http://schemas.microsoft.com/office/drawing/2014/main" id="{BAE344F6-BF66-AB03-63BB-89A9B9B988EA}"/>
              </a:ext>
            </a:extLst>
          </p:cNvPr>
          <p:cNvGrpSpPr/>
          <p:nvPr/>
        </p:nvGrpSpPr>
        <p:grpSpPr bwMode="gray">
          <a:xfrm>
            <a:off x="3053296" y="428117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02" name="Grafik 36">
              <a:extLst>
                <a:ext uri="{FF2B5EF4-FFF2-40B4-BE49-F238E27FC236}">
                  <a16:creationId xmlns:a16="http://schemas.microsoft.com/office/drawing/2014/main" id="{4F6A3F14-5808-D52E-745F-81856AE5E57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624" name="Grafik 36">
                <a:extLst>
                  <a:ext uri="{FF2B5EF4-FFF2-40B4-BE49-F238E27FC236}">
                    <a16:creationId xmlns:a16="http://schemas.microsoft.com/office/drawing/2014/main" id="{373E2E7D-96F1-237A-5A8B-A5424658C0BE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5" name="Grafik 36">
                <a:extLst>
                  <a:ext uri="{FF2B5EF4-FFF2-40B4-BE49-F238E27FC236}">
                    <a16:creationId xmlns:a16="http://schemas.microsoft.com/office/drawing/2014/main" id="{D548A85A-EC7A-899A-237C-750804CDC76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6" name="Grafik 36">
                <a:extLst>
                  <a:ext uri="{FF2B5EF4-FFF2-40B4-BE49-F238E27FC236}">
                    <a16:creationId xmlns:a16="http://schemas.microsoft.com/office/drawing/2014/main" id="{2C5EA7A0-D276-6462-F307-0F551F283ACC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7" name="Grafik 36">
                <a:extLst>
                  <a:ext uri="{FF2B5EF4-FFF2-40B4-BE49-F238E27FC236}">
                    <a16:creationId xmlns:a16="http://schemas.microsoft.com/office/drawing/2014/main" id="{4561C7EF-BC8F-CE5A-E69E-20412D373F8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8" name="Grafik 36">
                <a:extLst>
                  <a:ext uri="{FF2B5EF4-FFF2-40B4-BE49-F238E27FC236}">
                    <a16:creationId xmlns:a16="http://schemas.microsoft.com/office/drawing/2014/main" id="{F844355A-F8B1-034C-1B95-444FEF09B7A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03" name="Grafik 36">
              <a:extLst>
                <a:ext uri="{FF2B5EF4-FFF2-40B4-BE49-F238E27FC236}">
                  <a16:creationId xmlns:a16="http://schemas.microsoft.com/office/drawing/2014/main" id="{5F5F33A2-6F94-C499-F11D-1B0C811C1109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04" name="Grafik 36">
                <a:extLst>
                  <a:ext uri="{FF2B5EF4-FFF2-40B4-BE49-F238E27FC236}">
                    <a16:creationId xmlns:a16="http://schemas.microsoft.com/office/drawing/2014/main" id="{47A80579-2135-376D-7E9E-D10E56D8B768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615" name="Grafik 36">
                  <a:extLst>
                    <a:ext uri="{FF2B5EF4-FFF2-40B4-BE49-F238E27FC236}">
                      <a16:creationId xmlns:a16="http://schemas.microsoft.com/office/drawing/2014/main" id="{5A576D1A-CAC3-8A0F-D887-57706B471A7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621" name="Grafik 36">
                    <a:extLst>
                      <a:ext uri="{FF2B5EF4-FFF2-40B4-BE49-F238E27FC236}">
                        <a16:creationId xmlns:a16="http://schemas.microsoft.com/office/drawing/2014/main" id="{1AA6C6B4-4B85-D1FC-FF57-90F04009B49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2" name="Grafik 36">
                    <a:extLst>
                      <a:ext uri="{FF2B5EF4-FFF2-40B4-BE49-F238E27FC236}">
                        <a16:creationId xmlns:a16="http://schemas.microsoft.com/office/drawing/2014/main" id="{ED4BFF20-342B-0BE4-090C-87259B68004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3" name="Grafik 36">
                    <a:extLst>
                      <a:ext uri="{FF2B5EF4-FFF2-40B4-BE49-F238E27FC236}">
                        <a16:creationId xmlns:a16="http://schemas.microsoft.com/office/drawing/2014/main" id="{321C98AF-DD7F-2124-C24C-BDD0F907E7D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16" name="Grafik 36">
                  <a:extLst>
                    <a:ext uri="{FF2B5EF4-FFF2-40B4-BE49-F238E27FC236}">
                      <a16:creationId xmlns:a16="http://schemas.microsoft.com/office/drawing/2014/main" id="{0CED9AF0-3AE2-0CD9-58BE-3B68853778C1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617" name="Grafik 36">
                  <a:extLst>
                    <a:ext uri="{FF2B5EF4-FFF2-40B4-BE49-F238E27FC236}">
                      <a16:creationId xmlns:a16="http://schemas.microsoft.com/office/drawing/2014/main" id="{DCE96EB0-6336-75E7-4861-F1F492F0202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618" name="Grafik 36">
                    <a:extLst>
                      <a:ext uri="{FF2B5EF4-FFF2-40B4-BE49-F238E27FC236}">
                        <a16:creationId xmlns:a16="http://schemas.microsoft.com/office/drawing/2014/main" id="{BEF6D89E-D925-C4E7-6601-9A7C21D4433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9" name="Grafik 36">
                    <a:extLst>
                      <a:ext uri="{FF2B5EF4-FFF2-40B4-BE49-F238E27FC236}">
                        <a16:creationId xmlns:a16="http://schemas.microsoft.com/office/drawing/2014/main" id="{32DE0F07-9AD1-1A68-092D-74B9DD083B6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0" name="Grafik 36">
                    <a:extLst>
                      <a:ext uri="{FF2B5EF4-FFF2-40B4-BE49-F238E27FC236}">
                        <a16:creationId xmlns:a16="http://schemas.microsoft.com/office/drawing/2014/main" id="{3FEADE14-FCEC-2A66-38B0-23AA8C9255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605" name="Grafik 36">
                <a:extLst>
                  <a:ext uri="{FF2B5EF4-FFF2-40B4-BE49-F238E27FC236}">
                    <a16:creationId xmlns:a16="http://schemas.microsoft.com/office/drawing/2014/main" id="{203F7059-1000-C11F-3A37-F7F1B5274F6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06" name="Grafik 36">
                  <a:extLst>
                    <a:ext uri="{FF2B5EF4-FFF2-40B4-BE49-F238E27FC236}">
                      <a16:creationId xmlns:a16="http://schemas.microsoft.com/office/drawing/2014/main" id="{8D9C2CF5-62E7-6FC9-E45D-132DEC03DCA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12" name="Grafik 36">
                    <a:extLst>
                      <a:ext uri="{FF2B5EF4-FFF2-40B4-BE49-F238E27FC236}">
                        <a16:creationId xmlns:a16="http://schemas.microsoft.com/office/drawing/2014/main" id="{FD67ED84-EA4D-1615-D8F8-D32C6979A25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3" name="Grafik 36">
                    <a:extLst>
                      <a:ext uri="{FF2B5EF4-FFF2-40B4-BE49-F238E27FC236}">
                        <a16:creationId xmlns:a16="http://schemas.microsoft.com/office/drawing/2014/main" id="{C9808F96-24CA-C6A0-8F81-DFB31E5645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4" name="Grafik 36">
                    <a:extLst>
                      <a:ext uri="{FF2B5EF4-FFF2-40B4-BE49-F238E27FC236}">
                        <a16:creationId xmlns:a16="http://schemas.microsoft.com/office/drawing/2014/main" id="{CC9FE0E8-6D67-DF56-79EE-13D3AF79743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07" name="Grafik 36">
                  <a:extLst>
                    <a:ext uri="{FF2B5EF4-FFF2-40B4-BE49-F238E27FC236}">
                      <a16:creationId xmlns:a16="http://schemas.microsoft.com/office/drawing/2014/main" id="{EFA8A239-90E4-8702-77E9-CCFC637878E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08" name="Grafik 36">
                  <a:extLst>
                    <a:ext uri="{FF2B5EF4-FFF2-40B4-BE49-F238E27FC236}">
                      <a16:creationId xmlns:a16="http://schemas.microsoft.com/office/drawing/2014/main" id="{E11F3F21-0FEF-CDEF-F9DA-2CE4ACA62DA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09" name="Grafik 36">
                    <a:extLst>
                      <a:ext uri="{FF2B5EF4-FFF2-40B4-BE49-F238E27FC236}">
                        <a16:creationId xmlns:a16="http://schemas.microsoft.com/office/drawing/2014/main" id="{4012A23D-857B-0CD3-FFDA-812CD036931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0" name="Grafik 36">
                    <a:extLst>
                      <a:ext uri="{FF2B5EF4-FFF2-40B4-BE49-F238E27FC236}">
                        <a16:creationId xmlns:a16="http://schemas.microsoft.com/office/drawing/2014/main" id="{2EF37E2E-B42F-234D-D671-0F6ABA1CE80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1" name="Grafik 36">
                    <a:extLst>
                      <a:ext uri="{FF2B5EF4-FFF2-40B4-BE49-F238E27FC236}">
                        <a16:creationId xmlns:a16="http://schemas.microsoft.com/office/drawing/2014/main" id="{B9CA1700-30B0-854A-7845-288DE0C3AF8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cxnSp>
        <p:nvCxnSpPr>
          <p:cNvPr id="629" name="Straight Connector 628">
            <a:extLst>
              <a:ext uri="{FF2B5EF4-FFF2-40B4-BE49-F238E27FC236}">
                <a16:creationId xmlns:a16="http://schemas.microsoft.com/office/drawing/2014/main" id="{AC782BA7-77E1-2DD5-7D02-FF5509FF2BE3}"/>
              </a:ext>
            </a:extLst>
          </p:cNvPr>
          <p:cNvCxnSpPr>
            <a:cxnSpLocks/>
          </p:cNvCxnSpPr>
          <p:nvPr/>
        </p:nvCxnSpPr>
        <p:spPr>
          <a:xfrm flipV="1">
            <a:off x="3384234" y="4484242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0" name="Straight Connector 629">
            <a:extLst>
              <a:ext uri="{FF2B5EF4-FFF2-40B4-BE49-F238E27FC236}">
                <a16:creationId xmlns:a16="http://schemas.microsoft.com/office/drawing/2014/main" id="{558B57C4-8EF0-B035-A1A8-5CC648BD78DD}"/>
              </a:ext>
            </a:extLst>
          </p:cNvPr>
          <p:cNvCxnSpPr>
            <a:cxnSpLocks/>
          </p:cNvCxnSpPr>
          <p:nvPr/>
        </p:nvCxnSpPr>
        <p:spPr>
          <a:xfrm flipV="1">
            <a:off x="4578389" y="4475118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1" name="Straight Connector 630">
            <a:extLst>
              <a:ext uri="{FF2B5EF4-FFF2-40B4-BE49-F238E27FC236}">
                <a16:creationId xmlns:a16="http://schemas.microsoft.com/office/drawing/2014/main" id="{5BFE1F46-BAC2-F2CE-22C9-352705DC72BD}"/>
              </a:ext>
            </a:extLst>
          </p:cNvPr>
          <p:cNvCxnSpPr>
            <a:cxnSpLocks/>
          </p:cNvCxnSpPr>
          <p:nvPr/>
        </p:nvCxnSpPr>
        <p:spPr>
          <a:xfrm flipV="1">
            <a:off x="5789129" y="4462543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2" name="TextBox 631">
            <a:extLst>
              <a:ext uri="{FF2B5EF4-FFF2-40B4-BE49-F238E27FC236}">
                <a16:creationId xmlns:a16="http://schemas.microsoft.com/office/drawing/2014/main" id="{32729FB4-F3B9-C0DB-CD5D-724C26C96A56}"/>
              </a:ext>
            </a:extLst>
          </p:cNvPr>
          <p:cNvSpPr txBox="1"/>
          <p:nvPr/>
        </p:nvSpPr>
        <p:spPr>
          <a:xfrm>
            <a:off x="2915770" y="4683079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2</a:t>
            </a:r>
            <a:endParaRPr lang="en-DE" sz="1100" b="1" dirty="0"/>
          </a:p>
        </p:txBody>
      </p:sp>
      <p:sp>
        <p:nvSpPr>
          <p:cNvPr id="633" name="TextBox 632">
            <a:extLst>
              <a:ext uri="{FF2B5EF4-FFF2-40B4-BE49-F238E27FC236}">
                <a16:creationId xmlns:a16="http://schemas.microsoft.com/office/drawing/2014/main" id="{C7548C9C-5C64-FBF4-EB87-AF03F8BB0EC5}"/>
              </a:ext>
            </a:extLst>
          </p:cNvPr>
          <p:cNvSpPr txBox="1"/>
          <p:nvPr/>
        </p:nvSpPr>
        <p:spPr>
          <a:xfrm>
            <a:off x="5677980" y="4670048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6</a:t>
            </a:r>
            <a:endParaRPr lang="en-DE" sz="1100" b="1" dirty="0"/>
          </a:p>
        </p:txBody>
      </p:sp>
      <p:sp>
        <p:nvSpPr>
          <p:cNvPr id="634" name="TextBox 633">
            <a:extLst>
              <a:ext uri="{FF2B5EF4-FFF2-40B4-BE49-F238E27FC236}">
                <a16:creationId xmlns:a16="http://schemas.microsoft.com/office/drawing/2014/main" id="{2FA8B219-E543-8F30-BF71-059AED8BBE9F}"/>
              </a:ext>
            </a:extLst>
          </p:cNvPr>
          <p:cNvSpPr txBox="1"/>
          <p:nvPr/>
        </p:nvSpPr>
        <p:spPr>
          <a:xfrm>
            <a:off x="6617891" y="4670048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8</a:t>
            </a:r>
            <a:endParaRPr lang="en-DE" sz="1100" b="1" dirty="0"/>
          </a:p>
        </p:txBody>
      </p:sp>
      <p:sp>
        <p:nvSpPr>
          <p:cNvPr id="635" name="TextBox 634">
            <a:extLst>
              <a:ext uri="{FF2B5EF4-FFF2-40B4-BE49-F238E27FC236}">
                <a16:creationId xmlns:a16="http://schemas.microsoft.com/office/drawing/2014/main" id="{0EB4F34A-42F4-BD79-DBF2-E8822B9B82F6}"/>
              </a:ext>
            </a:extLst>
          </p:cNvPr>
          <p:cNvSpPr txBox="1"/>
          <p:nvPr/>
        </p:nvSpPr>
        <p:spPr>
          <a:xfrm>
            <a:off x="4477766" y="4670048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4</a:t>
            </a:r>
            <a:endParaRPr lang="en-DE" sz="1100" b="1" dirty="0"/>
          </a:p>
        </p:txBody>
      </p:sp>
      <p:sp>
        <p:nvSpPr>
          <p:cNvPr id="636" name="TextBox 635">
            <a:extLst>
              <a:ext uri="{FF2B5EF4-FFF2-40B4-BE49-F238E27FC236}">
                <a16:creationId xmlns:a16="http://schemas.microsoft.com/office/drawing/2014/main" id="{DCCD6B77-3047-E8DA-218A-3D4F4F218FC3}"/>
              </a:ext>
            </a:extLst>
          </p:cNvPr>
          <p:cNvSpPr txBox="1"/>
          <p:nvPr/>
        </p:nvSpPr>
        <p:spPr>
          <a:xfrm>
            <a:off x="2862573" y="3417594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642" name="TextBox 641">
            <a:extLst>
              <a:ext uri="{FF2B5EF4-FFF2-40B4-BE49-F238E27FC236}">
                <a16:creationId xmlns:a16="http://schemas.microsoft.com/office/drawing/2014/main" id="{F3F0E2EB-1814-2A4E-2AFE-68BFB25CC8C8}"/>
              </a:ext>
            </a:extLst>
          </p:cNvPr>
          <p:cNvSpPr txBox="1"/>
          <p:nvPr/>
        </p:nvSpPr>
        <p:spPr>
          <a:xfrm>
            <a:off x="5809550" y="4180103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4</a:t>
            </a:r>
            <a:endParaRPr lang="en-DE" sz="900" dirty="0"/>
          </a:p>
        </p:txBody>
      </p:sp>
      <p:sp>
        <p:nvSpPr>
          <p:cNvPr id="643" name="TextBox 642">
            <a:extLst>
              <a:ext uri="{FF2B5EF4-FFF2-40B4-BE49-F238E27FC236}">
                <a16:creationId xmlns:a16="http://schemas.microsoft.com/office/drawing/2014/main" id="{70B218F2-C1CC-2468-FEEB-804B2D7CC683}"/>
              </a:ext>
            </a:extLst>
          </p:cNvPr>
          <p:cNvSpPr txBox="1"/>
          <p:nvPr/>
        </p:nvSpPr>
        <p:spPr>
          <a:xfrm>
            <a:off x="6285471" y="4180103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646" name="TextBox 645">
            <a:extLst>
              <a:ext uri="{FF2B5EF4-FFF2-40B4-BE49-F238E27FC236}">
                <a16:creationId xmlns:a16="http://schemas.microsoft.com/office/drawing/2014/main" id="{C0098FF9-2C2A-611B-A1EE-582A75B9E42B}"/>
              </a:ext>
            </a:extLst>
          </p:cNvPr>
          <p:cNvSpPr txBox="1"/>
          <p:nvPr/>
        </p:nvSpPr>
        <p:spPr>
          <a:xfrm>
            <a:off x="5764106" y="4433175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5</a:t>
            </a:r>
            <a:endParaRPr lang="en-DE" sz="900" dirty="0"/>
          </a:p>
        </p:txBody>
      </p:sp>
      <p:cxnSp>
        <p:nvCxnSpPr>
          <p:cNvPr id="651" name="Straight Connector 650">
            <a:extLst>
              <a:ext uri="{FF2B5EF4-FFF2-40B4-BE49-F238E27FC236}">
                <a16:creationId xmlns:a16="http://schemas.microsoft.com/office/drawing/2014/main" id="{8E5EB656-58CE-D9EF-1FDF-E776EFE7A155}"/>
              </a:ext>
            </a:extLst>
          </p:cNvPr>
          <p:cNvCxnSpPr>
            <a:cxnSpLocks/>
          </p:cNvCxnSpPr>
          <p:nvPr/>
        </p:nvCxnSpPr>
        <p:spPr>
          <a:xfrm flipH="1" flipV="1">
            <a:off x="4592035" y="3414514"/>
            <a:ext cx="897629" cy="922039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2" name="Straight Connector 651">
            <a:extLst>
              <a:ext uri="{FF2B5EF4-FFF2-40B4-BE49-F238E27FC236}">
                <a16:creationId xmlns:a16="http://schemas.microsoft.com/office/drawing/2014/main" id="{EFE65499-B107-88CA-4E41-7F06B12C99DF}"/>
              </a:ext>
            </a:extLst>
          </p:cNvPr>
          <p:cNvCxnSpPr>
            <a:cxnSpLocks/>
          </p:cNvCxnSpPr>
          <p:nvPr/>
        </p:nvCxnSpPr>
        <p:spPr>
          <a:xfrm flipH="1" flipV="1">
            <a:off x="5789692" y="3414514"/>
            <a:ext cx="897629" cy="922039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8" name="Straight Connector 657">
            <a:extLst>
              <a:ext uri="{FF2B5EF4-FFF2-40B4-BE49-F238E27FC236}">
                <a16:creationId xmlns:a16="http://schemas.microsoft.com/office/drawing/2014/main" id="{2CD4C1D6-20F1-4C6C-8EB4-6ED029B83060}"/>
              </a:ext>
            </a:extLst>
          </p:cNvPr>
          <p:cNvCxnSpPr>
            <a:cxnSpLocks/>
          </p:cNvCxnSpPr>
          <p:nvPr/>
        </p:nvCxnSpPr>
        <p:spPr>
          <a:xfrm flipV="1">
            <a:off x="4628895" y="3412946"/>
            <a:ext cx="849292" cy="87199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9" name="Straight Connector 658">
            <a:extLst>
              <a:ext uri="{FF2B5EF4-FFF2-40B4-BE49-F238E27FC236}">
                <a16:creationId xmlns:a16="http://schemas.microsoft.com/office/drawing/2014/main" id="{9356593A-902E-6579-8E39-9630E6E7864D}"/>
              </a:ext>
            </a:extLst>
          </p:cNvPr>
          <p:cNvCxnSpPr>
            <a:cxnSpLocks/>
          </p:cNvCxnSpPr>
          <p:nvPr/>
        </p:nvCxnSpPr>
        <p:spPr>
          <a:xfrm flipV="1">
            <a:off x="5835713" y="3412946"/>
            <a:ext cx="849292" cy="87199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0" name="Straight Connector 659">
            <a:extLst>
              <a:ext uri="{FF2B5EF4-FFF2-40B4-BE49-F238E27FC236}">
                <a16:creationId xmlns:a16="http://schemas.microsoft.com/office/drawing/2014/main" id="{79E5BEDA-3307-CA1D-14AD-B1CDE2E213B8}"/>
              </a:ext>
            </a:extLst>
          </p:cNvPr>
          <p:cNvCxnSpPr>
            <a:cxnSpLocks/>
          </p:cNvCxnSpPr>
          <p:nvPr/>
        </p:nvCxnSpPr>
        <p:spPr>
          <a:xfrm flipH="1" flipV="1">
            <a:off x="3221385" y="3418307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2" name="Graphic 661" descr="Computer outline">
            <a:extLst>
              <a:ext uri="{FF2B5EF4-FFF2-40B4-BE49-F238E27FC236}">
                <a16:creationId xmlns:a16="http://schemas.microsoft.com/office/drawing/2014/main" id="{D8C1BD2A-2A02-6912-D3C6-D12945D5D2F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79978" y="2933977"/>
            <a:ext cx="684020" cy="684020"/>
          </a:xfrm>
          <a:prstGeom prst="rect">
            <a:avLst/>
          </a:prstGeom>
        </p:spPr>
      </p:pic>
      <p:cxnSp>
        <p:nvCxnSpPr>
          <p:cNvPr id="663" name="Straight Connector 662">
            <a:extLst>
              <a:ext uri="{FF2B5EF4-FFF2-40B4-BE49-F238E27FC236}">
                <a16:creationId xmlns:a16="http://schemas.microsoft.com/office/drawing/2014/main" id="{016B34E5-4D60-FF39-7E5D-314326E3C8A1}"/>
              </a:ext>
            </a:extLst>
          </p:cNvPr>
          <p:cNvCxnSpPr>
            <a:cxnSpLocks/>
          </p:cNvCxnSpPr>
          <p:nvPr/>
        </p:nvCxnSpPr>
        <p:spPr>
          <a:xfrm flipV="1">
            <a:off x="2267678" y="3261626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5" name="Graphic 664" descr="Computer outline">
            <a:extLst>
              <a:ext uri="{FF2B5EF4-FFF2-40B4-BE49-F238E27FC236}">
                <a16:creationId xmlns:a16="http://schemas.microsoft.com/office/drawing/2014/main" id="{3FAA4A86-2C66-C1F7-FD21-2FBC76D31A1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77499" y="4154756"/>
            <a:ext cx="684020" cy="684020"/>
          </a:xfrm>
          <a:prstGeom prst="rect">
            <a:avLst/>
          </a:prstGeom>
        </p:spPr>
      </p:pic>
      <p:cxnSp>
        <p:nvCxnSpPr>
          <p:cNvPr id="666" name="Straight Connector 665">
            <a:extLst>
              <a:ext uri="{FF2B5EF4-FFF2-40B4-BE49-F238E27FC236}">
                <a16:creationId xmlns:a16="http://schemas.microsoft.com/office/drawing/2014/main" id="{153DECDE-A1F5-F37D-8B05-ED974D8AD79C}"/>
              </a:ext>
            </a:extLst>
          </p:cNvPr>
          <p:cNvCxnSpPr>
            <a:cxnSpLocks/>
            <a:stCxn id="665" idx="3"/>
          </p:cNvCxnSpPr>
          <p:nvPr/>
        </p:nvCxnSpPr>
        <p:spPr>
          <a:xfrm flipV="1">
            <a:off x="2261519" y="4487642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7" name="Graphic 666" descr="Computer outline">
            <a:extLst>
              <a:ext uri="{FF2B5EF4-FFF2-40B4-BE49-F238E27FC236}">
                <a16:creationId xmlns:a16="http://schemas.microsoft.com/office/drawing/2014/main" id="{61056956-2610-34DA-361B-4B122C9AD24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25529" y="5373686"/>
            <a:ext cx="684020" cy="684020"/>
          </a:xfrm>
          <a:prstGeom prst="rect">
            <a:avLst/>
          </a:prstGeom>
        </p:spPr>
      </p:pic>
      <p:cxnSp>
        <p:nvCxnSpPr>
          <p:cNvPr id="668" name="Straight Connector 667">
            <a:extLst>
              <a:ext uri="{FF2B5EF4-FFF2-40B4-BE49-F238E27FC236}">
                <a16:creationId xmlns:a16="http://schemas.microsoft.com/office/drawing/2014/main" id="{CF0B4FE5-DC0E-A164-5F6B-8CAAE2D20A9E}"/>
              </a:ext>
            </a:extLst>
          </p:cNvPr>
          <p:cNvCxnSpPr>
            <a:cxnSpLocks/>
          </p:cNvCxnSpPr>
          <p:nvPr/>
        </p:nvCxnSpPr>
        <p:spPr>
          <a:xfrm flipH="1" flipV="1">
            <a:off x="4443577" y="4635900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70" name="Graphic 669" descr="Server outline">
            <a:extLst>
              <a:ext uri="{FF2B5EF4-FFF2-40B4-BE49-F238E27FC236}">
                <a16:creationId xmlns:a16="http://schemas.microsoft.com/office/drawing/2014/main" id="{BFE0079B-BCCF-F500-7BA4-21391699929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51197" y="2997743"/>
            <a:ext cx="487813" cy="487813"/>
          </a:xfrm>
          <a:prstGeom prst="rect">
            <a:avLst/>
          </a:prstGeom>
        </p:spPr>
      </p:pic>
      <p:cxnSp>
        <p:nvCxnSpPr>
          <p:cNvPr id="671" name="Straight Connector 670">
            <a:extLst>
              <a:ext uri="{FF2B5EF4-FFF2-40B4-BE49-F238E27FC236}">
                <a16:creationId xmlns:a16="http://schemas.microsoft.com/office/drawing/2014/main" id="{66DCF3BC-1351-4EF9-BECF-665293E998B6}"/>
              </a:ext>
            </a:extLst>
          </p:cNvPr>
          <p:cNvCxnSpPr>
            <a:cxnSpLocks/>
          </p:cNvCxnSpPr>
          <p:nvPr/>
        </p:nvCxnSpPr>
        <p:spPr>
          <a:xfrm flipV="1">
            <a:off x="7039485" y="3234702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72" name="Graphic 671" descr="Server outline">
            <a:extLst>
              <a:ext uri="{FF2B5EF4-FFF2-40B4-BE49-F238E27FC236}">
                <a16:creationId xmlns:a16="http://schemas.microsoft.com/office/drawing/2014/main" id="{BF9EA9F1-5073-5A07-1C12-1FEC1E2A563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55489" y="4218637"/>
            <a:ext cx="487813" cy="487813"/>
          </a:xfrm>
          <a:prstGeom prst="rect">
            <a:avLst/>
          </a:prstGeom>
        </p:spPr>
      </p:pic>
      <p:cxnSp>
        <p:nvCxnSpPr>
          <p:cNvPr id="673" name="Straight Connector 672">
            <a:extLst>
              <a:ext uri="{FF2B5EF4-FFF2-40B4-BE49-F238E27FC236}">
                <a16:creationId xmlns:a16="http://schemas.microsoft.com/office/drawing/2014/main" id="{C90A01AB-23FD-D4A4-8D10-69AA24F57024}"/>
              </a:ext>
            </a:extLst>
          </p:cNvPr>
          <p:cNvCxnSpPr>
            <a:cxnSpLocks/>
          </p:cNvCxnSpPr>
          <p:nvPr/>
        </p:nvCxnSpPr>
        <p:spPr>
          <a:xfrm flipV="1">
            <a:off x="7043777" y="4455596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74" name="Graphic 673" descr="Server outline">
            <a:extLst>
              <a:ext uri="{FF2B5EF4-FFF2-40B4-BE49-F238E27FC236}">
                <a16:creationId xmlns:a16="http://schemas.microsoft.com/office/drawing/2014/main" id="{7DD47792-DAC6-D084-FD64-904DDA01C87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440658" y="5459282"/>
            <a:ext cx="487813" cy="487813"/>
          </a:xfrm>
          <a:prstGeom prst="rect">
            <a:avLst/>
          </a:prstGeom>
        </p:spPr>
      </p:pic>
      <p:cxnSp>
        <p:nvCxnSpPr>
          <p:cNvPr id="675" name="Straight Connector 674">
            <a:extLst>
              <a:ext uri="{FF2B5EF4-FFF2-40B4-BE49-F238E27FC236}">
                <a16:creationId xmlns:a16="http://schemas.microsoft.com/office/drawing/2014/main" id="{87A56567-14A8-8616-8437-CC3AA6CE47B9}"/>
              </a:ext>
            </a:extLst>
          </p:cNvPr>
          <p:cNvCxnSpPr>
            <a:cxnSpLocks/>
          </p:cNvCxnSpPr>
          <p:nvPr/>
        </p:nvCxnSpPr>
        <p:spPr>
          <a:xfrm flipH="1" flipV="1">
            <a:off x="5658651" y="4642718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7" name="TextBox 676">
            <a:extLst>
              <a:ext uri="{FF2B5EF4-FFF2-40B4-BE49-F238E27FC236}">
                <a16:creationId xmlns:a16="http://schemas.microsoft.com/office/drawing/2014/main" id="{0B928533-CF7A-04BC-ABDA-5AA8D908F9A3}"/>
              </a:ext>
            </a:extLst>
          </p:cNvPr>
          <p:cNvSpPr txBox="1"/>
          <p:nvPr/>
        </p:nvSpPr>
        <p:spPr>
          <a:xfrm>
            <a:off x="2666583" y="4433175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sp>
        <p:nvSpPr>
          <p:cNvPr id="678" name="TextBox 677">
            <a:extLst>
              <a:ext uri="{FF2B5EF4-FFF2-40B4-BE49-F238E27FC236}">
                <a16:creationId xmlns:a16="http://schemas.microsoft.com/office/drawing/2014/main" id="{254D84F8-E0FB-5CEE-19D3-26864C9C7C88}"/>
              </a:ext>
            </a:extLst>
          </p:cNvPr>
          <p:cNvSpPr txBox="1"/>
          <p:nvPr/>
        </p:nvSpPr>
        <p:spPr>
          <a:xfrm>
            <a:off x="6977453" y="3054599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sp>
        <p:nvSpPr>
          <p:cNvPr id="679" name="TextBox 678">
            <a:extLst>
              <a:ext uri="{FF2B5EF4-FFF2-40B4-BE49-F238E27FC236}">
                <a16:creationId xmlns:a16="http://schemas.microsoft.com/office/drawing/2014/main" id="{27D1D2E6-37C8-805B-25E5-5C6E879F03B3}"/>
              </a:ext>
            </a:extLst>
          </p:cNvPr>
          <p:cNvSpPr txBox="1"/>
          <p:nvPr/>
        </p:nvSpPr>
        <p:spPr>
          <a:xfrm>
            <a:off x="6980873" y="4433175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sp>
        <p:nvSpPr>
          <p:cNvPr id="680" name="TextBox 679">
            <a:extLst>
              <a:ext uri="{FF2B5EF4-FFF2-40B4-BE49-F238E27FC236}">
                <a16:creationId xmlns:a16="http://schemas.microsoft.com/office/drawing/2014/main" id="{9BE13B77-BE3E-6E6F-4695-2BA1335D624A}"/>
              </a:ext>
            </a:extLst>
          </p:cNvPr>
          <p:cNvSpPr txBox="1"/>
          <p:nvPr/>
        </p:nvSpPr>
        <p:spPr>
          <a:xfrm>
            <a:off x="4059089" y="4637263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sp>
        <p:nvSpPr>
          <p:cNvPr id="681" name="TextBox 680">
            <a:extLst>
              <a:ext uri="{FF2B5EF4-FFF2-40B4-BE49-F238E27FC236}">
                <a16:creationId xmlns:a16="http://schemas.microsoft.com/office/drawing/2014/main" id="{0487A8F6-7627-BCD7-8A6D-3FBDA8FE4A48}"/>
              </a:ext>
            </a:extLst>
          </p:cNvPr>
          <p:cNvSpPr txBox="1"/>
          <p:nvPr/>
        </p:nvSpPr>
        <p:spPr>
          <a:xfrm>
            <a:off x="5268111" y="4625830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cxnSp>
        <p:nvCxnSpPr>
          <p:cNvPr id="682" name="Straight Connector 681">
            <a:extLst>
              <a:ext uri="{FF2B5EF4-FFF2-40B4-BE49-F238E27FC236}">
                <a16:creationId xmlns:a16="http://schemas.microsoft.com/office/drawing/2014/main" id="{08F8BFCC-279A-8910-46D6-55ACA23052D1}"/>
              </a:ext>
            </a:extLst>
          </p:cNvPr>
          <p:cNvCxnSpPr>
            <a:cxnSpLocks/>
          </p:cNvCxnSpPr>
          <p:nvPr/>
        </p:nvCxnSpPr>
        <p:spPr>
          <a:xfrm flipH="1" flipV="1">
            <a:off x="4439468" y="3424066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3" name="Straight Connector 682">
            <a:extLst>
              <a:ext uri="{FF2B5EF4-FFF2-40B4-BE49-F238E27FC236}">
                <a16:creationId xmlns:a16="http://schemas.microsoft.com/office/drawing/2014/main" id="{6DFBC012-500F-9156-CDC0-644FB13F9C43}"/>
              </a:ext>
            </a:extLst>
          </p:cNvPr>
          <p:cNvCxnSpPr>
            <a:cxnSpLocks/>
          </p:cNvCxnSpPr>
          <p:nvPr/>
        </p:nvCxnSpPr>
        <p:spPr>
          <a:xfrm flipH="1" flipV="1">
            <a:off x="5630306" y="3409348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4" name="TextBox 683">
            <a:extLst>
              <a:ext uri="{FF2B5EF4-FFF2-40B4-BE49-F238E27FC236}">
                <a16:creationId xmlns:a16="http://schemas.microsoft.com/office/drawing/2014/main" id="{79373030-BEB9-7B52-CD45-A8E261F9218E}"/>
              </a:ext>
            </a:extLst>
          </p:cNvPr>
          <p:cNvSpPr txBox="1"/>
          <p:nvPr/>
        </p:nvSpPr>
        <p:spPr>
          <a:xfrm>
            <a:off x="4120059" y="3417594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685" name="TextBox 684">
            <a:extLst>
              <a:ext uri="{FF2B5EF4-FFF2-40B4-BE49-F238E27FC236}">
                <a16:creationId xmlns:a16="http://schemas.microsoft.com/office/drawing/2014/main" id="{06146BEB-FD30-1EDD-F49A-71CE5A93CC37}"/>
              </a:ext>
            </a:extLst>
          </p:cNvPr>
          <p:cNvSpPr txBox="1"/>
          <p:nvPr/>
        </p:nvSpPr>
        <p:spPr>
          <a:xfrm>
            <a:off x="4587126" y="3315152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5</a:t>
            </a:r>
            <a:endParaRPr lang="en-DE" sz="900" dirty="0"/>
          </a:p>
        </p:txBody>
      </p:sp>
      <p:sp>
        <p:nvSpPr>
          <p:cNvPr id="686" name="TextBox 685">
            <a:extLst>
              <a:ext uri="{FF2B5EF4-FFF2-40B4-BE49-F238E27FC236}">
                <a16:creationId xmlns:a16="http://schemas.microsoft.com/office/drawing/2014/main" id="{488B0965-74C2-1A55-0ECE-AD6940E0D6D0}"/>
              </a:ext>
            </a:extLst>
          </p:cNvPr>
          <p:cNvSpPr txBox="1"/>
          <p:nvPr/>
        </p:nvSpPr>
        <p:spPr>
          <a:xfrm>
            <a:off x="5763198" y="3056188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4</a:t>
            </a:r>
            <a:endParaRPr lang="en-DE" sz="900" dirty="0"/>
          </a:p>
        </p:txBody>
      </p:sp>
      <p:sp>
        <p:nvSpPr>
          <p:cNvPr id="687" name="TextBox 686">
            <a:extLst>
              <a:ext uri="{FF2B5EF4-FFF2-40B4-BE49-F238E27FC236}">
                <a16:creationId xmlns:a16="http://schemas.microsoft.com/office/drawing/2014/main" id="{DB807AA7-F4E5-F08C-02AA-EE762F22B39D}"/>
              </a:ext>
            </a:extLst>
          </p:cNvPr>
          <p:cNvSpPr txBox="1"/>
          <p:nvPr/>
        </p:nvSpPr>
        <p:spPr>
          <a:xfrm>
            <a:off x="5313065" y="3417594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688" name="TextBox 687">
            <a:extLst>
              <a:ext uri="{FF2B5EF4-FFF2-40B4-BE49-F238E27FC236}">
                <a16:creationId xmlns:a16="http://schemas.microsoft.com/office/drawing/2014/main" id="{B0C1273C-3337-E680-D548-2984CF967220}"/>
              </a:ext>
            </a:extLst>
          </p:cNvPr>
          <p:cNvSpPr txBox="1"/>
          <p:nvPr/>
        </p:nvSpPr>
        <p:spPr>
          <a:xfrm>
            <a:off x="5780132" y="3315152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5</a:t>
            </a:r>
            <a:endParaRPr lang="en-DE" sz="900" dirty="0"/>
          </a:p>
        </p:txBody>
      </p:sp>
      <p:sp>
        <p:nvSpPr>
          <p:cNvPr id="689" name="TextBox 688">
            <a:extLst>
              <a:ext uri="{FF2B5EF4-FFF2-40B4-BE49-F238E27FC236}">
                <a16:creationId xmlns:a16="http://schemas.microsoft.com/office/drawing/2014/main" id="{B16E91B8-9E8E-B706-86FB-8E62A16DD325}"/>
              </a:ext>
            </a:extLst>
          </p:cNvPr>
          <p:cNvSpPr txBox="1"/>
          <p:nvPr/>
        </p:nvSpPr>
        <p:spPr>
          <a:xfrm>
            <a:off x="6784044" y="3417594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690" name="TextBox 689">
            <a:extLst>
              <a:ext uri="{FF2B5EF4-FFF2-40B4-BE49-F238E27FC236}">
                <a16:creationId xmlns:a16="http://schemas.microsoft.com/office/drawing/2014/main" id="{65426FFB-2BEA-3414-6FBB-076373510431}"/>
              </a:ext>
            </a:extLst>
          </p:cNvPr>
          <p:cNvSpPr txBox="1"/>
          <p:nvPr/>
        </p:nvSpPr>
        <p:spPr>
          <a:xfrm>
            <a:off x="6810665" y="4072288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691" name="TextBox 690">
            <a:extLst>
              <a:ext uri="{FF2B5EF4-FFF2-40B4-BE49-F238E27FC236}">
                <a16:creationId xmlns:a16="http://schemas.microsoft.com/office/drawing/2014/main" id="{2D357871-BF3D-7F9F-E950-D67DBFE96000}"/>
              </a:ext>
            </a:extLst>
          </p:cNvPr>
          <p:cNvSpPr txBox="1"/>
          <p:nvPr/>
        </p:nvSpPr>
        <p:spPr>
          <a:xfrm>
            <a:off x="6338005" y="4433175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692" name="TextBox 691">
            <a:extLst>
              <a:ext uri="{FF2B5EF4-FFF2-40B4-BE49-F238E27FC236}">
                <a16:creationId xmlns:a16="http://schemas.microsoft.com/office/drawing/2014/main" id="{67810CEC-6F01-7DCF-1F42-364EAB124D2F}"/>
              </a:ext>
            </a:extLst>
          </p:cNvPr>
          <p:cNvSpPr txBox="1"/>
          <p:nvPr/>
        </p:nvSpPr>
        <p:spPr>
          <a:xfrm>
            <a:off x="5118283" y="4180103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693" name="TextBox 692">
            <a:extLst>
              <a:ext uri="{FF2B5EF4-FFF2-40B4-BE49-F238E27FC236}">
                <a16:creationId xmlns:a16="http://schemas.microsoft.com/office/drawing/2014/main" id="{2D94FDC2-C69F-F9FE-5E01-A4E36263929B}"/>
              </a:ext>
            </a:extLst>
          </p:cNvPr>
          <p:cNvSpPr txBox="1"/>
          <p:nvPr/>
        </p:nvSpPr>
        <p:spPr>
          <a:xfrm>
            <a:off x="5327577" y="4072288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694" name="TextBox 693">
            <a:extLst>
              <a:ext uri="{FF2B5EF4-FFF2-40B4-BE49-F238E27FC236}">
                <a16:creationId xmlns:a16="http://schemas.microsoft.com/office/drawing/2014/main" id="{E30C0246-5E24-E3CA-46F1-D73AE4F0ABDA}"/>
              </a:ext>
            </a:extLst>
          </p:cNvPr>
          <p:cNvSpPr txBox="1"/>
          <p:nvPr/>
        </p:nvSpPr>
        <p:spPr>
          <a:xfrm>
            <a:off x="5114993" y="4433175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695" name="TextBox 694">
            <a:extLst>
              <a:ext uri="{FF2B5EF4-FFF2-40B4-BE49-F238E27FC236}">
                <a16:creationId xmlns:a16="http://schemas.microsoft.com/office/drawing/2014/main" id="{BFDAF9C6-34AB-DBBD-69BC-6385BD36533A}"/>
              </a:ext>
            </a:extLst>
          </p:cNvPr>
          <p:cNvSpPr txBox="1"/>
          <p:nvPr/>
        </p:nvSpPr>
        <p:spPr>
          <a:xfrm>
            <a:off x="4609541" y="4180103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4</a:t>
            </a:r>
            <a:endParaRPr lang="en-DE" sz="900" dirty="0"/>
          </a:p>
        </p:txBody>
      </p:sp>
      <p:sp>
        <p:nvSpPr>
          <p:cNvPr id="696" name="TextBox 695">
            <a:extLst>
              <a:ext uri="{FF2B5EF4-FFF2-40B4-BE49-F238E27FC236}">
                <a16:creationId xmlns:a16="http://schemas.microsoft.com/office/drawing/2014/main" id="{2BBC836D-6CA2-65F3-AAAB-66819CE184EA}"/>
              </a:ext>
            </a:extLst>
          </p:cNvPr>
          <p:cNvSpPr txBox="1"/>
          <p:nvPr/>
        </p:nvSpPr>
        <p:spPr>
          <a:xfrm>
            <a:off x="4554360" y="4433175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5</a:t>
            </a:r>
            <a:endParaRPr lang="en-DE" sz="900" dirty="0"/>
          </a:p>
        </p:txBody>
      </p:sp>
      <p:sp>
        <p:nvSpPr>
          <p:cNvPr id="697" name="TextBox 696">
            <a:extLst>
              <a:ext uri="{FF2B5EF4-FFF2-40B4-BE49-F238E27FC236}">
                <a16:creationId xmlns:a16="http://schemas.microsoft.com/office/drawing/2014/main" id="{50D44457-86EA-4936-E1A1-5A33D2508F41}"/>
              </a:ext>
            </a:extLst>
          </p:cNvPr>
          <p:cNvSpPr txBox="1"/>
          <p:nvPr/>
        </p:nvSpPr>
        <p:spPr>
          <a:xfrm>
            <a:off x="3872343" y="4180103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698" name="TextBox 697">
            <a:extLst>
              <a:ext uri="{FF2B5EF4-FFF2-40B4-BE49-F238E27FC236}">
                <a16:creationId xmlns:a16="http://schemas.microsoft.com/office/drawing/2014/main" id="{24306FF9-D7FE-10C7-B488-E67160E56B5E}"/>
              </a:ext>
            </a:extLst>
          </p:cNvPr>
          <p:cNvSpPr txBox="1"/>
          <p:nvPr/>
        </p:nvSpPr>
        <p:spPr>
          <a:xfrm>
            <a:off x="4137129" y="4072288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699" name="TextBox 698">
            <a:extLst>
              <a:ext uri="{FF2B5EF4-FFF2-40B4-BE49-F238E27FC236}">
                <a16:creationId xmlns:a16="http://schemas.microsoft.com/office/drawing/2014/main" id="{8784B9DC-9CF9-D47E-75BE-2692392F4E9A}"/>
              </a:ext>
            </a:extLst>
          </p:cNvPr>
          <p:cNvSpPr txBox="1"/>
          <p:nvPr/>
        </p:nvSpPr>
        <p:spPr>
          <a:xfrm>
            <a:off x="3905247" y="4433175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702" name="TextBox 701">
            <a:extLst>
              <a:ext uri="{FF2B5EF4-FFF2-40B4-BE49-F238E27FC236}">
                <a16:creationId xmlns:a16="http://schemas.microsoft.com/office/drawing/2014/main" id="{50393E7F-D083-E5B5-3448-0EB64577FE5A}"/>
              </a:ext>
            </a:extLst>
          </p:cNvPr>
          <p:cNvSpPr txBox="1"/>
          <p:nvPr/>
        </p:nvSpPr>
        <p:spPr>
          <a:xfrm>
            <a:off x="2904255" y="4072288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703" name="TextBox 702">
            <a:extLst>
              <a:ext uri="{FF2B5EF4-FFF2-40B4-BE49-F238E27FC236}">
                <a16:creationId xmlns:a16="http://schemas.microsoft.com/office/drawing/2014/main" id="{5A226BE9-F271-7A92-E25A-B459C3460812}"/>
              </a:ext>
            </a:extLst>
          </p:cNvPr>
          <p:cNvSpPr txBox="1"/>
          <p:nvPr/>
        </p:nvSpPr>
        <p:spPr>
          <a:xfrm>
            <a:off x="3360081" y="4433175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704" name="TextBox 703">
            <a:extLst>
              <a:ext uri="{FF2B5EF4-FFF2-40B4-BE49-F238E27FC236}">
                <a16:creationId xmlns:a16="http://schemas.microsoft.com/office/drawing/2014/main" id="{663FB499-45BB-A680-2321-87AE00623601}"/>
              </a:ext>
            </a:extLst>
          </p:cNvPr>
          <p:cNvSpPr txBox="1"/>
          <p:nvPr/>
        </p:nvSpPr>
        <p:spPr>
          <a:xfrm>
            <a:off x="3377920" y="4180103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714" name="TextBox 713">
            <a:extLst>
              <a:ext uri="{FF2B5EF4-FFF2-40B4-BE49-F238E27FC236}">
                <a16:creationId xmlns:a16="http://schemas.microsoft.com/office/drawing/2014/main" id="{A49BB5BD-39AB-A7DA-76F4-7450BD64D717}"/>
              </a:ext>
            </a:extLst>
          </p:cNvPr>
          <p:cNvSpPr txBox="1"/>
          <p:nvPr/>
        </p:nvSpPr>
        <p:spPr>
          <a:xfrm>
            <a:off x="2163892" y="4218637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2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5" name="TextBox 714">
            <a:extLst>
              <a:ext uri="{FF2B5EF4-FFF2-40B4-BE49-F238E27FC236}">
                <a16:creationId xmlns:a16="http://schemas.microsoft.com/office/drawing/2014/main" id="{1E88A6D6-9C59-F529-A41E-F41DCB802CFF}"/>
              </a:ext>
            </a:extLst>
          </p:cNvPr>
          <p:cNvSpPr txBox="1"/>
          <p:nvPr/>
        </p:nvSpPr>
        <p:spPr>
          <a:xfrm>
            <a:off x="3705056" y="5320835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3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6" name="TextBox 715">
            <a:extLst>
              <a:ext uri="{FF2B5EF4-FFF2-40B4-BE49-F238E27FC236}">
                <a16:creationId xmlns:a16="http://schemas.microsoft.com/office/drawing/2014/main" id="{9D68AFE0-A88F-E504-91E5-451DF6B1A51D}"/>
              </a:ext>
            </a:extLst>
          </p:cNvPr>
          <p:cNvSpPr txBox="1"/>
          <p:nvPr/>
        </p:nvSpPr>
        <p:spPr>
          <a:xfrm>
            <a:off x="7117701" y="3249552"/>
            <a:ext cx="77777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10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7" name="TextBox 716">
            <a:extLst>
              <a:ext uri="{FF2B5EF4-FFF2-40B4-BE49-F238E27FC236}">
                <a16:creationId xmlns:a16="http://schemas.microsoft.com/office/drawing/2014/main" id="{CC2C0113-3694-FB02-9F59-79DC2702D6B8}"/>
              </a:ext>
            </a:extLst>
          </p:cNvPr>
          <p:cNvSpPr txBox="1"/>
          <p:nvPr/>
        </p:nvSpPr>
        <p:spPr>
          <a:xfrm>
            <a:off x="7144677" y="4191226"/>
            <a:ext cx="77777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1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8" name="TextBox 717">
            <a:extLst>
              <a:ext uri="{FF2B5EF4-FFF2-40B4-BE49-F238E27FC236}">
                <a16:creationId xmlns:a16="http://schemas.microsoft.com/office/drawing/2014/main" id="{8091164F-4156-6BBF-741B-23B7177C9636}"/>
              </a:ext>
            </a:extLst>
          </p:cNvPr>
          <p:cNvSpPr txBox="1"/>
          <p:nvPr/>
        </p:nvSpPr>
        <p:spPr>
          <a:xfrm>
            <a:off x="5678437" y="5320835"/>
            <a:ext cx="77777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12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9" name="TextBox 718">
            <a:extLst>
              <a:ext uri="{FF2B5EF4-FFF2-40B4-BE49-F238E27FC236}">
                <a16:creationId xmlns:a16="http://schemas.microsoft.com/office/drawing/2014/main" id="{0DE977BC-C443-A096-3456-66CB3264D827}"/>
              </a:ext>
            </a:extLst>
          </p:cNvPr>
          <p:cNvSpPr txBox="1"/>
          <p:nvPr/>
        </p:nvSpPr>
        <p:spPr>
          <a:xfrm>
            <a:off x="1653244" y="2709937"/>
            <a:ext cx="346570" cy="26161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H1</a:t>
            </a:r>
            <a:endParaRPr lang="en-DE" sz="1100" b="1" dirty="0"/>
          </a:p>
        </p:txBody>
      </p:sp>
      <p:sp>
        <p:nvSpPr>
          <p:cNvPr id="720" name="TextBox 719">
            <a:extLst>
              <a:ext uri="{FF2B5EF4-FFF2-40B4-BE49-F238E27FC236}">
                <a16:creationId xmlns:a16="http://schemas.microsoft.com/office/drawing/2014/main" id="{372A794A-DE9D-3F98-A194-F01151DF692A}"/>
              </a:ext>
            </a:extLst>
          </p:cNvPr>
          <p:cNvSpPr txBox="1"/>
          <p:nvPr/>
        </p:nvSpPr>
        <p:spPr>
          <a:xfrm>
            <a:off x="1616639" y="4717137"/>
            <a:ext cx="346570" cy="2616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H2</a:t>
            </a:r>
            <a:endParaRPr lang="en-DE" sz="1100" b="1" dirty="0"/>
          </a:p>
        </p:txBody>
      </p:sp>
      <p:sp>
        <p:nvSpPr>
          <p:cNvPr id="721" name="TextBox 720">
            <a:extLst>
              <a:ext uri="{FF2B5EF4-FFF2-40B4-BE49-F238E27FC236}">
                <a16:creationId xmlns:a16="http://schemas.microsoft.com/office/drawing/2014/main" id="{A09AABFC-0F09-9C50-95D0-E6705379B366}"/>
              </a:ext>
            </a:extLst>
          </p:cNvPr>
          <p:cNvSpPr txBox="1"/>
          <p:nvPr/>
        </p:nvSpPr>
        <p:spPr>
          <a:xfrm>
            <a:off x="4285070" y="5918994"/>
            <a:ext cx="346570" cy="2616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H3</a:t>
            </a:r>
            <a:endParaRPr lang="en-DE" sz="1100" b="1" dirty="0"/>
          </a:p>
        </p:txBody>
      </p:sp>
      <p:sp>
        <p:nvSpPr>
          <p:cNvPr id="722" name="TextBox 721">
            <a:extLst>
              <a:ext uri="{FF2B5EF4-FFF2-40B4-BE49-F238E27FC236}">
                <a16:creationId xmlns:a16="http://schemas.microsoft.com/office/drawing/2014/main" id="{A441C55B-11C5-0636-CF2B-77ADA7717AF4}"/>
              </a:ext>
            </a:extLst>
          </p:cNvPr>
          <p:cNvSpPr txBox="1"/>
          <p:nvPr/>
        </p:nvSpPr>
        <p:spPr>
          <a:xfrm>
            <a:off x="7679151" y="2709937"/>
            <a:ext cx="631904" cy="2616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Server1</a:t>
            </a:r>
            <a:endParaRPr lang="en-DE" sz="1100" b="1" dirty="0"/>
          </a:p>
        </p:txBody>
      </p:sp>
      <p:sp>
        <p:nvSpPr>
          <p:cNvPr id="723" name="TextBox 722">
            <a:extLst>
              <a:ext uri="{FF2B5EF4-FFF2-40B4-BE49-F238E27FC236}">
                <a16:creationId xmlns:a16="http://schemas.microsoft.com/office/drawing/2014/main" id="{9368F999-0BFE-81EB-A1D0-42DB93D07D7F}"/>
              </a:ext>
            </a:extLst>
          </p:cNvPr>
          <p:cNvSpPr txBox="1"/>
          <p:nvPr/>
        </p:nvSpPr>
        <p:spPr>
          <a:xfrm>
            <a:off x="7704253" y="4670335"/>
            <a:ext cx="631904" cy="26161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Server2</a:t>
            </a:r>
            <a:endParaRPr lang="en-DE" sz="1100" b="1" dirty="0"/>
          </a:p>
        </p:txBody>
      </p:sp>
      <p:sp>
        <p:nvSpPr>
          <p:cNvPr id="724" name="TextBox 723">
            <a:extLst>
              <a:ext uri="{FF2B5EF4-FFF2-40B4-BE49-F238E27FC236}">
                <a16:creationId xmlns:a16="http://schemas.microsoft.com/office/drawing/2014/main" id="{706CF5BC-B43C-DE73-6C77-82479AAB6028}"/>
              </a:ext>
            </a:extLst>
          </p:cNvPr>
          <p:cNvSpPr txBox="1"/>
          <p:nvPr/>
        </p:nvSpPr>
        <p:spPr>
          <a:xfrm>
            <a:off x="5372399" y="5918994"/>
            <a:ext cx="631904" cy="26161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Server3</a:t>
            </a:r>
            <a:endParaRPr lang="en-DE" sz="1100" b="1" dirty="0"/>
          </a:p>
        </p:txBody>
      </p:sp>
    </p:spTree>
    <p:extLst>
      <p:ext uri="{BB962C8B-B14F-4D97-AF65-F5344CB8AC3E}">
        <p14:creationId xmlns:p14="http://schemas.microsoft.com/office/powerpoint/2010/main" val="108916853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afik 36">
            <a:extLst>
              <a:ext uri="{FF2B5EF4-FFF2-40B4-BE49-F238E27FC236}">
                <a16:creationId xmlns:a16="http://schemas.microsoft.com/office/drawing/2014/main" id="{805ABFA0-D21F-2270-5176-54001474EA54}"/>
              </a:ext>
            </a:extLst>
          </p:cNvPr>
          <p:cNvGrpSpPr/>
          <p:nvPr/>
        </p:nvGrpSpPr>
        <p:grpSpPr bwMode="gray">
          <a:xfrm>
            <a:off x="6513481" y="228905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" name="Grafik 36">
              <a:extLst>
                <a:ext uri="{FF2B5EF4-FFF2-40B4-BE49-F238E27FC236}">
                  <a16:creationId xmlns:a16="http://schemas.microsoft.com/office/drawing/2014/main" id="{677960D1-AACE-5BA7-B978-0AC922A1B039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5" name="Grafik 36">
                <a:extLst>
                  <a:ext uri="{FF2B5EF4-FFF2-40B4-BE49-F238E27FC236}">
                    <a16:creationId xmlns:a16="http://schemas.microsoft.com/office/drawing/2014/main" id="{36CA9497-AC32-908B-8538-F527241B4DAE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" name="Grafik 36">
                <a:extLst>
                  <a:ext uri="{FF2B5EF4-FFF2-40B4-BE49-F238E27FC236}">
                    <a16:creationId xmlns:a16="http://schemas.microsoft.com/office/drawing/2014/main" id="{544919A6-F796-1034-A764-31E58531469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" name="Grafik 36">
                <a:extLst>
                  <a:ext uri="{FF2B5EF4-FFF2-40B4-BE49-F238E27FC236}">
                    <a16:creationId xmlns:a16="http://schemas.microsoft.com/office/drawing/2014/main" id="{9DD39308-E045-CE6A-9178-6F1EFB6BB75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" name="Grafik 36">
                <a:extLst>
                  <a:ext uri="{FF2B5EF4-FFF2-40B4-BE49-F238E27FC236}">
                    <a16:creationId xmlns:a16="http://schemas.microsoft.com/office/drawing/2014/main" id="{99D416D0-C329-1EAC-CDCB-43CB319FC00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" name="Grafik 36">
                <a:extLst>
                  <a:ext uri="{FF2B5EF4-FFF2-40B4-BE49-F238E27FC236}">
                    <a16:creationId xmlns:a16="http://schemas.microsoft.com/office/drawing/2014/main" id="{0F9F3982-44C1-241F-A234-682B77764CC0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" name="Grafik 36">
              <a:extLst>
                <a:ext uri="{FF2B5EF4-FFF2-40B4-BE49-F238E27FC236}">
                  <a16:creationId xmlns:a16="http://schemas.microsoft.com/office/drawing/2014/main" id="{22AAC8C6-83B4-195A-482D-9623F737A966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" name="Grafik 36">
                <a:extLst>
                  <a:ext uri="{FF2B5EF4-FFF2-40B4-BE49-F238E27FC236}">
                    <a16:creationId xmlns:a16="http://schemas.microsoft.com/office/drawing/2014/main" id="{F7A3A95C-B505-F797-A064-2DABC83E1CFE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6" name="Grafik 36">
                  <a:extLst>
                    <a:ext uri="{FF2B5EF4-FFF2-40B4-BE49-F238E27FC236}">
                      <a16:creationId xmlns:a16="http://schemas.microsoft.com/office/drawing/2014/main" id="{EDF92E35-71EE-6BDF-85CD-15C49FE7CD1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2" name="Grafik 36">
                    <a:extLst>
                      <a:ext uri="{FF2B5EF4-FFF2-40B4-BE49-F238E27FC236}">
                        <a16:creationId xmlns:a16="http://schemas.microsoft.com/office/drawing/2014/main" id="{DEF4593B-EB09-FDEE-0CD2-F0BA4481C03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" name="Grafik 36">
                    <a:extLst>
                      <a:ext uri="{FF2B5EF4-FFF2-40B4-BE49-F238E27FC236}">
                        <a16:creationId xmlns:a16="http://schemas.microsoft.com/office/drawing/2014/main" id="{43CE857E-7D48-4CAA-6573-B14ACD6C125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" name="Grafik 36">
                    <a:extLst>
                      <a:ext uri="{FF2B5EF4-FFF2-40B4-BE49-F238E27FC236}">
                        <a16:creationId xmlns:a16="http://schemas.microsoft.com/office/drawing/2014/main" id="{84420C81-5F0E-6649-2F33-4D3402CC1FD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7" name="Grafik 36">
                  <a:extLst>
                    <a:ext uri="{FF2B5EF4-FFF2-40B4-BE49-F238E27FC236}">
                      <a16:creationId xmlns:a16="http://schemas.microsoft.com/office/drawing/2014/main" id="{DF54D05D-C166-0837-8E70-0769A6940E33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18" name="Grafik 36">
                  <a:extLst>
                    <a:ext uri="{FF2B5EF4-FFF2-40B4-BE49-F238E27FC236}">
                      <a16:creationId xmlns:a16="http://schemas.microsoft.com/office/drawing/2014/main" id="{7DF36F6C-11FD-990A-9CEA-8CED8F25672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9" name="Grafik 36">
                    <a:extLst>
                      <a:ext uri="{FF2B5EF4-FFF2-40B4-BE49-F238E27FC236}">
                        <a16:creationId xmlns:a16="http://schemas.microsoft.com/office/drawing/2014/main" id="{83A3953A-333A-BDEE-D0CC-C0BE6BA643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0" name="Grafik 36">
                    <a:extLst>
                      <a:ext uri="{FF2B5EF4-FFF2-40B4-BE49-F238E27FC236}">
                        <a16:creationId xmlns:a16="http://schemas.microsoft.com/office/drawing/2014/main" id="{6D6CE9A7-BCFC-DF42-F46A-CBEE52594A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" name="Grafik 36">
                    <a:extLst>
                      <a:ext uri="{FF2B5EF4-FFF2-40B4-BE49-F238E27FC236}">
                        <a16:creationId xmlns:a16="http://schemas.microsoft.com/office/drawing/2014/main" id="{9C478A61-1694-68B7-30C9-8FC355D1199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6" name="Grafik 36">
                <a:extLst>
                  <a:ext uri="{FF2B5EF4-FFF2-40B4-BE49-F238E27FC236}">
                    <a16:creationId xmlns:a16="http://schemas.microsoft.com/office/drawing/2014/main" id="{B52A8419-02AF-64AC-6657-4545D4D769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7" name="Grafik 36">
                  <a:extLst>
                    <a:ext uri="{FF2B5EF4-FFF2-40B4-BE49-F238E27FC236}">
                      <a16:creationId xmlns:a16="http://schemas.microsoft.com/office/drawing/2014/main" id="{3A69DB6A-722C-668E-D335-5CC43D18D14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3" name="Grafik 36">
                    <a:extLst>
                      <a:ext uri="{FF2B5EF4-FFF2-40B4-BE49-F238E27FC236}">
                        <a16:creationId xmlns:a16="http://schemas.microsoft.com/office/drawing/2014/main" id="{6B5848EA-C7F1-E764-F4F9-96E6A5ED06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4" name="Grafik 36">
                    <a:extLst>
                      <a:ext uri="{FF2B5EF4-FFF2-40B4-BE49-F238E27FC236}">
                        <a16:creationId xmlns:a16="http://schemas.microsoft.com/office/drawing/2014/main" id="{B3891213-BBC9-F6BB-1A02-BEEEDE99C7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5" name="Grafik 36">
                    <a:extLst>
                      <a:ext uri="{FF2B5EF4-FFF2-40B4-BE49-F238E27FC236}">
                        <a16:creationId xmlns:a16="http://schemas.microsoft.com/office/drawing/2014/main" id="{193267BC-6348-4836-00CF-222C9B457CD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8" name="Grafik 36">
                  <a:extLst>
                    <a:ext uri="{FF2B5EF4-FFF2-40B4-BE49-F238E27FC236}">
                      <a16:creationId xmlns:a16="http://schemas.microsoft.com/office/drawing/2014/main" id="{15FA678D-107E-AE59-583F-6946F894E9D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" name="Grafik 36">
                  <a:extLst>
                    <a:ext uri="{FF2B5EF4-FFF2-40B4-BE49-F238E27FC236}">
                      <a16:creationId xmlns:a16="http://schemas.microsoft.com/office/drawing/2014/main" id="{E0881BC3-E494-ABA7-6006-E9AAA8C5F095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" name="Grafik 36">
                    <a:extLst>
                      <a:ext uri="{FF2B5EF4-FFF2-40B4-BE49-F238E27FC236}">
                        <a16:creationId xmlns:a16="http://schemas.microsoft.com/office/drawing/2014/main" id="{3867A823-8E82-295E-55D5-C9B0B8E263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" name="Grafik 36">
                    <a:extLst>
                      <a:ext uri="{FF2B5EF4-FFF2-40B4-BE49-F238E27FC236}">
                        <a16:creationId xmlns:a16="http://schemas.microsoft.com/office/drawing/2014/main" id="{EEC07A72-288C-1CBD-B877-91769065DFC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2" name="Grafik 36">
                    <a:extLst>
                      <a:ext uri="{FF2B5EF4-FFF2-40B4-BE49-F238E27FC236}">
                        <a16:creationId xmlns:a16="http://schemas.microsoft.com/office/drawing/2014/main" id="{1D3EF0DF-A3FB-AFC0-800B-101442D605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30" name="Grafik 36">
            <a:extLst>
              <a:ext uri="{FF2B5EF4-FFF2-40B4-BE49-F238E27FC236}">
                <a16:creationId xmlns:a16="http://schemas.microsoft.com/office/drawing/2014/main" id="{7B98DE10-BA6B-3F18-160A-4E96FAC7BE4F}"/>
              </a:ext>
            </a:extLst>
          </p:cNvPr>
          <p:cNvGrpSpPr/>
          <p:nvPr/>
        </p:nvGrpSpPr>
        <p:grpSpPr bwMode="gray">
          <a:xfrm>
            <a:off x="7720280" y="228905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1" name="Grafik 36">
              <a:extLst>
                <a:ext uri="{FF2B5EF4-FFF2-40B4-BE49-F238E27FC236}">
                  <a16:creationId xmlns:a16="http://schemas.microsoft.com/office/drawing/2014/main" id="{260ABF50-1ED2-70FD-3680-45F8EC5331F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3" name="Grafik 36">
                <a:extLst>
                  <a:ext uri="{FF2B5EF4-FFF2-40B4-BE49-F238E27FC236}">
                    <a16:creationId xmlns:a16="http://schemas.microsoft.com/office/drawing/2014/main" id="{39FAE70C-D762-AA34-F386-2ABB0E3300F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" name="Grafik 36">
                <a:extLst>
                  <a:ext uri="{FF2B5EF4-FFF2-40B4-BE49-F238E27FC236}">
                    <a16:creationId xmlns:a16="http://schemas.microsoft.com/office/drawing/2014/main" id="{4B582F0E-1B0F-A2D7-E439-A00F7A60EADA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" name="Grafik 36">
                <a:extLst>
                  <a:ext uri="{FF2B5EF4-FFF2-40B4-BE49-F238E27FC236}">
                    <a16:creationId xmlns:a16="http://schemas.microsoft.com/office/drawing/2014/main" id="{F4AE49D7-E0B9-CDC2-50F9-A643E7C66A2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" name="Grafik 36">
                <a:extLst>
                  <a:ext uri="{FF2B5EF4-FFF2-40B4-BE49-F238E27FC236}">
                    <a16:creationId xmlns:a16="http://schemas.microsoft.com/office/drawing/2014/main" id="{8736F197-893E-3CA2-43F8-8CB46E62E15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" name="Grafik 36">
                <a:extLst>
                  <a:ext uri="{FF2B5EF4-FFF2-40B4-BE49-F238E27FC236}">
                    <a16:creationId xmlns:a16="http://schemas.microsoft.com/office/drawing/2014/main" id="{91C0387A-C141-DC7B-2440-AB7FE42438B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2" name="Grafik 36">
              <a:extLst>
                <a:ext uri="{FF2B5EF4-FFF2-40B4-BE49-F238E27FC236}">
                  <a16:creationId xmlns:a16="http://schemas.microsoft.com/office/drawing/2014/main" id="{B5630AC5-295D-7977-A79B-C33ED4E27DAE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33" name="Grafik 36">
                <a:extLst>
                  <a:ext uri="{FF2B5EF4-FFF2-40B4-BE49-F238E27FC236}">
                    <a16:creationId xmlns:a16="http://schemas.microsoft.com/office/drawing/2014/main" id="{193A1E17-69C7-540D-81A3-47F03545A294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44" name="Grafik 36">
                  <a:extLst>
                    <a:ext uri="{FF2B5EF4-FFF2-40B4-BE49-F238E27FC236}">
                      <a16:creationId xmlns:a16="http://schemas.microsoft.com/office/drawing/2014/main" id="{BEE5A630-3A74-44A8-1B6B-5F3F885D6593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0" name="Grafik 36">
                    <a:extLst>
                      <a:ext uri="{FF2B5EF4-FFF2-40B4-BE49-F238E27FC236}">
                        <a16:creationId xmlns:a16="http://schemas.microsoft.com/office/drawing/2014/main" id="{8FC65B1E-C1B0-8075-3AC3-C18A033E1DC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1" name="Grafik 36">
                    <a:extLst>
                      <a:ext uri="{FF2B5EF4-FFF2-40B4-BE49-F238E27FC236}">
                        <a16:creationId xmlns:a16="http://schemas.microsoft.com/office/drawing/2014/main" id="{9FC42ED2-A45C-F38C-A35A-9B8BC26745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2" name="Grafik 36">
                    <a:extLst>
                      <a:ext uri="{FF2B5EF4-FFF2-40B4-BE49-F238E27FC236}">
                        <a16:creationId xmlns:a16="http://schemas.microsoft.com/office/drawing/2014/main" id="{DCD5F007-EB87-B3F7-E867-5814DBAEE8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45" name="Grafik 36">
                  <a:extLst>
                    <a:ext uri="{FF2B5EF4-FFF2-40B4-BE49-F238E27FC236}">
                      <a16:creationId xmlns:a16="http://schemas.microsoft.com/office/drawing/2014/main" id="{E44B291E-EF5A-26B9-B918-0F3FF072AF6F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46" name="Grafik 36">
                  <a:extLst>
                    <a:ext uri="{FF2B5EF4-FFF2-40B4-BE49-F238E27FC236}">
                      <a16:creationId xmlns:a16="http://schemas.microsoft.com/office/drawing/2014/main" id="{5BDE5659-4602-D378-64B4-B6F4DBB74EB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47" name="Grafik 36">
                    <a:extLst>
                      <a:ext uri="{FF2B5EF4-FFF2-40B4-BE49-F238E27FC236}">
                        <a16:creationId xmlns:a16="http://schemas.microsoft.com/office/drawing/2014/main" id="{980FDA1F-CBF5-89F1-2BBE-A1B85BA7FF8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8" name="Grafik 36">
                    <a:extLst>
                      <a:ext uri="{FF2B5EF4-FFF2-40B4-BE49-F238E27FC236}">
                        <a16:creationId xmlns:a16="http://schemas.microsoft.com/office/drawing/2014/main" id="{21568460-6E34-83D6-C875-BA44695AC9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9" name="Grafik 36">
                    <a:extLst>
                      <a:ext uri="{FF2B5EF4-FFF2-40B4-BE49-F238E27FC236}">
                        <a16:creationId xmlns:a16="http://schemas.microsoft.com/office/drawing/2014/main" id="{3779FFA0-6DA9-4139-5913-226B652833A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34" name="Grafik 36">
                <a:extLst>
                  <a:ext uri="{FF2B5EF4-FFF2-40B4-BE49-F238E27FC236}">
                    <a16:creationId xmlns:a16="http://schemas.microsoft.com/office/drawing/2014/main" id="{DA172792-4007-C661-01E7-3FDDFDC98B19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35" name="Grafik 36">
                  <a:extLst>
                    <a:ext uri="{FF2B5EF4-FFF2-40B4-BE49-F238E27FC236}">
                      <a16:creationId xmlns:a16="http://schemas.microsoft.com/office/drawing/2014/main" id="{1F2465CC-3481-9161-322F-D0ED441D3E7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41" name="Grafik 36">
                    <a:extLst>
                      <a:ext uri="{FF2B5EF4-FFF2-40B4-BE49-F238E27FC236}">
                        <a16:creationId xmlns:a16="http://schemas.microsoft.com/office/drawing/2014/main" id="{7DAB5559-FF58-9A3E-DCB7-786A0E31893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2" name="Grafik 36">
                    <a:extLst>
                      <a:ext uri="{FF2B5EF4-FFF2-40B4-BE49-F238E27FC236}">
                        <a16:creationId xmlns:a16="http://schemas.microsoft.com/office/drawing/2014/main" id="{371412AB-4268-F215-0D45-F974C96EE2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3" name="Grafik 36">
                    <a:extLst>
                      <a:ext uri="{FF2B5EF4-FFF2-40B4-BE49-F238E27FC236}">
                        <a16:creationId xmlns:a16="http://schemas.microsoft.com/office/drawing/2014/main" id="{A887B695-188C-C5CE-519F-0DA664508F0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6" name="Grafik 36">
                  <a:extLst>
                    <a:ext uri="{FF2B5EF4-FFF2-40B4-BE49-F238E27FC236}">
                      <a16:creationId xmlns:a16="http://schemas.microsoft.com/office/drawing/2014/main" id="{F57078A7-7598-43C8-5D06-515DF390BC69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7" name="Grafik 36">
                  <a:extLst>
                    <a:ext uri="{FF2B5EF4-FFF2-40B4-BE49-F238E27FC236}">
                      <a16:creationId xmlns:a16="http://schemas.microsoft.com/office/drawing/2014/main" id="{EDC50E29-B258-0F39-96F0-028E051BC92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38" name="Grafik 36">
                    <a:extLst>
                      <a:ext uri="{FF2B5EF4-FFF2-40B4-BE49-F238E27FC236}">
                        <a16:creationId xmlns:a16="http://schemas.microsoft.com/office/drawing/2014/main" id="{B559DBF9-AAD9-B1FF-DF1B-252EFD4899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" name="Grafik 36">
                    <a:extLst>
                      <a:ext uri="{FF2B5EF4-FFF2-40B4-BE49-F238E27FC236}">
                        <a16:creationId xmlns:a16="http://schemas.microsoft.com/office/drawing/2014/main" id="{52E2A1EB-A1FB-11AD-868A-AB23EECDA79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" name="Grafik 36">
                    <a:extLst>
                      <a:ext uri="{FF2B5EF4-FFF2-40B4-BE49-F238E27FC236}">
                        <a16:creationId xmlns:a16="http://schemas.microsoft.com/office/drawing/2014/main" id="{99FAE9A2-E85A-BF9D-16AF-F8E0D516C9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58" name="Grafik 36">
            <a:extLst>
              <a:ext uri="{FF2B5EF4-FFF2-40B4-BE49-F238E27FC236}">
                <a16:creationId xmlns:a16="http://schemas.microsoft.com/office/drawing/2014/main" id="{D273B681-88FF-0725-6A8D-1DD6F0981251}"/>
              </a:ext>
            </a:extLst>
          </p:cNvPr>
          <p:cNvGrpSpPr/>
          <p:nvPr/>
        </p:nvGrpSpPr>
        <p:grpSpPr bwMode="gray">
          <a:xfrm>
            <a:off x="5306682" y="228905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9" name="Grafik 36">
              <a:extLst>
                <a:ext uri="{FF2B5EF4-FFF2-40B4-BE49-F238E27FC236}">
                  <a16:creationId xmlns:a16="http://schemas.microsoft.com/office/drawing/2014/main" id="{6843FEB7-4E19-046D-15DA-7A34C86B25BC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81" name="Grafik 36">
                <a:extLst>
                  <a:ext uri="{FF2B5EF4-FFF2-40B4-BE49-F238E27FC236}">
                    <a16:creationId xmlns:a16="http://schemas.microsoft.com/office/drawing/2014/main" id="{5666EF4C-E927-A969-A669-AB6184C81D0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2" name="Grafik 36">
                <a:extLst>
                  <a:ext uri="{FF2B5EF4-FFF2-40B4-BE49-F238E27FC236}">
                    <a16:creationId xmlns:a16="http://schemas.microsoft.com/office/drawing/2014/main" id="{82572A31-EA53-77A5-4E45-5D4817B067D8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3" name="Grafik 36">
                <a:extLst>
                  <a:ext uri="{FF2B5EF4-FFF2-40B4-BE49-F238E27FC236}">
                    <a16:creationId xmlns:a16="http://schemas.microsoft.com/office/drawing/2014/main" id="{56E5F77B-036C-94BF-C668-78879D9BBD6A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4" name="Grafik 36">
                <a:extLst>
                  <a:ext uri="{FF2B5EF4-FFF2-40B4-BE49-F238E27FC236}">
                    <a16:creationId xmlns:a16="http://schemas.microsoft.com/office/drawing/2014/main" id="{97211EED-D50F-DFDC-58F7-84A14D5AA540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5" name="Grafik 36">
                <a:extLst>
                  <a:ext uri="{FF2B5EF4-FFF2-40B4-BE49-F238E27FC236}">
                    <a16:creationId xmlns:a16="http://schemas.microsoft.com/office/drawing/2014/main" id="{EA70263D-A05C-6719-B9E5-736C8636FD2A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0" name="Grafik 36">
              <a:extLst>
                <a:ext uri="{FF2B5EF4-FFF2-40B4-BE49-F238E27FC236}">
                  <a16:creationId xmlns:a16="http://schemas.microsoft.com/office/drawing/2014/main" id="{E3A7EDBD-5C98-F676-24CE-BCFF4694BF3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1" name="Grafik 36">
                <a:extLst>
                  <a:ext uri="{FF2B5EF4-FFF2-40B4-BE49-F238E27FC236}">
                    <a16:creationId xmlns:a16="http://schemas.microsoft.com/office/drawing/2014/main" id="{5214F098-6528-9845-680B-9FE5EB95D183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72" name="Grafik 36">
                  <a:extLst>
                    <a:ext uri="{FF2B5EF4-FFF2-40B4-BE49-F238E27FC236}">
                      <a16:creationId xmlns:a16="http://schemas.microsoft.com/office/drawing/2014/main" id="{38F0A09C-3533-8961-B205-DF21352947D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78" name="Grafik 36">
                    <a:extLst>
                      <a:ext uri="{FF2B5EF4-FFF2-40B4-BE49-F238E27FC236}">
                        <a16:creationId xmlns:a16="http://schemas.microsoft.com/office/drawing/2014/main" id="{7BD8E13F-65BD-0542-6037-5E626CE33BF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9" name="Grafik 36">
                    <a:extLst>
                      <a:ext uri="{FF2B5EF4-FFF2-40B4-BE49-F238E27FC236}">
                        <a16:creationId xmlns:a16="http://schemas.microsoft.com/office/drawing/2014/main" id="{B5F9C382-13B8-2A09-E62D-4937678B8C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0" name="Grafik 36">
                    <a:extLst>
                      <a:ext uri="{FF2B5EF4-FFF2-40B4-BE49-F238E27FC236}">
                        <a16:creationId xmlns:a16="http://schemas.microsoft.com/office/drawing/2014/main" id="{09BED46A-C22D-6C79-C54D-75C3EA6E6D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73" name="Grafik 36">
                  <a:extLst>
                    <a:ext uri="{FF2B5EF4-FFF2-40B4-BE49-F238E27FC236}">
                      <a16:creationId xmlns:a16="http://schemas.microsoft.com/office/drawing/2014/main" id="{A23A0EC0-28EF-7FFD-E055-77A518B834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74" name="Grafik 36">
                  <a:extLst>
                    <a:ext uri="{FF2B5EF4-FFF2-40B4-BE49-F238E27FC236}">
                      <a16:creationId xmlns:a16="http://schemas.microsoft.com/office/drawing/2014/main" id="{8B1ED712-A870-7637-81E0-D73138FB3DB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75" name="Grafik 36">
                    <a:extLst>
                      <a:ext uri="{FF2B5EF4-FFF2-40B4-BE49-F238E27FC236}">
                        <a16:creationId xmlns:a16="http://schemas.microsoft.com/office/drawing/2014/main" id="{08BD3D67-1238-159E-CEB2-BA8FBB63FC9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6" name="Grafik 36">
                    <a:extLst>
                      <a:ext uri="{FF2B5EF4-FFF2-40B4-BE49-F238E27FC236}">
                        <a16:creationId xmlns:a16="http://schemas.microsoft.com/office/drawing/2014/main" id="{2A0FA4D4-6E58-FC30-74EC-788842057E7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7" name="Grafik 36">
                    <a:extLst>
                      <a:ext uri="{FF2B5EF4-FFF2-40B4-BE49-F238E27FC236}">
                        <a16:creationId xmlns:a16="http://schemas.microsoft.com/office/drawing/2014/main" id="{266DAB5B-62A2-A31F-1DBE-59145967D0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62" name="Grafik 36">
                <a:extLst>
                  <a:ext uri="{FF2B5EF4-FFF2-40B4-BE49-F238E27FC236}">
                    <a16:creationId xmlns:a16="http://schemas.microsoft.com/office/drawing/2014/main" id="{9E36C580-0CB4-80CF-9529-A57B34264390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3" name="Grafik 36">
                  <a:extLst>
                    <a:ext uri="{FF2B5EF4-FFF2-40B4-BE49-F238E27FC236}">
                      <a16:creationId xmlns:a16="http://schemas.microsoft.com/office/drawing/2014/main" id="{48DAA7BC-1E74-A93C-5B88-775915852E42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9" name="Grafik 36">
                    <a:extLst>
                      <a:ext uri="{FF2B5EF4-FFF2-40B4-BE49-F238E27FC236}">
                        <a16:creationId xmlns:a16="http://schemas.microsoft.com/office/drawing/2014/main" id="{AF7AFACF-A698-C9EF-0AAD-0D499E1374D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0" name="Grafik 36">
                    <a:extLst>
                      <a:ext uri="{FF2B5EF4-FFF2-40B4-BE49-F238E27FC236}">
                        <a16:creationId xmlns:a16="http://schemas.microsoft.com/office/drawing/2014/main" id="{979C7DB9-01B4-CA15-7290-3749279F05B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1" name="Grafik 36">
                    <a:extLst>
                      <a:ext uri="{FF2B5EF4-FFF2-40B4-BE49-F238E27FC236}">
                        <a16:creationId xmlns:a16="http://schemas.microsoft.com/office/drawing/2014/main" id="{08377C9A-DA6A-8C27-A7A7-41A74F7B4E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4" name="Grafik 36">
                  <a:extLst>
                    <a:ext uri="{FF2B5EF4-FFF2-40B4-BE49-F238E27FC236}">
                      <a16:creationId xmlns:a16="http://schemas.microsoft.com/office/drawing/2014/main" id="{8621A8F9-5A15-B54E-6497-6CA3799516E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5" name="Grafik 36">
                  <a:extLst>
                    <a:ext uri="{FF2B5EF4-FFF2-40B4-BE49-F238E27FC236}">
                      <a16:creationId xmlns:a16="http://schemas.microsoft.com/office/drawing/2014/main" id="{E882FA44-C59E-108C-50DC-2A4A0F5F4C2E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6" name="Grafik 36">
                    <a:extLst>
                      <a:ext uri="{FF2B5EF4-FFF2-40B4-BE49-F238E27FC236}">
                        <a16:creationId xmlns:a16="http://schemas.microsoft.com/office/drawing/2014/main" id="{2901A3C6-D082-7F18-712B-F7959FBC36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7" name="Grafik 36">
                    <a:extLst>
                      <a:ext uri="{FF2B5EF4-FFF2-40B4-BE49-F238E27FC236}">
                        <a16:creationId xmlns:a16="http://schemas.microsoft.com/office/drawing/2014/main" id="{4DC77579-2A1F-0D3F-7E13-52C8DB2C0A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8" name="Grafik 36">
                    <a:extLst>
                      <a:ext uri="{FF2B5EF4-FFF2-40B4-BE49-F238E27FC236}">
                        <a16:creationId xmlns:a16="http://schemas.microsoft.com/office/drawing/2014/main" id="{AF462BF6-DA64-9DC3-9E10-526A1A0729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86" name="Grafik 36">
            <a:extLst>
              <a:ext uri="{FF2B5EF4-FFF2-40B4-BE49-F238E27FC236}">
                <a16:creationId xmlns:a16="http://schemas.microsoft.com/office/drawing/2014/main" id="{DFCB4992-6541-C00C-3CA3-1FD7DBFAC33F}"/>
              </a:ext>
            </a:extLst>
          </p:cNvPr>
          <p:cNvGrpSpPr/>
          <p:nvPr/>
        </p:nvGrpSpPr>
        <p:grpSpPr bwMode="gray">
          <a:xfrm>
            <a:off x="4099883" y="228905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87" name="Grafik 36">
              <a:extLst>
                <a:ext uri="{FF2B5EF4-FFF2-40B4-BE49-F238E27FC236}">
                  <a16:creationId xmlns:a16="http://schemas.microsoft.com/office/drawing/2014/main" id="{B57671CD-A443-3569-6713-7399DBE6ABC8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09" name="Grafik 36">
                <a:extLst>
                  <a:ext uri="{FF2B5EF4-FFF2-40B4-BE49-F238E27FC236}">
                    <a16:creationId xmlns:a16="http://schemas.microsoft.com/office/drawing/2014/main" id="{F80C6BB6-508A-430E-1F70-2EF40BAF829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0" name="Grafik 36">
                <a:extLst>
                  <a:ext uri="{FF2B5EF4-FFF2-40B4-BE49-F238E27FC236}">
                    <a16:creationId xmlns:a16="http://schemas.microsoft.com/office/drawing/2014/main" id="{19978C5D-0240-1928-FEA5-1AC9A253003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1" name="Grafik 36">
                <a:extLst>
                  <a:ext uri="{FF2B5EF4-FFF2-40B4-BE49-F238E27FC236}">
                    <a16:creationId xmlns:a16="http://schemas.microsoft.com/office/drawing/2014/main" id="{51B63E53-35E7-8465-8822-5D72F98DA926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2" name="Grafik 36">
                <a:extLst>
                  <a:ext uri="{FF2B5EF4-FFF2-40B4-BE49-F238E27FC236}">
                    <a16:creationId xmlns:a16="http://schemas.microsoft.com/office/drawing/2014/main" id="{D568D708-FCFF-EE76-AAFD-DDBA979051F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3" name="Grafik 36">
                <a:extLst>
                  <a:ext uri="{FF2B5EF4-FFF2-40B4-BE49-F238E27FC236}">
                    <a16:creationId xmlns:a16="http://schemas.microsoft.com/office/drawing/2014/main" id="{70367EC0-404B-00C3-BB48-21436589832C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8" name="Grafik 36">
              <a:extLst>
                <a:ext uri="{FF2B5EF4-FFF2-40B4-BE49-F238E27FC236}">
                  <a16:creationId xmlns:a16="http://schemas.microsoft.com/office/drawing/2014/main" id="{9332462F-283F-CE21-3F39-2058C4A8FE0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89" name="Grafik 36">
                <a:extLst>
                  <a:ext uri="{FF2B5EF4-FFF2-40B4-BE49-F238E27FC236}">
                    <a16:creationId xmlns:a16="http://schemas.microsoft.com/office/drawing/2014/main" id="{61286C00-5197-A02D-B3AE-0F5701A9590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00" name="Grafik 36">
                  <a:extLst>
                    <a:ext uri="{FF2B5EF4-FFF2-40B4-BE49-F238E27FC236}">
                      <a16:creationId xmlns:a16="http://schemas.microsoft.com/office/drawing/2014/main" id="{AB4C0396-FFA9-61D5-59A3-FEFF4808D91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06" name="Grafik 36">
                    <a:extLst>
                      <a:ext uri="{FF2B5EF4-FFF2-40B4-BE49-F238E27FC236}">
                        <a16:creationId xmlns:a16="http://schemas.microsoft.com/office/drawing/2014/main" id="{8BE4B477-158F-1A02-5C57-08862B90A08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7" name="Grafik 36">
                    <a:extLst>
                      <a:ext uri="{FF2B5EF4-FFF2-40B4-BE49-F238E27FC236}">
                        <a16:creationId xmlns:a16="http://schemas.microsoft.com/office/drawing/2014/main" id="{68D98760-88FE-96B3-CD99-02FABF50C3A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8" name="Grafik 36">
                    <a:extLst>
                      <a:ext uri="{FF2B5EF4-FFF2-40B4-BE49-F238E27FC236}">
                        <a16:creationId xmlns:a16="http://schemas.microsoft.com/office/drawing/2014/main" id="{FB666D6C-F46D-89F9-E712-6556C185E1B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01" name="Grafik 36">
                  <a:extLst>
                    <a:ext uri="{FF2B5EF4-FFF2-40B4-BE49-F238E27FC236}">
                      <a16:creationId xmlns:a16="http://schemas.microsoft.com/office/drawing/2014/main" id="{912C01E2-DA0F-821B-80BA-EBBBAEF7FB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102" name="Grafik 36">
                  <a:extLst>
                    <a:ext uri="{FF2B5EF4-FFF2-40B4-BE49-F238E27FC236}">
                      <a16:creationId xmlns:a16="http://schemas.microsoft.com/office/drawing/2014/main" id="{53E9A2CC-3929-3E5D-A752-7BCFF04311C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03" name="Grafik 36">
                    <a:extLst>
                      <a:ext uri="{FF2B5EF4-FFF2-40B4-BE49-F238E27FC236}">
                        <a16:creationId xmlns:a16="http://schemas.microsoft.com/office/drawing/2014/main" id="{E60F5659-C5E3-7356-909F-4FF48A9FA7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4" name="Grafik 36">
                    <a:extLst>
                      <a:ext uri="{FF2B5EF4-FFF2-40B4-BE49-F238E27FC236}">
                        <a16:creationId xmlns:a16="http://schemas.microsoft.com/office/drawing/2014/main" id="{CD07A5E6-3597-DDFE-995C-3EAF398C5E9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5" name="Grafik 36">
                    <a:extLst>
                      <a:ext uri="{FF2B5EF4-FFF2-40B4-BE49-F238E27FC236}">
                        <a16:creationId xmlns:a16="http://schemas.microsoft.com/office/drawing/2014/main" id="{C08B4C9A-1E2E-D4AE-9F79-7429844CF7C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90" name="Grafik 36">
                <a:extLst>
                  <a:ext uri="{FF2B5EF4-FFF2-40B4-BE49-F238E27FC236}">
                    <a16:creationId xmlns:a16="http://schemas.microsoft.com/office/drawing/2014/main" id="{4E3FA89C-0DE1-A9F1-82D3-45955AA1BC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1" name="Grafik 36">
                  <a:extLst>
                    <a:ext uri="{FF2B5EF4-FFF2-40B4-BE49-F238E27FC236}">
                      <a16:creationId xmlns:a16="http://schemas.microsoft.com/office/drawing/2014/main" id="{1FF76BBB-4AD9-6F3D-104E-F6CE2ED57CAE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7" name="Grafik 36">
                    <a:extLst>
                      <a:ext uri="{FF2B5EF4-FFF2-40B4-BE49-F238E27FC236}">
                        <a16:creationId xmlns:a16="http://schemas.microsoft.com/office/drawing/2014/main" id="{D6DC4521-2777-94C5-B0F3-C4C56779CD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8" name="Grafik 36">
                    <a:extLst>
                      <a:ext uri="{FF2B5EF4-FFF2-40B4-BE49-F238E27FC236}">
                        <a16:creationId xmlns:a16="http://schemas.microsoft.com/office/drawing/2014/main" id="{BD1E27B6-133A-488A-CFC3-46B04E5DC25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9" name="Grafik 36">
                    <a:extLst>
                      <a:ext uri="{FF2B5EF4-FFF2-40B4-BE49-F238E27FC236}">
                        <a16:creationId xmlns:a16="http://schemas.microsoft.com/office/drawing/2014/main" id="{78A616CB-25DD-4B07-E56E-2CEFD3D26C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92" name="Grafik 36">
                  <a:extLst>
                    <a:ext uri="{FF2B5EF4-FFF2-40B4-BE49-F238E27FC236}">
                      <a16:creationId xmlns:a16="http://schemas.microsoft.com/office/drawing/2014/main" id="{799495E2-6A60-0F56-05F6-474BF819134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3" name="Grafik 36">
                  <a:extLst>
                    <a:ext uri="{FF2B5EF4-FFF2-40B4-BE49-F238E27FC236}">
                      <a16:creationId xmlns:a16="http://schemas.microsoft.com/office/drawing/2014/main" id="{3BF26573-8F99-25C6-954C-6CA3153201B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4" name="Grafik 36">
                    <a:extLst>
                      <a:ext uri="{FF2B5EF4-FFF2-40B4-BE49-F238E27FC236}">
                        <a16:creationId xmlns:a16="http://schemas.microsoft.com/office/drawing/2014/main" id="{23D4C708-9C53-C1EE-B01D-7112CC6FAD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5" name="Grafik 36">
                    <a:extLst>
                      <a:ext uri="{FF2B5EF4-FFF2-40B4-BE49-F238E27FC236}">
                        <a16:creationId xmlns:a16="http://schemas.microsoft.com/office/drawing/2014/main" id="{58C499C9-40A2-944D-F946-508329BBCF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6" name="Grafik 36">
                    <a:extLst>
                      <a:ext uri="{FF2B5EF4-FFF2-40B4-BE49-F238E27FC236}">
                        <a16:creationId xmlns:a16="http://schemas.microsoft.com/office/drawing/2014/main" id="{B38B316D-5BFE-211D-7A58-2ABDB27E51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cxnSp>
        <p:nvCxnSpPr>
          <p:cNvPr id="210" name="Straight Connector 209">
            <a:extLst>
              <a:ext uri="{FF2B5EF4-FFF2-40B4-BE49-F238E27FC236}">
                <a16:creationId xmlns:a16="http://schemas.microsoft.com/office/drawing/2014/main" id="{F820D728-CFBB-064B-9D49-D6663B5D5F8D}"/>
              </a:ext>
            </a:extLst>
          </p:cNvPr>
          <p:cNvCxnSpPr>
            <a:cxnSpLocks/>
            <a:stCxn id="626" idx="5"/>
            <a:endCxn id="81" idx="9"/>
          </p:cNvCxnSpPr>
          <p:nvPr/>
        </p:nvCxnSpPr>
        <p:spPr>
          <a:xfrm flipV="1">
            <a:off x="4468083" y="2652763"/>
            <a:ext cx="849292" cy="87199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Straight Connector 212">
            <a:extLst>
              <a:ext uri="{FF2B5EF4-FFF2-40B4-BE49-F238E27FC236}">
                <a16:creationId xmlns:a16="http://schemas.microsoft.com/office/drawing/2014/main" id="{8F830562-19DC-7CC7-63B2-F9263867BFE3}"/>
              </a:ext>
            </a:extLst>
          </p:cNvPr>
          <p:cNvCxnSpPr>
            <a:cxnSpLocks/>
            <a:stCxn id="596" idx="12"/>
            <a:endCxn id="109" idx="10"/>
          </p:cNvCxnSpPr>
          <p:nvPr/>
        </p:nvCxnSpPr>
        <p:spPr>
          <a:xfrm flipH="1" flipV="1">
            <a:off x="4415115" y="2652763"/>
            <a:ext cx="897629" cy="922039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Straight Connector 215">
            <a:extLst>
              <a:ext uri="{FF2B5EF4-FFF2-40B4-BE49-F238E27FC236}">
                <a16:creationId xmlns:a16="http://schemas.microsoft.com/office/drawing/2014/main" id="{402A34BE-0B92-A0D0-189B-B09371A7EB9E}"/>
              </a:ext>
            </a:extLst>
          </p:cNvPr>
          <p:cNvCxnSpPr>
            <a:cxnSpLocks/>
          </p:cNvCxnSpPr>
          <p:nvPr/>
        </p:nvCxnSpPr>
        <p:spPr>
          <a:xfrm flipH="1" flipV="1">
            <a:off x="7888895" y="2652763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Straight Connector 218">
            <a:extLst>
              <a:ext uri="{FF2B5EF4-FFF2-40B4-BE49-F238E27FC236}">
                <a16:creationId xmlns:a16="http://schemas.microsoft.com/office/drawing/2014/main" id="{561AA80B-9FA6-DC88-212C-14884BCAF4E9}"/>
              </a:ext>
            </a:extLst>
          </p:cNvPr>
          <p:cNvCxnSpPr>
            <a:cxnSpLocks/>
          </p:cNvCxnSpPr>
          <p:nvPr/>
        </p:nvCxnSpPr>
        <p:spPr>
          <a:xfrm flipV="1">
            <a:off x="4430402" y="2480668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>
            <a:extLst>
              <a:ext uri="{FF2B5EF4-FFF2-40B4-BE49-F238E27FC236}">
                <a16:creationId xmlns:a16="http://schemas.microsoft.com/office/drawing/2014/main" id="{0571A5AB-9271-FA4D-A4D8-7E9C9DCF7AE7}"/>
              </a:ext>
            </a:extLst>
          </p:cNvPr>
          <p:cNvCxnSpPr>
            <a:cxnSpLocks/>
          </p:cNvCxnSpPr>
          <p:nvPr/>
        </p:nvCxnSpPr>
        <p:spPr>
          <a:xfrm flipV="1">
            <a:off x="5625029" y="2476106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>
            <a:extLst>
              <a:ext uri="{FF2B5EF4-FFF2-40B4-BE49-F238E27FC236}">
                <a16:creationId xmlns:a16="http://schemas.microsoft.com/office/drawing/2014/main" id="{34F824AB-9145-20EB-A948-1AE1A5EEAD29}"/>
              </a:ext>
            </a:extLst>
          </p:cNvPr>
          <p:cNvCxnSpPr>
            <a:cxnSpLocks/>
          </p:cNvCxnSpPr>
          <p:nvPr/>
        </p:nvCxnSpPr>
        <p:spPr>
          <a:xfrm flipV="1">
            <a:off x="6836148" y="2470422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TextBox 226">
            <a:extLst>
              <a:ext uri="{FF2B5EF4-FFF2-40B4-BE49-F238E27FC236}">
                <a16:creationId xmlns:a16="http://schemas.microsoft.com/office/drawing/2014/main" id="{9167C8CD-D6C7-EA29-004F-3911589C9108}"/>
              </a:ext>
            </a:extLst>
          </p:cNvPr>
          <p:cNvSpPr txBox="1"/>
          <p:nvPr/>
        </p:nvSpPr>
        <p:spPr>
          <a:xfrm>
            <a:off x="5408918" y="1943663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3</a:t>
            </a:r>
            <a:endParaRPr lang="en-DE" sz="1100" b="1" dirty="0"/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8EC6B962-6CC9-E1F1-B2EC-7F8ECEA9B52A}"/>
              </a:ext>
            </a:extLst>
          </p:cNvPr>
          <p:cNvSpPr txBox="1"/>
          <p:nvPr/>
        </p:nvSpPr>
        <p:spPr>
          <a:xfrm>
            <a:off x="6208311" y="1944585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5</a:t>
            </a:r>
            <a:endParaRPr lang="en-DE" sz="1100" b="1" dirty="0"/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5B761EC3-F8A9-6236-1697-5BE1EDE5E56E}"/>
              </a:ext>
            </a:extLst>
          </p:cNvPr>
          <p:cNvSpPr txBox="1"/>
          <p:nvPr/>
        </p:nvSpPr>
        <p:spPr>
          <a:xfrm>
            <a:off x="7646220" y="1944393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7</a:t>
            </a:r>
            <a:endParaRPr lang="en-DE" sz="1100" b="1" dirty="0"/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50B35E80-68C6-7240-F4E9-0516047948A2}"/>
              </a:ext>
            </a:extLst>
          </p:cNvPr>
          <p:cNvSpPr txBox="1"/>
          <p:nvPr/>
        </p:nvSpPr>
        <p:spPr>
          <a:xfrm>
            <a:off x="3999311" y="1944393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1</a:t>
            </a:r>
            <a:endParaRPr lang="en-DE" sz="1100" b="1" dirty="0"/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127FCC1C-A664-4811-ECA5-3ECCA08231D7}"/>
              </a:ext>
            </a:extLst>
          </p:cNvPr>
          <p:cNvSpPr txBox="1"/>
          <p:nvPr/>
        </p:nvSpPr>
        <p:spPr>
          <a:xfrm>
            <a:off x="3240244" y="2497945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265" name="TextBox 264">
            <a:extLst>
              <a:ext uri="{FF2B5EF4-FFF2-40B4-BE49-F238E27FC236}">
                <a16:creationId xmlns:a16="http://schemas.microsoft.com/office/drawing/2014/main" id="{8E527F25-F6A6-4804-5B00-AC63323FA955}"/>
              </a:ext>
            </a:extLst>
          </p:cNvPr>
          <p:cNvSpPr txBox="1"/>
          <p:nvPr/>
        </p:nvSpPr>
        <p:spPr>
          <a:xfrm>
            <a:off x="5612148" y="2284136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4</a:t>
            </a:r>
            <a:endParaRPr lang="en-DE" sz="900" dirty="0"/>
          </a:p>
        </p:txBody>
      </p:sp>
      <p:sp>
        <p:nvSpPr>
          <p:cNvPr id="267" name="TextBox 266">
            <a:extLst>
              <a:ext uri="{FF2B5EF4-FFF2-40B4-BE49-F238E27FC236}">
                <a16:creationId xmlns:a16="http://schemas.microsoft.com/office/drawing/2014/main" id="{AFFDEE78-1795-3C3F-29DC-B66DBF9D6D08}"/>
              </a:ext>
            </a:extLst>
          </p:cNvPr>
          <p:cNvSpPr txBox="1"/>
          <p:nvPr/>
        </p:nvSpPr>
        <p:spPr>
          <a:xfrm>
            <a:off x="3717170" y="2321578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sp>
        <p:nvSpPr>
          <p:cNvPr id="269" name="TextBox 268">
            <a:extLst>
              <a:ext uri="{FF2B5EF4-FFF2-40B4-BE49-F238E27FC236}">
                <a16:creationId xmlns:a16="http://schemas.microsoft.com/office/drawing/2014/main" id="{66099F02-B602-C7F4-07E9-B79A511A3ADE}"/>
              </a:ext>
            </a:extLst>
          </p:cNvPr>
          <p:cNvSpPr txBox="1"/>
          <p:nvPr/>
        </p:nvSpPr>
        <p:spPr>
          <a:xfrm>
            <a:off x="4986664" y="2297750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270" name="TextBox 269">
            <a:extLst>
              <a:ext uri="{FF2B5EF4-FFF2-40B4-BE49-F238E27FC236}">
                <a16:creationId xmlns:a16="http://schemas.microsoft.com/office/drawing/2014/main" id="{3511F1CC-CD7C-5D99-DA08-F1FAED7BBB5A}"/>
              </a:ext>
            </a:extLst>
          </p:cNvPr>
          <p:cNvSpPr txBox="1"/>
          <p:nvPr/>
        </p:nvSpPr>
        <p:spPr>
          <a:xfrm>
            <a:off x="6193179" y="2285092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4F274921-598A-C966-6F31-9541233A36F5}"/>
              </a:ext>
            </a:extLst>
          </p:cNvPr>
          <p:cNvSpPr txBox="1"/>
          <p:nvPr/>
        </p:nvSpPr>
        <p:spPr>
          <a:xfrm>
            <a:off x="7389163" y="2281746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272" name="TextBox 271">
            <a:extLst>
              <a:ext uri="{FF2B5EF4-FFF2-40B4-BE49-F238E27FC236}">
                <a16:creationId xmlns:a16="http://schemas.microsoft.com/office/drawing/2014/main" id="{DCAB84B2-8F4F-BFBF-873B-FC3F811FD8FC}"/>
              </a:ext>
            </a:extLst>
          </p:cNvPr>
          <p:cNvSpPr txBox="1"/>
          <p:nvPr/>
        </p:nvSpPr>
        <p:spPr>
          <a:xfrm>
            <a:off x="4418668" y="2549608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273" name="TextBox 272">
            <a:extLst>
              <a:ext uri="{FF2B5EF4-FFF2-40B4-BE49-F238E27FC236}">
                <a16:creationId xmlns:a16="http://schemas.microsoft.com/office/drawing/2014/main" id="{B175B2C6-ED17-C407-B13E-6AB283F49AD2}"/>
              </a:ext>
            </a:extLst>
          </p:cNvPr>
          <p:cNvSpPr txBox="1"/>
          <p:nvPr/>
        </p:nvSpPr>
        <p:spPr>
          <a:xfrm>
            <a:off x="4935499" y="2549608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274" name="TextBox 273">
            <a:extLst>
              <a:ext uri="{FF2B5EF4-FFF2-40B4-BE49-F238E27FC236}">
                <a16:creationId xmlns:a16="http://schemas.microsoft.com/office/drawing/2014/main" id="{73DCFA63-DE4B-28BE-7DDB-80A3EF2979BF}"/>
              </a:ext>
            </a:extLst>
          </p:cNvPr>
          <p:cNvSpPr txBox="1"/>
          <p:nvPr/>
        </p:nvSpPr>
        <p:spPr>
          <a:xfrm>
            <a:off x="6147645" y="2549608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275" name="TextBox 274">
            <a:extLst>
              <a:ext uri="{FF2B5EF4-FFF2-40B4-BE49-F238E27FC236}">
                <a16:creationId xmlns:a16="http://schemas.microsoft.com/office/drawing/2014/main" id="{30952B8B-FD14-E425-A142-CF3A4348B512}"/>
              </a:ext>
            </a:extLst>
          </p:cNvPr>
          <p:cNvSpPr txBox="1"/>
          <p:nvPr/>
        </p:nvSpPr>
        <p:spPr>
          <a:xfrm>
            <a:off x="7344191" y="2549608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276" name="TextBox 275">
            <a:extLst>
              <a:ext uri="{FF2B5EF4-FFF2-40B4-BE49-F238E27FC236}">
                <a16:creationId xmlns:a16="http://schemas.microsoft.com/office/drawing/2014/main" id="{C90B79AB-8822-B344-2626-F814C50976B4}"/>
              </a:ext>
            </a:extLst>
          </p:cNvPr>
          <p:cNvSpPr txBox="1"/>
          <p:nvPr/>
        </p:nvSpPr>
        <p:spPr>
          <a:xfrm>
            <a:off x="4397214" y="2307894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grpSp>
        <p:nvGrpSpPr>
          <p:cNvPr id="517" name="Grafik 36">
            <a:extLst>
              <a:ext uri="{FF2B5EF4-FFF2-40B4-BE49-F238E27FC236}">
                <a16:creationId xmlns:a16="http://schemas.microsoft.com/office/drawing/2014/main" id="{672B39B7-8196-2C3B-C1FD-B11F119AE3ED}"/>
              </a:ext>
            </a:extLst>
          </p:cNvPr>
          <p:cNvGrpSpPr/>
          <p:nvPr/>
        </p:nvGrpSpPr>
        <p:grpSpPr bwMode="gray">
          <a:xfrm>
            <a:off x="6508850" y="351563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18" name="Grafik 36">
              <a:extLst>
                <a:ext uri="{FF2B5EF4-FFF2-40B4-BE49-F238E27FC236}">
                  <a16:creationId xmlns:a16="http://schemas.microsoft.com/office/drawing/2014/main" id="{F36E510A-3D9C-A8D2-D44A-A9E5EB22BD3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40" name="Grafik 36">
                <a:extLst>
                  <a:ext uri="{FF2B5EF4-FFF2-40B4-BE49-F238E27FC236}">
                    <a16:creationId xmlns:a16="http://schemas.microsoft.com/office/drawing/2014/main" id="{6CC681B5-5438-C383-DF0F-517EB687C1D6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1" name="Grafik 36">
                <a:extLst>
                  <a:ext uri="{FF2B5EF4-FFF2-40B4-BE49-F238E27FC236}">
                    <a16:creationId xmlns:a16="http://schemas.microsoft.com/office/drawing/2014/main" id="{6B39D7B6-61F5-58FC-AA6A-4B7F39FE6F7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2" name="Grafik 36">
                <a:extLst>
                  <a:ext uri="{FF2B5EF4-FFF2-40B4-BE49-F238E27FC236}">
                    <a16:creationId xmlns:a16="http://schemas.microsoft.com/office/drawing/2014/main" id="{4F803F8A-5E3E-D66B-6C48-2B69F443C67C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3" name="Grafik 36">
                <a:extLst>
                  <a:ext uri="{FF2B5EF4-FFF2-40B4-BE49-F238E27FC236}">
                    <a16:creationId xmlns:a16="http://schemas.microsoft.com/office/drawing/2014/main" id="{9A7CBCC1-2550-36F8-8C39-1BF1BA7760BF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4" name="Grafik 36">
                <a:extLst>
                  <a:ext uri="{FF2B5EF4-FFF2-40B4-BE49-F238E27FC236}">
                    <a16:creationId xmlns:a16="http://schemas.microsoft.com/office/drawing/2014/main" id="{24FCE35C-C1B3-1872-A3B2-05E34AE019BF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19" name="Grafik 36">
              <a:extLst>
                <a:ext uri="{FF2B5EF4-FFF2-40B4-BE49-F238E27FC236}">
                  <a16:creationId xmlns:a16="http://schemas.microsoft.com/office/drawing/2014/main" id="{157C3313-D8EA-0FE0-F9CA-1C8A9AE7DAA8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20" name="Grafik 36">
                <a:extLst>
                  <a:ext uri="{FF2B5EF4-FFF2-40B4-BE49-F238E27FC236}">
                    <a16:creationId xmlns:a16="http://schemas.microsoft.com/office/drawing/2014/main" id="{BD89B017-8D68-B65A-6D6E-25A78849CC9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31" name="Grafik 36">
                  <a:extLst>
                    <a:ext uri="{FF2B5EF4-FFF2-40B4-BE49-F238E27FC236}">
                      <a16:creationId xmlns:a16="http://schemas.microsoft.com/office/drawing/2014/main" id="{10518FBD-7300-4F8F-3678-26FDA1F9FA5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37" name="Grafik 36">
                    <a:extLst>
                      <a:ext uri="{FF2B5EF4-FFF2-40B4-BE49-F238E27FC236}">
                        <a16:creationId xmlns:a16="http://schemas.microsoft.com/office/drawing/2014/main" id="{3F4C9600-EBE0-3DEC-67C9-C421C43A87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8" name="Grafik 36">
                    <a:extLst>
                      <a:ext uri="{FF2B5EF4-FFF2-40B4-BE49-F238E27FC236}">
                        <a16:creationId xmlns:a16="http://schemas.microsoft.com/office/drawing/2014/main" id="{379EC6C6-7E30-CF0B-9F01-86E086285D4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9" name="Grafik 36">
                    <a:extLst>
                      <a:ext uri="{FF2B5EF4-FFF2-40B4-BE49-F238E27FC236}">
                        <a16:creationId xmlns:a16="http://schemas.microsoft.com/office/drawing/2014/main" id="{2C7D9A7E-A8C0-756D-90FA-4216C15004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32" name="Grafik 36">
                  <a:extLst>
                    <a:ext uri="{FF2B5EF4-FFF2-40B4-BE49-F238E27FC236}">
                      <a16:creationId xmlns:a16="http://schemas.microsoft.com/office/drawing/2014/main" id="{6B3370BD-CB8C-0BEE-3CB6-C719E873C3E4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533" name="Grafik 36">
                  <a:extLst>
                    <a:ext uri="{FF2B5EF4-FFF2-40B4-BE49-F238E27FC236}">
                      <a16:creationId xmlns:a16="http://schemas.microsoft.com/office/drawing/2014/main" id="{2533D452-8BB1-0BD4-FE49-E7CC0769A186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34" name="Grafik 36">
                    <a:extLst>
                      <a:ext uri="{FF2B5EF4-FFF2-40B4-BE49-F238E27FC236}">
                        <a16:creationId xmlns:a16="http://schemas.microsoft.com/office/drawing/2014/main" id="{42A37C6D-C937-6A81-4F1E-2D05079641C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5" name="Grafik 36">
                    <a:extLst>
                      <a:ext uri="{FF2B5EF4-FFF2-40B4-BE49-F238E27FC236}">
                        <a16:creationId xmlns:a16="http://schemas.microsoft.com/office/drawing/2014/main" id="{73E7F891-E6F6-8ADF-825C-864630299A7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6" name="Grafik 36">
                    <a:extLst>
                      <a:ext uri="{FF2B5EF4-FFF2-40B4-BE49-F238E27FC236}">
                        <a16:creationId xmlns:a16="http://schemas.microsoft.com/office/drawing/2014/main" id="{5390B35F-8ACF-80E6-711F-3BC0B94EA58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521" name="Grafik 36">
                <a:extLst>
                  <a:ext uri="{FF2B5EF4-FFF2-40B4-BE49-F238E27FC236}">
                    <a16:creationId xmlns:a16="http://schemas.microsoft.com/office/drawing/2014/main" id="{80C7B8A7-6936-7B3A-B991-8D7C5836F828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22" name="Grafik 36">
                  <a:extLst>
                    <a:ext uri="{FF2B5EF4-FFF2-40B4-BE49-F238E27FC236}">
                      <a16:creationId xmlns:a16="http://schemas.microsoft.com/office/drawing/2014/main" id="{50C14ABC-967C-888E-3656-89F7EEB74C61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28" name="Grafik 36">
                    <a:extLst>
                      <a:ext uri="{FF2B5EF4-FFF2-40B4-BE49-F238E27FC236}">
                        <a16:creationId xmlns:a16="http://schemas.microsoft.com/office/drawing/2014/main" id="{120D460F-0A7A-DE70-05CD-18E1321C66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29" name="Grafik 36">
                    <a:extLst>
                      <a:ext uri="{FF2B5EF4-FFF2-40B4-BE49-F238E27FC236}">
                        <a16:creationId xmlns:a16="http://schemas.microsoft.com/office/drawing/2014/main" id="{A3FD546D-E061-B486-E457-0AFB82DCC01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0" name="Grafik 36">
                    <a:extLst>
                      <a:ext uri="{FF2B5EF4-FFF2-40B4-BE49-F238E27FC236}">
                        <a16:creationId xmlns:a16="http://schemas.microsoft.com/office/drawing/2014/main" id="{4FB3F588-BCAA-B716-8FBE-A7974CAF811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23" name="Grafik 36">
                  <a:extLst>
                    <a:ext uri="{FF2B5EF4-FFF2-40B4-BE49-F238E27FC236}">
                      <a16:creationId xmlns:a16="http://schemas.microsoft.com/office/drawing/2014/main" id="{F49436FE-60B4-5BB7-244C-F177AE4123CF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24" name="Grafik 36">
                  <a:extLst>
                    <a:ext uri="{FF2B5EF4-FFF2-40B4-BE49-F238E27FC236}">
                      <a16:creationId xmlns:a16="http://schemas.microsoft.com/office/drawing/2014/main" id="{CB555BAA-93FC-9FEF-BB5A-C882D08DD84B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25" name="Grafik 36">
                    <a:extLst>
                      <a:ext uri="{FF2B5EF4-FFF2-40B4-BE49-F238E27FC236}">
                        <a16:creationId xmlns:a16="http://schemas.microsoft.com/office/drawing/2014/main" id="{07EE4157-8794-CD2F-77C8-F09E96AF117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26" name="Grafik 36">
                    <a:extLst>
                      <a:ext uri="{FF2B5EF4-FFF2-40B4-BE49-F238E27FC236}">
                        <a16:creationId xmlns:a16="http://schemas.microsoft.com/office/drawing/2014/main" id="{04119073-3A84-E776-7169-9A66D8245C0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27" name="Grafik 36">
                    <a:extLst>
                      <a:ext uri="{FF2B5EF4-FFF2-40B4-BE49-F238E27FC236}">
                        <a16:creationId xmlns:a16="http://schemas.microsoft.com/office/drawing/2014/main" id="{17173D03-2D53-0EE2-DF89-028D596ED7B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545" name="Grafik 36">
            <a:extLst>
              <a:ext uri="{FF2B5EF4-FFF2-40B4-BE49-F238E27FC236}">
                <a16:creationId xmlns:a16="http://schemas.microsoft.com/office/drawing/2014/main" id="{5BBE4158-017D-954A-C2D8-5CF14641AE92}"/>
              </a:ext>
            </a:extLst>
          </p:cNvPr>
          <p:cNvGrpSpPr/>
          <p:nvPr/>
        </p:nvGrpSpPr>
        <p:grpSpPr bwMode="gray">
          <a:xfrm>
            <a:off x="7715649" y="351563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46" name="Grafik 36">
              <a:extLst>
                <a:ext uri="{FF2B5EF4-FFF2-40B4-BE49-F238E27FC236}">
                  <a16:creationId xmlns:a16="http://schemas.microsoft.com/office/drawing/2014/main" id="{7C4C3A49-B317-4AE4-AF60-C1172A53F670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68" name="Grafik 36">
                <a:extLst>
                  <a:ext uri="{FF2B5EF4-FFF2-40B4-BE49-F238E27FC236}">
                    <a16:creationId xmlns:a16="http://schemas.microsoft.com/office/drawing/2014/main" id="{0D4CE03A-41D2-5D32-9009-1D0BBFC9021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9" name="Grafik 36">
                <a:extLst>
                  <a:ext uri="{FF2B5EF4-FFF2-40B4-BE49-F238E27FC236}">
                    <a16:creationId xmlns:a16="http://schemas.microsoft.com/office/drawing/2014/main" id="{F44410D3-1BA0-DFF8-9B9C-2C43A9836CF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0" name="Grafik 36">
                <a:extLst>
                  <a:ext uri="{FF2B5EF4-FFF2-40B4-BE49-F238E27FC236}">
                    <a16:creationId xmlns:a16="http://schemas.microsoft.com/office/drawing/2014/main" id="{F00CB2BD-5961-6C2E-7773-68F8F7B2E33B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1" name="Grafik 36">
                <a:extLst>
                  <a:ext uri="{FF2B5EF4-FFF2-40B4-BE49-F238E27FC236}">
                    <a16:creationId xmlns:a16="http://schemas.microsoft.com/office/drawing/2014/main" id="{732E0D6E-4A70-BB5F-F5D5-85D9610DDF9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2" name="Grafik 36">
                <a:extLst>
                  <a:ext uri="{FF2B5EF4-FFF2-40B4-BE49-F238E27FC236}">
                    <a16:creationId xmlns:a16="http://schemas.microsoft.com/office/drawing/2014/main" id="{27815954-BE29-9EF1-CA58-57B01A69988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47" name="Grafik 36">
              <a:extLst>
                <a:ext uri="{FF2B5EF4-FFF2-40B4-BE49-F238E27FC236}">
                  <a16:creationId xmlns:a16="http://schemas.microsoft.com/office/drawing/2014/main" id="{5AC5CBE1-B272-7A35-89B0-73D7215D9191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48" name="Grafik 36">
                <a:extLst>
                  <a:ext uri="{FF2B5EF4-FFF2-40B4-BE49-F238E27FC236}">
                    <a16:creationId xmlns:a16="http://schemas.microsoft.com/office/drawing/2014/main" id="{94E7600C-2E5A-7F72-D0CD-43C79C43F9F0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59" name="Grafik 36">
                  <a:extLst>
                    <a:ext uri="{FF2B5EF4-FFF2-40B4-BE49-F238E27FC236}">
                      <a16:creationId xmlns:a16="http://schemas.microsoft.com/office/drawing/2014/main" id="{EA113EAD-A9D9-815C-5FEE-FD8010FDFF5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65" name="Grafik 36">
                    <a:extLst>
                      <a:ext uri="{FF2B5EF4-FFF2-40B4-BE49-F238E27FC236}">
                        <a16:creationId xmlns:a16="http://schemas.microsoft.com/office/drawing/2014/main" id="{42C8A170-9277-E9F8-00B4-0B77F8040C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66" name="Grafik 36">
                    <a:extLst>
                      <a:ext uri="{FF2B5EF4-FFF2-40B4-BE49-F238E27FC236}">
                        <a16:creationId xmlns:a16="http://schemas.microsoft.com/office/drawing/2014/main" id="{EB727C68-108A-2185-EFBC-DF698B6B67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67" name="Grafik 36">
                    <a:extLst>
                      <a:ext uri="{FF2B5EF4-FFF2-40B4-BE49-F238E27FC236}">
                        <a16:creationId xmlns:a16="http://schemas.microsoft.com/office/drawing/2014/main" id="{4C374CC8-2033-A665-427E-205C73E950F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60" name="Grafik 36">
                  <a:extLst>
                    <a:ext uri="{FF2B5EF4-FFF2-40B4-BE49-F238E27FC236}">
                      <a16:creationId xmlns:a16="http://schemas.microsoft.com/office/drawing/2014/main" id="{2F9AABD1-92F3-EFC3-9877-67074AC9C7C2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561" name="Grafik 36">
                  <a:extLst>
                    <a:ext uri="{FF2B5EF4-FFF2-40B4-BE49-F238E27FC236}">
                      <a16:creationId xmlns:a16="http://schemas.microsoft.com/office/drawing/2014/main" id="{4E1098FB-3084-5D1E-B495-77A9447A702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62" name="Grafik 36">
                    <a:extLst>
                      <a:ext uri="{FF2B5EF4-FFF2-40B4-BE49-F238E27FC236}">
                        <a16:creationId xmlns:a16="http://schemas.microsoft.com/office/drawing/2014/main" id="{0F6A61D9-EE04-CF51-31B7-B057BD8DA76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63" name="Grafik 36">
                    <a:extLst>
                      <a:ext uri="{FF2B5EF4-FFF2-40B4-BE49-F238E27FC236}">
                        <a16:creationId xmlns:a16="http://schemas.microsoft.com/office/drawing/2014/main" id="{D698D980-C0F2-3EED-EE5D-22AB05BB034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64" name="Grafik 36">
                    <a:extLst>
                      <a:ext uri="{FF2B5EF4-FFF2-40B4-BE49-F238E27FC236}">
                        <a16:creationId xmlns:a16="http://schemas.microsoft.com/office/drawing/2014/main" id="{85348513-94C5-23CD-783D-7AF42215CCA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549" name="Grafik 36">
                <a:extLst>
                  <a:ext uri="{FF2B5EF4-FFF2-40B4-BE49-F238E27FC236}">
                    <a16:creationId xmlns:a16="http://schemas.microsoft.com/office/drawing/2014/main" id="{B693A4C5-7EA1-225E-6AB2-781AE3A32740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50" name="Grafik 36">
                  <a:extLst>
                    <a:ext uri="{FF2B5EF4-FFF2-40B4-BE49-F238E27FC236}">
                      <a16:creationId xmlns:a16="http://schemas.microsoft.com/office/drawing/2014/main" id="{8E06D6AB-01F9-2B7A-81BF-FC850A385C7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56" name="Grafik 36">
                    <a:extLst>
                      <a:ext uri="{FF2B5EF4-FFF2-40B4-BE49-F238E27FC236}">
                        <a16:creationId xmlns:a16="http://schemas.microsoft.com/office/drawing/2014/main" id="{189A8E5E-5DFF-5581-04F3-7D64BD24EA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57" name="Grafik 36">
                    <a:extLst>
                      <a:ext uri="{FF2B5EF4-FFF2-40B4-BE49-F238E27FC236}">
                        <a16:creationId xmlns:a16="http://schemas.microsoft.com/office/drawing/2014/main" id="{1AB67DB4-F7DB-FD41-F350-0087E89F9D0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58" name="Grafik 36">
                    <a:extLst>
                      <a:ext uri="{FF2B5EF4-FFF2-40B4-BE49-F238E27FC236}">
                        <a16:creationId xmlns:a16="http://schemas.microsoft.com/office/drawing/2014/main" id="{C6C02F76-50CB-6FDB-0FBD-09EC2DA6443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51" name="Grafik 36">
                  <a:extLst>
                    <a:ext uri="{FF2B5EF4-FFF2-40B4-BE49-F238E27FC236}">
                      <a16:creationId xmlns:a16="http://schemas.microsoft.com/office/drawing/2014/main" id="{EA708937-3114-930A-2C3F-B71D3251DCF3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52" name="Grafik 36">
                  <a:extLst>
                    <a:ext uri="{FF2B5EF4-FFF2-40B4-BE49-F238E27FC236}">
                      <a16:creationId xmlns:a16="http://schemas.microsoft.com/office/drawing/2014/main" id="{AF16D011-2170-61B6-0944-844F2D3C1D7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53" name="Grafik 36">
                    <a:extLst>
                      <a:ext uri="{FF2B5EF4-FFF2-40B4-BE49-F238E27FC236}">
                        <a16:creationId xmlns:a16="http://schemas.microsoft.com/office/drawing/2014/main" id="{0FC38060-E62B-8993-71B6-400AD04B2A6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54" name="Grafik 36">
                    <a:extLst>
                      <a:ext uri="{FF2B5EF4-FFF2-40B4-BE49-F238E27FC236}">
                        <a16:creationId xmlns:a16="http://schemas.microsoft.com/office/drawing/2014/main" id="{02A62990-291A-BBF5-6567-854C65929A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55" name="Grafik 36">
                    <a:extLst>
                      <a:ext uri="{FF2B5EF4-FFF2-40B4-BE49-F238E27FC236}">
                        <a16:creationId xmlns:a16="http://schemas.microsoft.com/office/drawing/2014/main" id="{BF50F6B0-551E-64E1-FAEA-E47033FE8C4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573" name="Grafik 36">
            <a:extLst>
              <a:ext uri="{FF2B5EF4-FFF2-40B4-BE49-F238E27FC236}">
                <a16:creationId xmlns:a16="http://schemas.microsoft.com/office/drawing/2014/main" id="{3BA6AB2D-830F-5EAC-A6B2-1497FCFFB9EB}"/>
              </a:ext>
            </a:extLst>
          </p:cNvPr>
          <p:cNvGrpSpPr/>
          <p:nvPr/>
        </p:nvGrpSpPr>
        <p:grpSpPr bwMode="gray">
          <a:xfrm>
            <a:off x="5302051" y="351563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74" name="Grafik 36">
              <a:extLst>
                <a:ext uri="{FF2B5EF4-FFF2-40B4-BE49-F238E27FC236}">
                  <a16:creationId xmlns:a16="http://schemas.microsoft.com/office/drawing/2014/main" id="{5810AA60-EDA2-11A6-B103-A6E4E6126BE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96" name="Grafik 36">
                <a:extLst>
                  <a:ext uri="{FF2B5EF4-FFF2-40B4-BE49-F238E27FC236}">
                    <a16:creationId xmlns:a16="http://schemas.microsoft.com/office/drawing/2014/main" id="{FFDD175E-E1D1-C763-C1A8-65EBFDEB30A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7" name="Grafik 36">
                <a:extLst>
                  <a:ext uri="{FF2B5EF4-FFF2-40B4-BE49-F238E27FC236}">
                    <a16:creationId xmlns:a16="http://schemas.microsoft.com/office/drawing/2014/main" id="{FB41B439-CF3D-1CC1-50BA-283C306E5937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8" name="Grafik 36">
                <a:extLst>
                  <a:ext uri="{FF2B5EF4-FFF2-40B4-BE49-F238E27FC236}">
                    <a16:creationId xmlns:a16="http://schemas.microsoft.com/office/drawing/2014/main" id="{7B86C912-3C07-E8CF-7E94-38F82E6B508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9" name="Grafik 36">
                <a:extLst>
                  <a:ext uri="{FF2B5EF4-FFF2-40B4-BE49-F238E27FC236}">
                    <a16:creationId xmlns:a16="http://schemas.microsoft.com/office/drawing/2014/main" id="{8CCF4820-82D2-0400-419D-9380E315C7B5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0" name="Grafik 36">
                <a:extLst>
                  <a:ext uri="{FF2B5EF4-FFF2-40B4-BE49-F238E27FC236}">
                    <a16:creationId xmlns:a16="http://schemas.microsoft.com/office/drawing/2014/main" id="{AA2DECC7-3AC7-B74D-1300-09F48C6670A5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75" name="Grafik 36">
              <a:extLst>
                <a:ext uri="{FF2B5EF4-FFF2-40B4-BE49-F238E27FC236}">
                  <a16:creationId xmlns:a16="http://schemas.microsoft.com/office/drawing/2014/main" id="{E61DD48B-CCBD-D135-B865-AC011B6E403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76" name="Grafik 36">
                <a:extLst>
                  <a:ext uri="{FF2B5EF4-FFF2-40B4-BE49-F238E27FC236}">
                    <a16:creationId xmlns:a16="http://schemas.microsoft.com/office/drawing/2014/main" id="{EEF2206D-9763-4F89-B282-570B3A256705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87" name="Grafik 36">
                  <a:extLst>
                    <a:ext uri="{FF2B5EF4-FFF2-40B4-BE49-F238E27FC236}">
                      <a16:creationId xmlns:a16="http://schemas.microsoft.com/office/drawing/2014/main" id="{7459C37B-4A1A-D62F-E8D0-BF133268397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93" name="Grafik 36">
                    <a:extLst>
                      <a:ext uri="{FF2B5EF4-FFF2-40B4-BE49-F238E27FC236}">
                        <a16:creationId xmlns:a16="http://schemas.microsoft.com/office/drawing/2014/main" id="{77D342CC-31EA-6083-4827-4A95919562F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94" name="Grafik 36">
                    <a:extLst>
                      <a:ext uri="{FF2B5EF4-FFF2-40B4-BE49-F238E27FC236}">
                        <a16:creationId xmlns:a16="http://schemas.microsoft.com/office/drawing/2014/main" id="{76AA2B5E-D745-BF28-379A-48C0F0691DE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95" name="Grafik 36">
                    <a:extLst>
                      <a:ext uri="{FF2B5EF4-FFF2-40B4-BE49-F238E27FC236}">
                        <a16:creationId xmlns:a16="http://schemas.microsoft.com/office/drawing/2014/main" id="{16E1F35C-1FC1-561D-9442-34470782E03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88" name="Grafik 36">
                  <a:extLst>
                    <a:ext uri="{FF2B5EF4-FFF2-40B4-BE49-F238E27FC236}">
                      <a16:creationId xmlns:a16="http://schemas.microsoft.com/office/drawing/2014/main" id="{E50CB740-09D1-FBB8-1F21-7F8A3AB3259A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589" name="Grafik 36">
                  <a:extLst>
                    <a:ext uri="{FF2B5EF4-FFF2-40B4-BE49-F238E27FC236}">
                      <a16:creationId xmlns:a16="http://schemas.microsoft.com/office/drawing/2014/main" id="{424D286B-F09C-46BA-A2FA-838B690DA44D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90" name="Grafik 36">
                    <a:extLst>
                      <a:ext uri="{FF2B5EF4-FFF2-40B4-BE49-F238E27FC236}">
                        <a16:creationId xmlns:a16="http://schemas.microsoft.com/office/drawing/2014/main" id="{AE5A703A-24C2-7AEC-A32E-B4006191852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91" name="Grafik 36">
                    <a:extLst>
                      <a:ext uri="{FF2B5EF4-FFF2-40B4-BE49-F238E27FC236}">
                        <a16:creationId xmlns:a16="http://schemas.microsoft.com/office/drawing/2014/main" id="{77B2424C-81B0-12F4-06AC-A09B8D2B77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92" name="Grafik 36">
                    <a:extLst>
                      <a:ext uri="{FF2B5EF4-FFF2-40B4-BE49-F238E27FC236}">
                        <a16:creationId xmlns:a16="http://schemas.microsoft.com/office/drawing/2014/main" id="{6F63C714-2861-900E-91B8-543B57F8C1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577" name="Grafik 36">
                <a:extLst>
                  <a:ext uri="{FF2B5EF4-FFF2-40B4-BE49-F238E27FC236}">
                    <a16:creationId xmlns:a16="http://schemas.microsoft.com/office/drawing/2014/main" id="{107C5149-1059-0E55-326B-A4E98C58626B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78" name="Grafik 36">
                  <a:extLst>
                    <a:ext uri="{FF2B5EF4-FFF2-40B4-BE49-F238E27FC236}">
                      <a16:creationId xmlns:a16="http://schemas.microsoft.com/office/drawing/2014/main" id="{5AAF09D9-B544-4181-D4E0-5819B91F07A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84" name="Grafik 36">
                    <a:extLst>
                      <a:ext uri="{FF2B5EF4-FFF2-40B4-BE49-F238E27FC236}">
                        <a16:creationId xmlns:a16="http://schemas.microsoft.com/office/drawing/2014/main" id="{D5E5AC09-C38B-8094-06EC-C6737E31EAE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85" name="Grafik 36">
                    <a:extLst>
                      <a:ext uri="{FF2B5EF4-FFF2-40B4-BE49-F238E27FC236}">
                        <a16:creationId xmlns:a16="http://schemas.microsoft.com/office/drawing/2014/main" id="{3631713F-8FF1-A1A8-04A4-EF41AA2C0B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86" name="Grafik 36">
                    <a:extLst>
                      <a:ext uri="{FF2B5EF4-FFF2-40B4-BE49-F238E27FC236}">
                        <a16:creationId xmlns:a16="http://schemas.microsoft.com/office/drawing/2014/main" id="{836A4991-B159-6905-CCEE-0F4EF127325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79" name="Grafik 36">
                  <a:extLst>
                    <a:ext uri="{FF2B5EF4-FFF2-40B4-BE49-F238E27FC236}">
                      <a16:creationId xmlns:a16="http://schemas.microsoft.com/office/drawing/2014/main" id="{C3B7B972-A79B-7D45-0BFF-E07131648236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80" name="Grafik 36">
                  <a:extLst>
                    <a:ext uri="{FF2B5EF4-FFF2-40B4-BE49-F238E27FC236}">
                      <a16:creationId xmlns:a16="http://schemas.microsoft.com/office/drawing/2014/main" id="{67BAB84A-48BB-3F13-F8B5-08273C450FC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81" name="Grafik 36">
                    <a:extLst>
                      <a:ext uri="{FF2B5EF4-FFF2-40B4-BE49-F238E27FC236}">
                        <a16:creationId xmlns:a16="http://schemas.microsoft.com/office/drawing/2014/main" id="{A9B7A058-624D-0F65-791A-A7B663D325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82" name="Grafik 36">
                    <a:extLst>
                      <a:ext uri="{FF2B5EF4-FFF2-40B4-BE49-F238E27FC236}">
                        <a16:creationId xmlns:a16="http://schemas.microsoft.com/office/drawing/2014/main" id="{EA08AE1F-3A23-07BE-2105-9F22179E0AE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83" name="Grafik 36">
                    <a:extLst>
                      <a:ext uri="{FF2B5EF4-FFF2-40B4-BE49-F238E27FC236}">
                        <a16:creationId xmlns:a16="http://schemas.microsoft.com/office/drawing/2014/main" id="{5D371CFB-EBE1-87A5-1953-9151175D81F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601" name="Grafik 36">
            <a:extLst>
              <a:ext uri="{FF2B5EF4-FFF2-40B4-BE49-F238E27FC236}">
                <a16:creationId xmlns:a16="http://schemas.microsoft.com/office/drawing/2014/main" id="{BAE344F6-BF66-AB03-63BB-89A9B9B988EA}"/>
              </a:ext>
            </a:extLst>
          </p:cNvPr>
          <p:cNvGrpSpPr/>
          <p:nvPr/>
        </p:nvGrpSpPr>
        <p:grpSpPr bwMode="gray">
          <a:xfrm>
            <a:off x="4095252" y="351563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02" name="Grafik 36">
              <a:extLst>
                <a:ext uri="{FF2B5EF4-FFF2-40B4-BE49-F238E27FC236}">
                  <a16:creationId xmlns:a16="http://schemas.microsoft.com/office/drawing/2014/main" id="{4F6A3F14-5808-D52E-745F-81856AE5E57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624" name="Grafik 36">
                <a:extLst>
                  <a:ext uri="{FF2B5EF4-FFF2-40B4-BE49-F238E27FC236}">
                    <a16:creationId xmlns:a16="http://schemas.microsoft.com/office/drawing/2014/main" id="{373E2E7D-96F1-237A-5A8B-A5424658C0BE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5" name="Grafik 36">
                <a:extLst>
                  <a:ext uri="{FF2B5EF4-FFF2-40B4-BE49-F238E27FC236}">
                    <a16:creationId xmlns:a16="http://schemas.microsoft.com/office/drawing/2014/main" id="{D548A85A-EC7A-899A-237C-750804CDC76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6" name="Grafik 36">
                <a:extLst>
                  <a:ext uri="{FF2B5EF4-FFF2-40B4-BE49-F238E27FC236}">
                    <a16:creationId xmlns:a16="http://schemas.microsoft.com/office/drawing/2014/main" id="{2C5EA7A0-D276-6462-F307-0F551F283ACC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7" name="Grafik 36">
                <a:extLst>
                  <a:ext uri="{FF2B5EF4-FFF2-40B4-BE49-F238E27FC236}">
                    <a16:creationId xmlns:a16="http://schemas.microsoft.com/office/drawing/2014/main" id="{4561C7EF-BC8F-CE5A-E69E-20412D373F8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8" name="Grafik 36">
                <a:extLst>
                  <a:ext uri="{FF2B5EF4-FFF2-40B4-BE49-F238E27FC236}">
                    <a16:creationId xmlns:a16="http://schemas.microsoft.com/office/drawing/2014/main" id="{F844355A-F8B1-034C-1B95-444FEF09B7A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03" name="Grafik 36">
              <a:extLst>
                <a:ext uri="{FF2B5EF4-FFF2-40B4-BE49-F238E27FC236}">
                  <a16:creationId xmlns:a16="http://schemas.microsoft.com/office/drawing/2014/main" id="{5F5F33A2-6F94-C499-F11D-1B0C811C1109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04" name="Grafik 36">
                <a:extLst>
                  <a:ext uri="{FF2B5EF4-FFF2-40B4-BE49-F238E27FC236}">
                    <a16:creationId xmlns:a16="http://schemas.microsoft.com/office/drawing/2014/main" id="{47A80579-2135-376D-7E9E-D10E56D8B768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615" name="Grafik 36">
                  <a:extLst>
                    <a:ext uri="{FF2B5EF4-FFF2-40B4-BE49-F238E27FC236}">
                      <a16:creationId xmlns:a16="http://schemas.microsoft.com/office/drawing/2014/main" id="{5A576D1A-CAC3-8A0F-D887-57706B471A7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621" name="Grafik 36">
                    <a:extLst>
                      <a:ext uri="{FF2B5EF4-FFF2-40B4-BE49-F238E27FC236}">
                        <a16:creationId xmlns:a16="http://schemas.microsoft.com/office/drawing/2014/main" id="{1AA6C6B4-4B85-D1FC-FF57-90F04009B49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2" name="Grafik 36">
                    <a:extLst>
                      <a:ext uri="{FF2B5EF4-FFF2-40B4-BE49-F238E27FC236}">
                        <a16:creationId xmlns:a16="http://schemas.microsoft.com/office/drawing/2014/main" id="{ED4BFF20-342B-0BE4-090C-87259B68004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3" name="Grafik 36">
                    <a:extLst>
                      <a:ext uri="{FF2B5EF4-FFF2-40B4-BE49-F238E27FC236}">
                        <a16:creationId xmlns:a16="http://schemas.microsoft.com/office/drawing/2014/main" id="{321C98AF-DD7F-2124-C24C-BDD0F907E7D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16" name="Grafik 36">
                  <a:extLst>
                    <a:ext uri="{FF2B5EF4-FFF2-40B4-BE49-F238E27FC236}">
                      <a16:creationId xmlns:a16="http://schemas.microsoft.com/office/drawing/2014/main" id="{0CED9AF0-3AE2-0CD9-58BE-3B68853778C1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617" name="Grafik 36">
                  <a:extLst>
                    <a:ext uri="{FF2B5EF4-FFF2-40B4-BE49-F238E27FC236}">
                      <a16:creationId xmlns:a16="http://schemas.microsoft.com/office/drawing/2014/main" id="{DCE96EB0-6336-75E7-4861-F1F492F0202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618" name="Grafik 36">
                    <a:extLst>
                      <a:ext uri="{FF2B5EF4-FFF2-40B4-BE49-F238E27FC236}">
                        <a16:creationId xmlns:a16="http://schemas.microsoft.com/office/drawing/2014/main" id="{BEF6D89E-D925-C4E7-6601-9A7C21D4433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9" name="Grafik 36">
                    <a:extLst>
                      <a:ext uri="{FF2B5EF4-FFF2-40B4-BE49-F238E27FC236}">
                        <a16:creationId xmlns:a16="http://schemas.microsoft.com/office/drawing/2014/main" id="{32DE0F07-9AD1-1A68-092D-74B9DD083B6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0" name="Grafik 36">
                    <a:extLst>
                      <a:ext uri="{FF2B5EF4-FFF2-40B4-BE49-F238E27FC236}">
                        <a16:creationId xmlns:a16="http://schemas.microsoft.com/office/drawing/2014/main" id="{3FEADE14-FCEC-2A66-38B0-23AA8C9255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605" name="Grafik 36">
                <a:extLst>
                  <a:ext uri="{FF2B5EF4-FFF2-40B4-BE49-F238E27FC236}">
                    <a16:creationId xmlns:a16="http://schemas.microsoft.com/office/drawing/2014/main" id="{203F7059-1000-C11F-3A37-F7F1B5274F6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06" name="Grafik 36">
                  <a:extLst>
                    <a:ext uri="{FF2B5EF4-FFF2-40B4-BE49-F238E27FC236}">
                      <a16:creationId xmlns:a16="http://schemas.microsoft.com/office/drawing/2014/main" id="{8D9C2CF5-62E7-6FC9-E45D-132DEC03DCA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12" name="Grafik 36">
                    <a:extLst>
                      <a:ext uri="{FF2B5EF4-FFF2-40B4-BE49-F238E27FC236}">
                        <a16:creationId xmlns:a16="http://schemas.microsoft.com/office/drawing/2014/main" id="{FD67ED84-EA4D-1615-D8F8-D32C6979A25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3" name="Grafik 36">
                    <a:extLst>
                      <a:ext uri="{FF2B5EF4-FFF2-40B4-BE49-F238E27FC236}">
                        <a16:creationId xmlns:a16="http://schemas.microsoft.com/office/drawing/2014/main" id="{C9808F96-24CA-C6A0-8F81-DFB31E5645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4" name="Grafik 36">
                    <a:extLst>
                      <a:ext uri="{FF2B5EF4-FFF2-40B4-BE49-F238E27FC236}">
                        <a16:creationId xmlns:a16="http://schemas.microsoft.com/office/drawing/2014/main" id="{CC9FE0E8-6D67-DF56-79EE-13D3AF79743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07" name="Grafik 36">
                  <a:extLst>
                    <a:ext uri="{FF2B5EF4-FFF2-40B4-BE49-F238E27FC236}">
                      <a16:creationId xmlns:a16="http://schemas.microsoft.com/office/drawing/2014/main" id="{EFA8A239-90E4-8702-77E9-CCFC637878E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08" name="Grafik 36">
                  <a:extLst>
                    <a:ext uri="{FF2B5EF4-FFF2-40B4-BE49-F238E27FC236}">
                      <a16:creationId xmlns:a16="http://schemas.microsoft.com/office/drawing/2014/main" id="{E11F3F21-0FEF-CDEF-F9DA-2CE4ACA62DA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09" name="Grafik 36">
                    <a:extLst>
                      <a:ext uri="{FF2B5EF4-FFF2-40B4-BE49-F238E27FC236}">
                        <a16:creationId xmlns:a16="http://schemas.microsoft.com/office/drawing/2014/main" id="{4012A23D-857B-0CD3-FFDA-812CD036931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0" name="Grafik 36">
                    <a:extLst>
                      <a:ext uri="{FF2B5EF4-FFF2-40B4-BE49-F238E27FC236}">
                        <a16:creationId xmlns:a16="http://schemas.microsoft.com/office/drawing/2014/main" id="{2EF37E2E-B42F-234D-D671-0F6ABA1CE80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1" name="Grafik 36">
                    <a:extLst>
                      <a:ext uri="{FF2B5EF4-FFF2-40B4-BE49-F238E27FC236}">
                        <a16:creationId xmlns:a16="http://schemas.microsoft.com/office/drawing/2014/main" id="{B9CA1700-30B0-854A-7845-288DE0C3AF8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cxnSp>
        <p:nvCxnSpPr>
          <p:cNvPr id="629" name="Straight Connector 628">
            <a:extLst>
              <a:ext uri="{FF2B5EF4-FFF2-40B4-BE49-F238E27FC236}">
                <a16:creationId xmlns:a16="http://schemas.microsoft.com/office/drawing/2014/main" id="{AC782BA7-77E1-2DD5-7D02-FF5509FF2BE3}"/>
              </a:ext>
            </a:extLst>
          </p:cNvPr>
          <p:cNvCxnSpPr>
            <a:cxnSpLocks/>
          </p:cNvCxnSpPr>
          <p:nvPr/>
        </p:nvCxnSpPr>
        <p:spPr>
          <a:xfrm flipV="1">
            <a:off x="4426190" y="3718698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0" name="Straight Connector 629">
            <a:extLst>
              <a:ext uri="{FF2B5EF4-FFF2-40B4-BE49-F238E27FC236}">
                <a16:creationId xmlns:a16="http://schemas.microsoft.com/office/drawing/2014/main" id="{558B57C4-8EF0-B035-A1A8-5CC648BD78DD}"/>
              </a:ext>
            </a:extLst>
          </p:cNvPr>
          <p:cNvCxnSpPr>
            <a:cxnSpLocks/>
          </p:cNvCxnSpPr>
          <p:nvPr/>
        </p:nvCxnSpPr>
        <p:spPr>
          <a:xfrm flipV="1">
            <a:off x="5620345" y="3709574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1" name="Straight Connector 630">
            <a:extLst>
              <a:ext uri="{FF2B5EF4-FFF2-40B4-BE49-F238E27FC236}">
                <a16:creationId xmlns:a16="http://schemas.microsoft.com/office/drawing/2014/main" id="{5BFE1F46-BAC2-F2CE-22C9-352705DC72BD}"/>
              </a:ext>
            </a:extLst>
          </p:cNvPr>
          <p:cNvCxnSpPr>
            <a:cxnSpLocks/>
          </p:cNvCxnSpPr>
          <p:nvPr/>
        </p:nvCxnSpPr>
        <p:spPr>
          <a:xfrm flipV="1">
            <a:off x="6831085" y="3696999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2" name="TextBox 631">
            <a:extLst>
              <a:ext uri="{FF2B5EF4-FFF2-40B4-BE49-F238E27FC236}">
                <a16:creationId xmlns:a16="http://schemas.microsoft.com/office/drawing/2014/main" id="{32729FB4-F3B9-C0DB-CD5D-724C26C96A56}"/>
              </a:ext>
            </a:extLst>
          </p:cNvPr>
          <p:cNvSpPr txBox="1"/>
          <p:nvPr/>
        </p:nvSpPr>
        <p:spPr>
          <a:xfrm>
            <a:off x="3957726" y="3917535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2</a:t>
            </a:r>
            <a:endParaRPr lang="en-DE" sz="1100" b="1" dirty="0"/>
          </a:p>
        </p:txBody>
      </p:sp>
      <p:sp>
        <p:nvSpPr>
          <p:cNvPr id="633" name="TextBox 632">
            <a:extLst>
              <a:ext uri="{FF2B5EF4-FFF2-40B4-BE49-F238E27FC236}">
                <a16:creationId xmlns:a16="http://schemas.microsoft.com/office/drawing/2014/main" id="{C7548C9C-5C64-FBF4-EB87-AF03F8BB0EC5}"/>
              </a:ext>
            </a:extLst>
          </p:cNvPr>
          <p:cNvSpPr txBox="1"/>
          <p:nvPr/>
        </p:nvSpPr>
        <p:spPr>
          <a:xfrm>
            <a:off x="6719936" y="3904504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6</a:t>
            </a:r>
            <a:endParaRPr lang="en-DE" sz="1100" b="1" dirty="0"/>
          </a:p>
        </p:txBody>
      </p:sp>
      <p:sp>
        <p:nvSpPr>
          <p:cNvPr id="634" name="TextBox 633">
            <a:extLst>
              <a:ext uri="{FF2B5EF4-FFF2-40B4-BE49-F238E27FC236}">
                <a16:creationId xmlns:a16="http://schemas.microsoft.com/office/drawing/2014/main" id="{2FA8B219-E543-8F30-BF71-059AED8BBE9F}"/>
              </a:ext>
            </a:extLst>
          </p:cNvPr>
          <p:cNvSpPr txBox="1"/>
          <p:nvPr/>
        </p:nvSpPr>
        <p:spPr>
          <a:xfrm>
            <a:off x="7659847" y="3904504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8</a:t>
            </a:r>
            <a:endParaRPr lang="en-DE" sz="1100" b="1" dirty="0"/>
          </a:p>
        </p:txBody>
      </p:sp>
      <p:sp>
        <p:nvSpPr>
          <p:cNvPr id="635" name="TextBox 634">
            <a:extLst>
              <a:ext uri="{FF2B5EF4-FFF2-40B4-BE49-F238E27FC236}">
                <a16:creationId xmlns:a16="http://schemas.microsoft.com/office/drawing/2014/main" id="{0EB4F34A-42F4-BD79-DBF2-E8822B9B82F6}"/>
              </a:ext>
            </a:extLst>
          </p:cNvPr>
          <p:cNvSpPr txBox="1"/>
          <p:nvPr/>
        </p:nvSpPr>
        <p:spPr>
          <a:xfrm>
            <a:off x="5519722" y="3904504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4</a:t>
            </a:r>
            <a:endParaRPr lang="en-DE" sz="1100" b="1" dirty="0"/>
          </a:p>
        </p:txBody>
      </p:sp>
      <p:sp>
        <p:nvSpPr>
          <p:cNvPr id="636" name="TextBox 635">
            <a:extLst>
              <a:ext uri="{FF2B5EF4-FFF2-40B4-BE49-F238E27FC236}">
                <a16:creationId xmlns:a16="http://schemas.microsoft.com/office/drawing/2014/main" id="{DCCD6B77-3047-E8DA-218A-3D4F4F218FC3}"/>
              </a:ext>
            </a:extLst>
          </p:cNvPr>
          <p:cNvSpPr txBox="1"/>
          <p:nvPr/>
        </p:nvSpPr>
        <p:spPr>
          <a:xfrm>
            <a:off x="3904529" y="2652050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642" name="TextBox 641">
            <a:extLst>
              <a:ext uri="{FF2B5EF4-FFF2-40B4-BE49-F238E27FC236}">
                <a16:creationId xmlns:a16="http://schemas.microsoft.com/office/drawing/2014/main" id="{F3F0E2EB-1814-2A4E-2AFE-68BFB25CC8C8}"/>
              </a:ext>
            </a:extLst>
          </p:cNvPr>
          <p:cNvSpPr txBox="1"/>
          <p:nvPr/>
        </p:nvSpPr>
        <p:spPr>
          <a:xfrm>
            <a:off x="6851506" y="3414559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4</a:t>
            </a:r>
            <a:endParaRPr lang="en-DE" sz="900" dirty="0"/>
          </a:p>
        </p:txBody>
      </p:sp>
      <p:sp>
        <p:nvSpPr>
          <p:cNvPr id="643" name="TextBox 642">
            <a:extLst>
              <a:ext uri="{FF2B5EF4-FFF2-40B4-BE49-F238E27FC236}">
                <a16:creationId xmlns:a16="http://schemas.microsoft.com/office/drawing/2014/main" id="{70B218F2-C1CC-2468-FEEB-804B2D7CC683}"/>
              </a:ext>
            </a:extLst>
          </p:cNvPr>
          <p:cNvSpPr txBox="1"/>
          <p:nvPr/>
        </p:nvSpPr>
        <p:spPr>
          <a:xfrm>
            <a:off x="7327427" y="3414559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646" name="TextBox 645">
            <a:extLst>
              <a:ext uri="{FF2B5EF4-FFF2-40B4-BE49-F238E27FC236}">
                <a16:creationId xmlns:a16="http://schemas.microsoft.com/office/drawing/2014/main" id="{C0098FF9-2C2A-611B-A1EE-582A75B9E42B}"/>
              </a:ext>
            </a:extLst>
          </p:cNvPr>
          <p:cNvSpPr txBox="1"/>
          <p:nvPr/>
        </p:nvSpPr>
        <p:spPr>
          <a:xfrm>
            <a:off x="6806062" y="3667631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5</a:t>
            </a:r>
            <a:endParaRPr lang="en-DE" sz="900" dirty="0"/>
          </a:p>
        </p:txBody>
      </p:sp>
      <p:cxnSp>
        <p:nvCxnSpPr>
          <p:cNvPr id="651" name="Straight Connector 650">
            <a:extLst>
              <a:ext uri="{FF2B5EF4-FFF2-40B4-BE49-F238E27FC236}">
                <a16:creationId xmlns:a16="http://schemas.microsoft.com/office/drawing/2014/main" id="{8E5EB656-58CE-D9EF-1FDF-E776EFE7A155}"/>
              </a:ext>
            </a:extLst>
          </p:cNvPr>
          <p:cNvCxnSpPr>
            <a:cxnSpLocks/>
          </p:cNvCxnSpPr>
          <p:nvPr/>
        </p:nvCxnSpPr>
        <p:spPr>
          <a:xfrm flipH="1" flipV="1">
            <a:off x="5633991" y="2648970"/>
            <a:ext cx="897629" cy="922039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2" name="Straight Connector 651">
            <a:extLst>
              <a:ext uri="{FF2B5EF4-FFF2-40B4-BE49-F238E27FC236}">
                <a16:creationId xmlns:a16="http://schemas.microsoft.com/office/drawing/2014/main" id="{EFE65499-B107-88CA-4E41-7F06B12C99DF}"/>
              </a:ext>
            </a:extLst>
          </p:cNvPr>
          <p:cNvCxnSpPr>
            <a:cxnSpLocks/>
          </p:cNvCxnSpPr>
          <p:nvPr/>
        </p:nvCxnSpPr>
        <p:spPr>
          <a:xfrm flipH="1" flipV="1">
            <a:off x="6831648" y="2648970"/>
            <a:ext cx="897629" cy="922039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8" name="Straight Connector 657">
            <a:extLst>
              <a:ext uri="{FF2B5EF4-FFF2-40B4-BE49-F238E27FC236}">
                <a16:creationId xmlns:a16="http://schemas.microsoft.com/office/drawing/2014/main" id="{2CD4C1D6-20F1-4C6C-8EB4-6ED029B83060}"/>
              </a:ext>
            </a:extLst>
          </p:cNvPr>
          <p:cNvCxnSpPr>
            <a:cxnSpLocks/>
          </p:cNvCxnSpPr>
          <p:nvPr/>
        </p:nvCxnSpPr>
        <p:spPr>
          <a:xfrm flipV="1">
            <a:off x="5670851" y="2647402"/>
            <a:ext cx="849292" cy="87199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9" name="Straight Connector 658">
            <a:extLst>
              <a:ext uri="{FF2B5EF4-FFF2-40B4-BE49-F238E27FC236}">
                <a16:creationId xmlns:a16="http://schemas.microsoft.com/office/drawing/2014/main" id="{9356593A-902E-6579-8E39-9630E6E7864D}"/>
              </a:ext>
            </a:extLst>
          </p:cNvPr>
          <p:cNvCxnSpPr>
            <a:cxnSpLocks/>
          </p:cNvCxnSpPr>
          <p:nvPr/>
        </p:nvCxnSpPr>
        <p:spPr>
          <a:xfrm flipV="1">
            <a:off x="6877669" y="2647402"/>
            <a:ext cx="849292" cy="87199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0" name="Straight Connector 659">
            <a:extLst>
              <a:ext uri="{FF2B5EF4-FFF2-40B4-BE49-F238E27FC236}">
                <a16:creationId xmlns:a16="http://schemas.microsoft.com/office/drawing/2014/main" id="{79E5BEDA-3307-CA1D-14AD-B1CDE2E213B8}"/>
              </a:ext>
            </a:extLst>
          </p:cNvPr>
          <p:cNvCxnSpPr>
            <a:cxnSpLocks/>
          </p:cNvCxnSpPr>
          <p:nvPr/>
        </p:nvCxnSpPr>
        <p:spPr>
          <a:xfrm flipH="1" flipV="1">
            <a:off x="4263341" y="2652763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2" name="Graphic 661" descr="Computer outline">
            <a:extLst>
              <a:ext uri="{FF2B5EF4-FFF2-40B4-BE49-F238E27FC236}">
                <a16:creationId xmlns:a16="http://schemas.microsoft.com/office/drawing/2014/main" id="{D8C1BD2A-2A02-6912-D3C6-D12945D5D2F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659768" y="2163196"/>
            <a:ext cx="684020" cy="684020"/>
          </a:xfrm>
          <a:prstGeom prst="rect">
            <a:avLst/>
          </a:prstGeom>
        </p:spPr>
      </p:pic>
      <p:cxnSp>
        <p:nvCxnSpPr>
          <p:cNvPr id="663" name="Straight Connector 662">
            <a:extLst>
              <a:ext uri="{FF2B5EF4-FFF2-40B4-BE49-F238E27FC236}">
                <a16:creationId xmlns:a16="http://schemas.microsoft.com/office/drawing/2014/main" id="{016B34E5-4D60-FF39-7E5D-314326E3C8A1}"/>
              </a:ext>
            </a:extLst>
          </p:cNvPr>
          <p:cNvCxnSpPr>
            <a:cxnSpLocks/>
          </p:cNvCxnSpPr>
          <p:nvPr/>
        </p:nvCxnSpPr>
        <p:spPr>
          <a:xfrm flipV="1">
            <a:off x="3309634" y="2496082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5" name="Graphic 664" descr="Computer outline">
            <a:extLst>
              <a:ext uri="{FF2B5EF4-FFF2-40B4-BE49-F238E27FC236}">
                <a16:creationId xmlns:a16="http://schemas.microsoft.com/office/drawing/2014/main" id="{3FAA4A86-2C66-C1F7-FD21-2FBC76D31A1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649963" y="3407098"/>
            <a:ext cx="684020" cy="684020"/>
          </a:xfrm>
          <a:prstGeom prst="rect">
            <a:avLst/>
          </a:prstGeom>
        </p:spPr>
      </p:pic>
      <p:cxnSp>
        <p:nvCxnSpPr>
          <p:cNvPr id="666" name="Straight Connector 665">
            <a:extLst>
              <a:ext uri="{FF2B5EF4-FFF2-40B4-BE49-F238E27FC236}">
                <a16:creationId xmlns:a16="http://schemas.microsoft.com/office/drawing/2014/main" id="{153DECDE-A1F5-F37D-8B05-ED974D8AD79C}"/>
              </a:ext>
            </a:extLst>
          </p:cNvPr>
          <p:cNvCxnSpPr>
            <a:cxnSpLocks/>
          </p:cNvCxnSpPr>
          <p:nvPr/>
        </p:nvCxnSpPr>
        <p:spPr>
          <a:xfrm flipV="1">
            <a:off x="3301368" y="3726998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8" name="Straight Connector 667">
            <a:extLst>
              <a:ext uri="{FF2B5EF4-FFF2-40B4-BE49-F238E27FC236}">
                <a16:creationId xmlns:a16="http://schemas.microsoft.com/office/drawing/2014/main" id="{CF0B4FE5-DC0E-A164-5F6B-8CAAE2D20A9E}"/>
              </a:ext>
            </a:extLst>
          </p:cNvPr>
          <p:cNvCxnSpPr>
            <a:cxnSpLocks/>
          </p:cNvCxnSpPr>
          <p:nvPr/>
        </p:nvCxnSpPr>
        <p:spPr>
          <a:xfrm flipH="1" flipV="1">
            <a:off x="5485533" y="3870356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1" name="Straight Connector 670">
            <a:extLst>
              <a:ext uri="{FF2B5EF4-FFF2-40B4-BE49-F238E27FC236}">
                <a16:creationId xmlns:a16="http://schemas.microsoft.com/office/drawing/2014/main" id="{66DCF3BC-1351-4EF9-BECF-665293E998B6}"/>
              </a:ext>
            </a:extLst>
          </p:cNvPr>
          <p:cNvCxnSpPr>
            <a:cxnSpLocks/>
          </p:cNvCxnSpPr>
          <p:nvPr/>
        </p:nvCxnSpPr>
        <p:spPr>
          <a:xfrm flipV="1">
            <a:off x="8081441" y="2469158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3" name="Straight Connector 672">
            <a:extLst>
              <a:ext uri="{FF2B5EF4-FFF2-40B4-BE49-F238E27FC236}">
                <a16:creationId xmlns:a16="http://schemas.microsoft.com/office/drawing/2014/main" id="{C90A01AB-23FD-D4A4-8D10-69AA24F57024}"/>
              </a:ext>
            </a:extLst>
          </p:cNvPr>
          <p:cNvCxnSpPr>
            <a:cxnSpLocks/>
          </p:cNvCxnSpPr>
          <p:nvPr/>
        </p:nvCxnSpPr>
        <p:spPr>
          <a:xfrm flipV="1">
            <a:off x="8085733" y="3690052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5" name="Straight Connector 674">
            <a:extLst>
              <a:ext uri="{FF2B5EF4-FFF2-40B4-BE49-F238E27FC236}">
                <a16:creationId xmlns:a16="http://schemas.microsoft.com/office/drawing/2014/main" id="{87A56567-14A8-8616-8437-CC3AA6CE47B9}"/>
              </a:ext>
            </a:extLst>
          </p:cNvPr>
          <p:cNvCxnSpPr>
            <a:cxnSpLocks/>
            <a:stCxn id="82" idx="5"/>
            <a:endCxn id="737" idx="0"/>
          </p:cNvCxnSpPr>
          <p:nvPr/>
        </p:nvCxnSpPr>
        <p:spPr>
          <a:xfrm flipH="1" flipV="1">
            <a:off x="4677201" y="1435886"/>
            <a:ext cx="683303" cy="85317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7" name="TextBox 676">
            <a:extLst>
              <a:ext uri="{FF2B5EF4-FFF2-40B4-BE49-F238E27FC236}">
                <a16:creationId xmlns:a16="http://schemas.microsoft.com/office/drawing/2014/main" id="{0B928533-CF7A-04BC-ABDA-5AA8D908F9A3}"/>
              </a:ext>
            </a:extLst>
          </p:cNvPr>
          <p:cNvSpPr txBox="1"/>
          <p:nvPr/>
        </p:nvSpPr>
        <p:spPr>
          <a:xfrm>
            <a:off x="3708539" y="3667631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sp>
        <p:nvSpPr>
          <p:cNvPr id="678" name="TextBox 677">
            <a:extLst>
              <a:ext uri="{FF2B5EF4-FFF2-40B4-BE49-F238E27FC236}">
                <a16:creationId xmlns:a16="http://schemas.microsoft.com/office/drawing/2014/main" id="{254D84F8-E0FB-5CEE-19D3-26864C9C7C88}"/>
              </a:ext>
            </a:extLst>
          </p:cNvPr>
          <p:cNvSpPr txBox="1"/>
          <p:nvPr/>
        </p:nvSpPr>
        <p:spPr>
          <a:xfrm>
            <a:off x="8019409" y="2289055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sp>
        <p:nvSpPr>
          <p:cNvPr id="679" name="TextBox 678">
            <a:extLst>
              <a:ext uri="{FF2B5EF4-FFF2-40B4-BE49-F238E27FC236}">
                <a16:creationId xmlns:a16="http://schemas.microsoft.com/office/drawing/2014/main" id="{27D1D2E6-37C8-805B-25E5-5C6E879F03B3}"/>
              </a:ext>
            </a:extLst>
          </p:cNvPr>
          <p:cNvSpPr txBox="1"/>
          <p:nvPr/>
        </p:nvSpPr>
        <p:spPr>
          <a:xfrm>
            <a:off x="8022829" y="3667631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sp>
        <p:nvSpPr>
          <p:cNvPr id="680" name="TextBox 679">
            <a:extLst>
              <a:ext uri="{FF2B5EF4-FFF2-40B4-BE49-F238E27FC236}">
                <a16:creationId xmlns:a16="http://schemas.microsoft.com/office/drawing/2014/main" id="{9BE13B77-BE3E-6E6F-4695-2BA1335D624A}"/>
              </a:ext>
            </a:extLst>
          </p:cNvPr>
          <p:cNvSpPr txBox="1"/>
          <p:nvPr/>
        </p:nvSpPr>
        <p:spPr>
          <a:xfrm>
            <a:off x="5101045" y="3871719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sp>
        <p:nvSpPr>
          <p:cNvPr id="681" name="TextBox 680">
            <a:extLst>
              <a:ext uri="{FF2B5EF4-FFF2-40B4-BE49-F238E27FC236}">
                <a16:creationId xmlns:a16="http://schemas.microsoft.com/office/drawing/2014/main" id="{0487A8F6-7627-BCD7-8A6D-3FBDA8FE4A48}"/>
              </a:ext>
            </a:extLst>
          </p:cNvPr>
          <p:cNvSpPr txBox="1"/>
          <p:nvPr/>
        </p:nvSpPr>
        <p:spPr>
          <a:xfrm>
            <a:off x="6310067" y="3860286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cxnSp>
        <p:nvCxnSpPr>
          <p:cNvPr id="682" name="Straight Connector 681">
            <a:extLst>
              <a:ext uri="{FF2B5EF4-FFF2-40B4-BE49-F238E27FC236}">
                <a16:creationId xmlns:a16="http://schemas.microsoft.com/office/drawing/2014/main" id="{08F8BFCC-279A-8910-46D6-55ACA23052D1}"/>
              </a:ext>
            </a:extLst>
          </p:cNvPr>
          <p:cNvCxnSpPr>
            <a:cxnSpLocks/>
          </p:cNvCxnSpPr>
          <p:nvPr/>
        </p:nvCxnSpPr>
        <p:spPr>
          <a:xfrm flipH="1" flipV="1">
            <a:off x="5481424" y="2658522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3" name="Straight Connector 682">
            <a:extLst>
              <a:ext uri="{FF2B5EF4-FFF2-40B4-BE49-F238E27FC236}">
                <a16:creationId xmlns:a16="http://schemas.microsoft.com/office/drawing/2014/main" id="{6DFBC012-500F-9156-CDC0-644FB13F9C43}"/>
              </a:ext>
            </a:extLst>
          </p:cNvPr>
          <p:cNvCxnSpPr>
            <a:cxnSpLocks/>
          </p:cNvCxnSpPr>
          <p:nvPr/>
        </p:nvCxnSpPr>
        <p:spPr>
          <a:xfrm flipH="1" flipV="1">
            <a:off x="6672262" y="2643804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4" name="TextBox 683">
            <a:extLst>
              <a:ext uri="{FF2B5EF4-FFF2-40B4-BE49-F238E27FC236}">
                <a16:creationId xmlns:a16="http://schemas.microsoft.com/office/drawing/2014/main" id="{79373030-BEB9-7B52-CD45-A8E261F9218E}"/>
              </a:ext>
            </a:extLst>
          </p:cNvPr>
          <p:cNvSpPr txBox="1"/>
          <p:nvPr/>
        </p:nvSpPr>
        <p:spPr>
          <a:xfrm>
            <a:off x="5162015" y="2652050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685" name="TextBox 684">
            <a:extLst>
              <a:ext uri="{FF2B5EF4-FFF2-40B4-BE49-F238E27FC236}">
                <a16:creationId xmlns:a16="http://schemas.microsoft.com/office/drawing/2014/main" id="{06146BEB-FD30-1EDD-F49A-71CE5A93CC37}"/>
              </a:ext>
            </a:extLst>
          </p:cNvPr>
          <p:cNvSpPr txBox="1"/>
          <p:nvPr/>
        </p:nvSpPr>
        <p:spPr>
          <a:xfrm>
            <a:off x="5629082" y="2549608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5</a:t>
            </a:r>
            <a:endParaRPr lang="en-DE" sz="900" dirty="0"/>
          </a:p>
        </p:txBody>
      </p:sp>
      <p:sp>
        <p:nvSpPr>
          <p:cNvPr id="686" name="TextBox 685">
            <a:extLst>
              <a:ext uri="{FF2B5EF4-FFF2-40B4-BE49-F238E27FC236}">
                <a16:creationId xmlns:a16="http://schemas.microsoft.com/office/drawing/2014/main" id="{488B0965-74C2-1A55-0ECE-AD6940E0D6D0}"/>
              </a:ext>
            </a:extLst>
          </p:cNvPr>
          <p:cNvSpPr txBox="1"/>
          <p:nvPr/>
        </p:nvSpPr>
        <p:spPr>
          <a:xfrm>
            <a:off x="6805154" y="2290644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4</a:t>
            </a:r>
            <a:endParaRPr lang="en-DE" sz="900" dirty="0"/>
          </a:p>
        </p:txBody>
      </p:sp>
      <p:sp>
        <p:nvSpPr>
          <p:cNvPr id="687" name="TextBox 686">
            <a:extLst>
              <a:ext uri="{FF2B5EF4-FFF2-40B4-BE49-F238E27FC236}">
                <a16:creationId xmlns:a16="http://schemas.microsoft.com/office/drawing/2014/main" id="{DB807AA7-F4E5-F08C-02AA-EE762F22B39D}"/>
              </a:ext>
            </a:extLst>
          </p:cNvPr>
          <p:cNvSpPr txBox="1"/>
          <p:nvPr/>
        </p:nvSpPr>
        <p:spPr>
          <a:xfrm>
            <a:off x="6355021" y="2652050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688" name="TextBox 687">
            <a:extLst>
              <a:ext uri="{FF2B5EF4-FFF2-40B4-BE49-F238E27FC236}">
                <a16:creationId xmlns:a16="http://schemas.microsoft.com/office/drawing/2014/main" id="{B0C1273C-3337-E680-D548-2984CF967220}"/>
              </a:ext>
            </a:extLst>
          </p:cNvPr>
          <p:cNvSpPr txBox="1"/>
          <p:nvPr/>
        </p:nvSpPr>
        <p:spPr>
          <a:xfrm>
            <a:off x="6822088" y="2549608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5</a:t>
            </a:r>
            <a:endParaRPr lang="en-DE" sz="900" dirty="0"/>
          </a:p>
        </p:txBody>
      </p:sp>
      <p:sp>
        <p:nvSpPr>
          <p:cNvPr id="689" name="TextBox 688">
            <a:extLst>
              <a:ext uri="{FF2B5EF4-FFF2-40B4-BE49-F238E27FC236}">
                <a16:creationId xmlns:a16="http://schemas.microsoft.com/office/drawing/2014/main" id="{B16E91B8-9E8E-B706-86FB-8E62A16DD325}"/>
              </a:ext>
            </a:extLst>
          </p:cNvPr>
          <p:cNvSpPr txBox="1"/>
          <p:nvPr/>
        </p:nvSpPr>
        <p:spPr>
          <a:xfrm>
            <a:off x="7826000" y="2652050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690" name="TextBox 689">
            <a:extLst>
              <a:ext uri="{FF2B5EF4-FFF2-40B4-BE49-F238E27FC236}">
                <a16:creationId xmlns:a16="http://schemas.microsoft.com/office/drawing/2014/main" id="{65426FFB-2BEA-3414-6FBB-076373510431}"/>
              </a:ext>
            </a:extLst>
          </p:cNvPr>
          <p:cNvSpPr txBox="1"/>
          <p:nvPr/>
        </p:nvSpPr>
        <p:spPr>
          <a:xfrm>
            <a:off x="7852621" y="3306744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691" name="TextBox 690">
            <a:extLst>
              <a:ext uri="{FF2B5EF4-FFF2-40B4-BE49-F238E27FC236}">
                <a16:creationId xmlns:a16="http://schemas.microsoft.com/office/drawing/2014/main" id="{2D357871-BF3D-7F9F-E950-D67DBFE96000}"/>
              </a:ext>
            </a:extLst>
          </p:cNvPr>
          <p:cNvSpPr txBox="1"/>
          <p:nvPr/>
        </p:nvSpPr>
        <p:spPr>
          <a:xfrm>
            <a:off x="7379961" y="3667631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692" name="TextBox 691">
            <a:extLst>
              <a:ext uri="{FF2B5EF4-FFF2-40B4-BE49-F238E27FC236}">
                <a16:creationId xmlns:a16="http://schemas.microsoft.com/office/drawing/2014/main" id="{67810CEC-6F01-7DCF-1F42-364EAB124D2F}"/>
              </a:ext>
            </a:extLst>
          </p:cNvPr>
          <p:cNvSpPr txBox="1"/>
          <p:nvPr/>
        </p:nvSpPr>
        <p:spPr>
          <a:xfrm>
            <a:off x="6160239" y="3414559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693" name="TextBox 692">
            <a:extLst>
              <a:ext uri="{FF2B5EF4-FFF2-40B4-BE49-F238E27FC236}">
                <a16:creationId xmlns:a16="http://schemas.microsoft.com/office/drawing/2014/main" id="{2D94FDC2-C69F-F9FE-5E01-A4E36263929B}"/>
              </a:ext>
            </a:extLst>
          </p:cNvPr>
          <p:cNvSpPr txBox="1"/>
          <p:nvPr/>
        </p:nvSpPr>
        <p:spPr>
          <a:xfrm>
            <a:off x="6369533" y="3306744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694" name="TextBox 693">
            <a:extLst>
              <a:ext uri="{FF2B5EF4-FFF2-40B4-BE49-F238E27FC236}">
                <a16:creationId xmlns:a16="http://schemas.microsoft.com/office/drawing/2014/main" id="{E30C0246-5E24-E3CA-46F1-D73AE4F0ABDA}"/>
              </a:ext>
            </a:extLst>
          </p:cNvPr>
          <p:cNvSpPr txBox="1"/>
          <p:nvPr/>
        </p:nvSpPr>
        <p:spPr>
          <a:xfrm>
            <a:off x="6156949" y="3667631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695" name="TextBox 694">
            <a:extLst>
              <a:ext uri="{FF2B5EF4-FFF2-40B4-BE49-F238E27FC236}">
                <a16:creationId xmlns:a16="http://schemas.microsoft.com/office/drawing/2014/main" id="{BFDAF9C6-34AB-DBBD-69BC-6385BD36533A}"/>
              </a:ext>
            </a:extLst>
          </p:cNvPr>
          <p:cNvSpPr txBox="1"/>
          <p:nvPr/>
        </p:nvSpPr>
        <p:spPr>
          <a:xfrm>
            <a:off x="5651497" y="3414559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4</a:t>
            </a:r>
            <a:endParaRPr lang="en-DE" sz="900" dirty="0"/>
          </a:p>
        </p:txBody>
      </p:sp>
      <p:sp>
        <p:nvSpPr>
          <p:cNvPr id="696" name="TextBox 695">
            <a:extLst>
              <a:ext uri="{FF2B5EF4-FFF2-40B4-BE49-F238E27FC236}">
                <a16:creationId xmlns:a16="http://schemas.microsoft.com/office/drawing/2014/main" id="{2BBC836D-6CA2-65F3-AAAB-66819CE184EA}"/>
              </a:ext>
            </a:extLst>
          </p:cNvPr>
          <p:cNvSpPr txBox="1"/>
          <p:nvPr/>
        </p:nvSpPr>
        <p:spPr>
          <a:xfrm>
            <a:off x="5596316" y="3667631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5</a:t>
            </a:r>
            <a:endParaRPr lang="en-DE" sz="900" dirty="0"/>
          </a:p>
        </p:txBody>
      </p:sp>
      <p:sp>
        <p:nvSpPr>
          <p:cNvPr id="697" name="TextBox 696">
            <a:extLst>
              <a:ext uri="{FF2B5EF4-FFF2-40B4-BE49-F238E27FC236}">
                <a16:creationId xmlns:a16="http://schemas.microsoft.com/office/drawing/2014/main" id="{50D44457-86EA-4936-E1A1-5A33D2508F41}"/>
              </a:ext>
            </a:extLst>
          </p:cNvPr>
          <p:cNvSpPr txBox="1"/>
          <p:nvPr/>
        </p:nvSpPr>
        <p:spPr>
          <a:xfrm>
            <a:off x="4914299" y="3414559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698" name="TextBox 697">
            <a:extLst>
              <a:ext uri="{FF2B5EF4-FFF2-40B4-BE49-F238E27FC236}">
                <a16:creationId xmlns:a16="http://schemas.microsoft.com/office/drawing/2014/main" id="{24306FF9-D7FE-10C7-B488-E67160E56B5E}"/>
              </a:ext>
            </a:extLst>
          </p:cNvPr>
          <p:cNvSpPr txBox="1"/>
          <p:nvPr/>
        </p:nvSpPr>
        <p:spPr>
          <a:xfrm>
            <a:off x="5179085" y="3306744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699" name="TextBox 698">
            <a:extLst>
              <a:ext uri="{FF2B5EF4-FFF2-40B4-BE49-F238E27FC236}">
                <a16:creationId xmlns:a16="http://schemas.microsoft.com/office/drawing/2014/main" id="{8784B9DC-9CF9-D47E-75BE-2692392F4E9A}"/>
              </a:ext>
            </a:extLst>
          </p:cNvPr>
          <p:cNvSpPr txBox="1"/>
          <p:nvPr/>
        </p:nvSpPr>
        <p:spPr>
          <a:xfrm>
            <a:off x="4947203" y="3667631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702" name="TextBox 701">
            <a:extLst>
              <a:ext uri="{FF2B5EF4-FFF2-40B4-BE49-F238E27FC236}">
                <a16:creationId xmlns:a16="http://schemas.microsoft.com/office/drawing/2014/main" id="{50393E7F-D083-E5B5-3448-0EB64577FE5A}"/>
              </a:ext>
            </a:extLst>
          </p:cNvPr>
          <p:cNvSpPr txBox="1"/>
          <p:nvPr/>
        </p:nvSpPr>
        <p:spPr>
          <a:xfrm>
            <a:off x="3946211" y="3306744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703" name="TextBox 702">
            <a:extLst>
              <a:ext uri="{FF2B5EF4-FFF2-40B4-BE49-F238E27FC236}">
                <a16:creationId xmlns:a16="http://schemas.microsoft.com/office/drawing/2014/main" id="{5A226BE9-F271-7A92-E25A-B459C3460812}"/>
              </a:ext>
            </a:extLst>
          </p:cNvPr>
          <p:cNvSpPr txBox="1"/>
          <p:nvPr/>
        </p:nvSpPr>
        <p:spPr>
          <a:xfrm>
            <a:off x="4402037" y="3667631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704" name="TextBox 703">
            <a:extLst>
              <a:ext uri="{FF2B5EF4-FFF2-40B4-BE49-F238E27FC236}">
                <a16:creationId xmlns:a16="http://schemas.microsoft.com/office/drawing/2014/main" id="{663FB499-45BB-A680-2321-87AE00623601}"/>
              </a:ext>
            </a:extLst>
          </p:cNvPr>
          <p:cNvSpPr txBox="1"/>
          <p:nvPr/>
        </p:nvSpPr>
        <p:spPr>
          <a:xfrm>
            <a:off x="4419876" y="3414559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714" name="TextBox 713">
            <a:extLst>
              <a:ext uri="{FF2B5EF4-FFF2-40B4-BE49-F238E27FC236}">
                <a16:creationId xmlns:a16="http://schemas.microsoft.com/office/drawing/2014/main" id="{A49BB5BD-39AB-A7DA-76F4-7450BD64D717}"/>
              </a:ext>
            </a:extLst>
          </p:cNvPr>
          <p:cNvSpPr txBox="1"/>
          <p:nvPr/>
        </p:nvSpPr>
        <p:spPr>
          <a:xfrm>
            <a:off x="3250268" y="3511866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2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5" name="TextBox 714">
            <a:extLst>
              <a:ext uri="{FF2B5EF4-FFF2-40B4-BE49-F238E27FC236}">
                <a16:creationId xmlns:a16="http://schemas.microsoft.com/office/drawing/2014/main" id="{1E88A6D6-9C59-F529-A41E-F41DCB802CFF}"/>
              </a:ext>
            </a:extLst>
          </p:cNvPr>
          <p:cNvSpPr txBox="1"/>
          <p:nvPr/>
        </p:nvSpPr>
        <p:spPr>
          <a:xfrm>
            <a:off x="4561572" y="4275073"/>
            <a:ext cx="72006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2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3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4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5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60.0.0.2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6" name="TextBox 715">
            <a:extLst>
              <a:ext uri="{FF2B5EF4-FFF2-40B4-BE49-F238E27FC236}">
                <a16:creationId xmlns:a16="http://schemas.microsoft.com/office/drawing/2014/main" id="{9D68AFE0-A88F-E504-91E5-451DF6B1A51D}"/>
              </a:ext>
            </a:extLst>
          </p:cNvPr>
          <p:cNvSpPr txBox="1"/>
          <p:nvPr/>
        </p:nvSpPr>
        <p:spPr>
          <a:xfrm>
            <a:off x="8227182" y="2439614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3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7" name="TextBox 716">
            <a:extLst>
              <a:ext uri="{FF2B5EF4-FFF2-40B4-BE49-F238E27FC236}">
                <a16:creationId xmlns:a16="http://schemas.microsoft.com/office/drawing/2014/main" id="{CC2C0113-3694-FB02-9F59-79DC2702D6B8}"/>
              </a:ext>
            </a:extLst>
          </p:cNvPr>
          <p:cNvSpPr txBox="1"/>
          <p:nvPr/>
        </p:nvSpPr>
        <p:spPr>
          <a:xfrm>
            <a:off x="8232055" y="3485792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4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8" name="TextBox 717">
            <a:extLst>
              <a:ext uri="{FF2B5EF4-FFF2-40B4-BE49-F238E27FC236}">
                <a16:creationId xmlns:a16="http://schemas.microsoft.com/office/drawing/2014/main" id="{8091164F-4156-6BBF-741B-23B7177C9636}"/>
              </a:ext>
            </a:extLst>
          </p:cNvPr>
          <p:cNvSpPr txBox="1"/>
          <p:nvPr/>
        </p:nvSpPr>
        <p:spPr>
          <a:xfrm>
            <a:off x="5977478" y="4927771"/>
            <a:ext cx="100860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92.168.100.0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9" name="TextBox 718">
            <a:extLst>
              <a:ext uri="{FF2B5EF4-FFF2-40B4-BE49-F238E27FC236}">
                <a16:creationId xmlns:a16="http://schemas.microsoft.com/office/drawing/2014/main" id="{0DE977BC-C443-A096-3456-66CB3264D827}"/>
              </a:ext>
            </a:extLst>
          </p:cNvPr>
          <p:cNvSpPr txBox="1"/>
          <p:nvPr/>
        </p:nvSpPr>
        <p:spPr>
          <a:xfrm>
            <a:off x="1836746" y="2002264"/>
            <a:ext cx="40748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PC1</a:t>
            </a:r>
            <a:endParaRPr lang="en-DE" sz="1100" b="1" dirty="0"/>
          </a:p>
        </p:txBody>
      </p:sp>
      <p:grpSp>
        <p:nvGrpSpPr>
          <p:cNvPr id="114" name="Grafik 3753">
            <a:extLst>
              <a:ext uri="{FF2B5EF4-FFF2-40B4-BE49-F238E27FC236}">
                <a16:creationId xmlns:a16="http://schemas.microsoft.com/office/drawing/2014/main" id="{8A5EBCA0-01E3-D0B3-2EE8-3B5AC90B1790}"/>
              </a:ext>
            </a:extLst>
          </p:cNvPr>
          <p:cNvGrpSpPr/>
          <p:nvPr/>
        </p:nvGrpSpPr>
        <p:grpSpPr bwMode="gray">
          <a:xfrm>
            <a:off x="2940488" y="2283933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15" name="Grafik 3753">
              <a:extLst>
                <a:ext uri="{FF2B5EF4-FFF2-40B4-BE49-F238E27FC236}">
                  <a16:creationId xmlns:a16="http://schemas.microsoft.com/office/drawing/2014/main" id="{F97B7B12-9198-0A2A-290F-C3FE57BB8A0E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118" name="Grafik 3753">
                <a:extLst>
                  <a:ext uri="{FF2B5EF4-FFF2-40B4-BE49-F238E27FC236}">
                    <a16:creationId xmlns:a16="http://schemas.microsoft.com/office/drawing/2014/main" id="{08AEE683-760A-7CA2-FD50-7FF4DE983805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515" name="Grafik 3753">
                  <a:extLst>
                    <a:ext uri="{FF2B5EF4-FFF2-40B4-BE49-F238E27FC236}">
                      <a16:creationId xmlns:a16="http://schemas.microsoft.com/office/drawing/2014/main" id="{BB8F6770-64EB-2BA7-114E-ED30CE4D27A7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16" name="Grafik 3753">
                  <a:extLst>
                    <a:ext uri="{FF2B5EF4-FFF2-40B4-BE49-F238E27FC236}">
                      <a16:creationId xmlns:a16="http://schemas.microsoft.com/office/drawing/2014/main" id="{AA8254F2-B063-6F1A-B3F4-992D26079F98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37" name="Grafik 3753">
                  <a:extLst>
                    <a:ext uri="{FF2B5EF4-FFF2-40B4-BE49-F238E27FC236}">
                      <a16:creationId xmlns:a16="http://schemas.microsoft.com/office/drawing/2014/main" id="{7007DDB3-2DCC-3E5A-143D-816B0B3676FD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9" name="Grafik 3753">
                <a:extLst>
                  <a:ext uri="{FF2B5EF4-FFF2-40B4-BE49-F238E27FC236}">
                    <a16:creationId xmlns:a16="http://schemas.microsoft.com/office/drawing/2014/main" id="{D0550389-7566-2303-7FC1-D89DCA085B56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512" name="Grafik 3753">
                  <a:extLst>
                    <a:ext uri="{FF2B5EF4-FFF2-40B4-BE49-F238E27FC236}">
                      <a16:creationId xmlns:a16="http://schemas.microsoft.com/office/drawing/2014/main" id="{12AD5688-AF6E-27A3-B2B9-A1D53DB96FA8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13" name="Grafik 3753">
                  <a:extLst>
                    <a:ext uri="{FF2B5EF4-FFF2-40B4-BE49-F238E27FC236}">
                      <a16:creationId xmlns:a16="http://schemas.microsoft.com/office/drawing/2014/main" id="{37725124-B1C7-92B1-DC9B-73EE3F145DD2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14" name="Grafik 3753">
                  <a:extLst>
                    <a:ext uri="{FF2B5EF4-FFF2-40B4-BE49-F238E27FC236}">
                      <a16:creationId xmlns:a16="http://schemas.microsoft.com/office/drawing/2014/main" id="{FC849F3C-15B7-E799-F2CB-FA2D0E0278FF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20" name="Grafik 3753">
                <a:extLst>
                  <a:ext uri="{FF2B5EF4-FFF2-40B4-BE49-F238E27FC236}">
                    <a16:creationId xmlns:a16="http://schemas.microsoft.com/office/drawing/2014/main" id="{0AD1FC43-EE9C-37A7-A429-14A4617BEF50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125" name="Grafik 3753">
                  <a:extLst>
                    <a:ext uri="{FF2B5EF4-FFF2-40B4-BE49-F238E27FC236}">
                      <a16:creationId xmlns:a16="http://schemas.microsoft.com/office/drawing/2014/main" id="{06B3E731-A3C1-4C7C-CA1F-CBC312745A0C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6" name="Grafik 3753">
                  <a:extLst>
                    <a:ext uri="{FF2B5EF4-FFF2-40B4-BE49-F238E27FC236}">
                      <a16:creationId xmlns:a16="http://schemas.microsoft.com/office/drawing/2014/main" id="{969E33B5-3F25-AB4C-2B85-D0A6ED56F52F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7" name="Grafik 3753">
                  <a:extLst>
                    <a:ext uri="{FF2B5EF4-FFF2-40B4-BE49-F238E27FC236}">
                      <a16:creationId xmlns:a16="http://schemas.microsoft.com/office/drawing/2014/main" id="{FE770A6D-7FE1-46C9-299E-F6AFBEBE4A05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21" name="Grafik 3753">
                <a:extLst>
                  <a:ext uri="{FF2B5EF4-FFF2-40B4-BE49-F238E27FC236}">
                    <a16:creationId xmlns:a16="http://schemas.microsoft.com/office/drawing/2014/main" id="{BEB95C82-FA05-5570-6EBA-4A8EC1C5E0D3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122" name="Grafik 3753">
                  <a:extLst>
                    <a:ext uri="{FF2B5EF4-FFF2-40B4-BE49-F238E27FC236}">
                      <a16:creationId xmlns:a16="http://schemas.microsoft.com/office/drawing/2014/main" id="{D0D564BE-4DDA-37C4-B8BC-5854CF5D1673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3" name="Grafik 3753">
                  <a:extLst>
                    <a:ext uri="{FF2B5EF4-FFF2-40B4-BE49-F238E27FC236}">
                      <a16:creationId xmlns:a16="http://schemas.microsoft.com/office/drawing/2014/main" id="{2E386C9D-14E7-A7EB-C5D1-5F4B62DB551F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4" name="Grafik 3753">
                  <a:extLst>
                    <a:ext uri="{FF2B5EF4-FFF2-40B4-BE49-F238E27FC236}">
                      <a16:creationId xmlns:a16="http://schemas.microsoft.com/office/drawing/2014/main" id="{19EEF007-C9F9-876B-4913-F949B52C0D3C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116" name="Grafik 3753">
              <a:extLst>
                <a:ext uri="{FF2B5EF4-FFF2-40B4-BE49-F238E27FC236}">
                  <a16:creationId xmlns:a16="http://schemas.microsoft.com/office/drawing/2014/main" id="{BFC0C357-107B-1FED-E774-B32D48E38BDF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7" name="Grafik 3753">
              <a:extLst>
                <a:ext uri="{FF2B5EF4-FFF2-40B4-BE49-F238E27FC236}">
                  <a16:creationId xmlns:a16="http://schemas.microsoft.com/office/drawing/2014/main" id="{5E6AB686-B6FB-EE44-295D-AF3169A5F48D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638" name="Grafik 3753">
            <a:extLst>
              <a:ext uri="{FF2B5EF4-FFF2-40B4-BE49-F238E27FC236}">
                <a16:creationId xmlns:a16="http://schemas.microsoft.com/office/drawing/2014/main" id="{A653574B-0C08-AEB2-D480-3816B441D47C}"/>
              </a:ext>
            </a:extLst>
          </p:cNvPr>
          <p:cNvGrpSpPr/>
          <p:nvPr/>
        </p:nvGrpSpPr>
        <p:grpSpPr bwMode="gray">
          <a:xfrm>
            <a:off x="2936522" y="3522695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39" name="Grafik 3753">
              <a:extLst>
                <a:ext uri="{FF2B5EF4-FFF2-40B4-BE49-F238E27FC236}">
                  <a16:creationId xmlns:a16="http://schemas.microsoft.com/office/drawing/2014/main" id="{31044341-536C-6088-92E2-6CEAA136F180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644" name="Grafik 3753">
                <a:extLst>
                  <a:ext uri="{FF2B5EF4-FFF2-40B4-BE49-F238E27FC236}">
                    <a16:creationId xmlns:a16="http://schemas.microsoft.com/office/drawing/2014/main" id="{F20B1A98-AA88-3FAF-7EE8-A3A0A1BBA82A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669" name="Grafik 3753">
                  <a:extLst>
                    <a:ext uri="{FF2B5EF4-FFF2-40B4-BE49-F238E27FC236}">
                      <a16:creationId xmlns:a16="http://schemas.microsoft.com/office/drawing/2014/main" id="{825FA549-9080-0785-4DE8-E0892A167033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0" name="Grafik 3753">
                  <a:extLst>
                    <a:ext uri="{FF2B5EF4-FFF2-40B4-BE49-F238E27FC236}">
                      <a16:creationId xmlns:a16="http://schemas.microsoft.com/office/drawing/2014/main" id="{8BABE1C1-5114-414B-1853-7355E5C3448D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1" name="Grafik 3753">
                  <a:extLst>
                    <a:ext uri="{FF2B5EF4-FFF2-40B4-BE49-F238E27FC236}">
                      <a16:creationId xmlns:a16="http://schemas.microsoft.com/office/drawing/2014/main" id="{D33114B3-98E7-CC46-96B0-AE61DFB4AB7B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45" name="Grafik 3753">
                <a:extLst>
                  <a:ext uri="{FF2B5EF4-FFF2-40B4-BE49-F238E27FC236}">
                    <a16:creationId xmlns:a16="http://schemas.microsoft.com/office/drawing/2014/main" id="{E6428E35-3C4E-455D-241B-D33883E10B05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657" name="Grafik 3753">
                  <a:extLst>
                    <a:ext uri="{FF2B5EF4-FFF2-40B4-BE49-F238E27FC236}">
                      <a16:creationId xmlns:a16="http://schemas.microsoft.com/office/drawing/2014/main" id="{10FD0FD1-BBE1-554E-AB2A-36619AAF4325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1" name="Grafik 3753">
                  <a:extLst>
                    <a:ext uri="{FF2B5EF4-FFF2-40B4-BE49-F238E27FC236}">
                      <a16:creationId xmlns:a16="http://schemas.microsoft.com/office/drawing/2014/main" id="{9D603C83-2795-4736-A42C-73DD1B0789D1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4" name="Grafik 3753">
                  <a:extLst>
                    <a:ext uri="{FF2B5EF4-FFF2-40B4-BE49-F238E27FC236}">
                      <a16:creationId xmlns:a16="http://schemas.microsoft.com/office/drawing/2014/main" id="{A1C38FED-CDBF-5EED-7246-262100BBAF59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47" name="Grafik 3753">
                <a:extLst>
                  <a:ext uri="{FF2B5EF4-FFF2-40B4-BE49-F238E27FC236}">
                    <a16:creationId xmlns:a16="http://schemas.microsoft.com/office/drawing/2014/main" id="{8E3B9C95-5ADA-FB5B-347D-9B906F5E7219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654" name="Grafik 3753">
                  <a:extLst>
                    <a:ext uri="{FF2B5EF4-FFF2-40B4-BE49-F238E27FC236}">
                      <a16:creationId xmlns:a16="http://schemas.microsoft.com/office/drawing/2014/main" id="{52DC14A7-8F6D-091D-AB45-CDEE31D36855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5" name="Grafik 3753">
                  <a:extLst>
                    <a:ext uri="{FF2B5EF4-FFF2-40B4-BE49-F238E27FC236}">
                      <a16:creationId xmlns:a16="http://schemas.microsoft.com/office/drawing/2014/main" id="{D192D827-0E63-B8FA-3823-A46682C48C2C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6" name="Grafik 3753">
                  <a:extLst>
                    <a:ext uri="{FF2B5EF4-FFF2-40B4-BE49-F238E27FC236}">
                      <a16:creationId xmlns:a16="http://schemas.microsoft.com/office/drawing/2014/main" id="{A9A9B86D-C486-4EBB-C8C2-0D2E7746DD9B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48" name="Grafik 3753">
                <a:extLst>
                  <a:ext uri="{FF2B5EF4-FFF2-40B4-BE49-F238E27FC236}">
                    <a16:creationId xmlns:a16="http://schemas.microsoft.com/office/drawing/2014/main" id="{978A0C9E-0B15-C5E4-B82F-C4003F8FBE38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649" name="Grafik 3753">
                  <a:extLst>
                    <a:ext uri="{FF2B5EF4-FFF2-40B4-BE49-F238E27FC236}">
                      <a16:creationId xmlns:a16="http://schemas.microsoft.com/office/drawing/2014/main" id="{479ED2E4-15B1-6BF4-207A-50C6654537A8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0" name="Grafik 3753">
                  <a:extLst>
                    <a:ext uri="{FF2B5EF4-FFF2-40B4-BE49-F238E27FC236}">
                      <a16:creationId xmlns:a16="http://schemas.microsoft.com/office/drawing/2014/main" id="{0DC1044B-8ECF-521E-A059-2FB720F2FD80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3" name="Grafik 3753">
                  <a:extLst>
                    <a:ext uri="{FF2B5EF4-FFF2-40B4-BE49-F238E27FC236}">
                      <a16:creationId xmlns:a16="http://schemas.microsoft.com/office/drawing/2014/main" id="{0E0996B9-9451-76E1-30BF-4D932A210112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640" name="Grafik 3753">
              <a:extLst>
                <a:ext uri="{FF2B5EF4-FFF2-40B4-BE49-F238E27FC236}">
                  <a16:creationId xmlns:a16="http://schemas.microsoft.com/office/drawing/2014/main" id="{9F7ECB8B-A020-C71E-D678-DED67F7CC092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41" name="Grafik 3753">
              <a:extLst>
                <a:ext uri="{FF2B5EF4-FFF2-40B4-BE49-F238E27FC236}">
                  <a16:creationId xmlns:a16="http://schemas.microsoft.com/office/drawing/2014/main" id="{E8B04E10-0722-9BAC-EA17-6F35EE4ED267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pic>
        <p:nvPicPr>
          <p:cNvPr id="192" name="Graphic 191" descr="Computer outline">
            <a:extLst>
              <a:ext uri="{FF2B5EF4-FFF2-40B4-BE49-F238E27FC236}">
                <a16:creationId xmlns:a16="http://schemas.microsoft.com/office/drawing/2014/main" id="{96EB4240-55CD-4292-663A-F18138DDF6B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8212" y="2163196"/>
            <a:ext cx="684020" cy="684020"/>
          </a:xfrm>
          <a:prstGeom prst="rect">
            <a:avLst/>
          </a:prstGeom>
        </p:spPr>
      </p:pic>
      <p:pic>
        <p:nvPicPr>
          <p:cNvPr id="193" name="Graphic 192" descr="Computer outline">
            <a:extLst>
              <a:ext uri="{FF2B5EF4-FFF2-40B4-BE49-F238E27FC236}">
                <a16:creationId xmlns:a16="http://schemas.microsoft.com/office/drawing/2014/main" id="{80DA709B-B7E1-8347-B0AB-00A47A96DE8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50608" y="3407098"/>
            <a:ext cx="684020" cy="684020"/>
          </a:xfrm>
          <a:prstGeom prst="rect">
            <a:avLst/>
          </a:prstGeom>
        </p:spPr>
      </p:pic>
      <p:grpSp>
        <p:nvGrpSpPr>
          <p:cNvPr id="194" name="Grafik 3753">
            <a:extLst>
              <a:ext uri="{FF2B5EF4-FFF2-40B4-BE49-F238E27FC236}">
                <a16:creationId xmlns:a16="http://schemas.microsoft.com/office/drawing/2014/main" id="{AE973857-BB2F-BA7F-6AE9-CFC524C4C593}"/>
              </a:ext>
            </a:extLst>
          </p:cNvPr>
          <p:cNvGrpSpPr/>
          <p:nvPr/>
        </p:nvGrpSpPr>
        <p:grpSpPr bwMode="gray">
          <a:xfrm>
            <a:off x="8876113" y="2297750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95" name="Grafik 3753">
              <a:extLst>
                <a:ext uri="{FF2B5EF4-FFF2-40B4-BE49-F238E27FC236}">
                  <a16:creationId xmlns:a16="http://schemas.microsoft.com/office/drawing/2014/main" id="{7C9027C8-AA83-F653-3805-61F00AA73D85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198" name="Grafik 3753">
                <a:extLst>
                  <a:ext uri="{FF2B5EF4-FFF2-40B4-BE49-F238E27FC236}">
                    <a16:creationId xmlns:a16="http://schemas.microsoft.com/office/drawing/2014/main" id="{08F69EB4-7D18-8B5C-4246-ACDCEB4FFE2C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212" name="Grafik 3753">
                  <a:extLst>
                    <a:ext uri="{FF2B5EF4-FFF2-40B4-BE49-F238E27FC236}">
                      <a16:creationId xmlns:a16="http://schemas.microsoft.com/office/drawing/2014/main" id="{B71C2917-4F1C-8D2C-A249-B59C4B70947C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14" name="Grafik 3753">
                  <a:extLst>
                    <a:ext uri="{FF2B5EF4-FFF2-40B4-BE49-F238E27FC236}">
                      <a16:creationId xmlns:a16="http://schemas.microsoft.com/office/drawing/2014/main" id="{B6FA3380-0BFB-685C-7E61-93DEEC450DAA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15" name="Grafik 3753">
                  <a:extLst>
                    <a:ext uri="{FF2B5EF4-FFF2-40B4-BE49-F238E27FC236}">
                      <a16:creationId xmlns:a16="http://schemas.microsoft.com/office/drawing/2014/main" id="{7EBE21BA-0A7E-D42F-0574-55585B26421F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99" name="Grafik 3753">
                <a:extLst>
                  <a:ext uri="{FF2B5EF4-FFF2-40B4-BE49-F238E27FC236}">
                    <a16:creationId xmlns:a16="http://schemas.microsoft.com/office/drawing/2014/main" id="{C3B0579C-96CD-57B6-EFC9-034898F88F9A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208" name="Grafik 3753">
                  <a:extLst>
                    <a:ext uri="{FF2B5EF4-FFF2-40B4-BE49-F238E27FC236}">
                      <a16:creationId xmlns:a16="http://schemas.microsoft.com/office/drawing/2014/main" id="{1EC01FEB-B32C-69D9-7DF4-6D159257BEC6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9" name="Grafik 3753">
                  <a:extLst>
                    <a:ext uri="{FF2B5EF4-FFF2-40B4-BE49-F238E27FC236}">
                      <a16:creationId xmlns:a16="http://schemas.microsoft.com/office/drawing/2014/main" id="{7A24405C-30BA-2214-6435-6D591D516600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11" name="Grafik 3753">
                  <a:extLst>
                    <a:ext uri="{FF2B5EF4-FFF2-40B4-BE49-F238E27FC236}">
                      <a16:creationId xmlns:a16="http://schemas.microsoft.com/office/drawing/2014/main" id="{8ADD5381-2CC9-D050-9270-875FB66D0270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00" name="Grafik 3753">
                <a:extLst>
                  <a:ext uri="{FF2B5EF4-FFF2-40B4-BE49-F238E27FC236}">
                    <a16:creationId xmlns:a16="http://schemas.microsoft.com/office/drawing/2014/main" id="{8B93BB8B-0FEB-F0C8-B23A-210B1FB6358B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205" name="Grafik 3753">
                  <a:extLst>
                    <a:ext uri="{FF2B5EF4-FFF2-40B4-BE49-F238E27FC236}">
                      <a16:creationId xmlns:a16="http://schemas.microsoft.com/office/drawing/2014/main" id="{5224CE5D-E2B1-6F09-E48B-9F514576E3FF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6" name="Grafik 3753">
                  <a:extLst>
                    <a:ext uri="{FF2B5EF4-FFF2-40B4-BE49-F238E27FC236}">
                      <a16:creationId xmlns:a16="http://schemas.microsoft.com/office/drawing/2014/main" id="{FFCD869B-E1C6-D926-8EF9-8757578084AB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7" name="Grafik 3753">
                  <a:extLst>
                    <a:ext uri="{FF2B5EF4-FFF2-40B4-BE49-F238E27FC236}">
                      <a16:creationId xmlns:a16="http://schemas.microsoft.com/office/drawing/2014/main" id="{709C9085-6D66-B639-304E-AC1192B2C7AC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01" name="Grafik 3753">
                <a:extLst>
                  <a:ext uri="{FF2B5EF4-FFF2-40B4-BE49-F238E27FC236}">
                    <a16:creationId xmlns:a16="http://schemas.microsoft.com/office/drawing/2014/main" id="{35844EE3-D63A-B1A4-2E17-22181E10B24B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202" name="Grafik 3753">
                  <a:extLst>
                    <a:ext uri="{FF2B5EF4-FFF2-40B4-BE49-F238E27FC236}">
                      <a16:creationId xmlns:a16="http://schemas.microsoft.com/office/drawing/2014/main" id="{23FB1CE4-6D85-B840-6AAD-4B857A96CBFF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3" name="Grafik 3753">
                  <a:extLst>
                    <a:ext uri="{FF2B5EF4-FFF2-40B4-BE49-F238E27FC236}">
                      <a16:creationId xmlns:a16="http://schemas.microsoft.com/office/drawing/2014/main" id="{CE1725FF-AF70-02A0-D801-52C6FE7120DC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4" name="Grafik 3753">
                  <a:extLst>
                    <a:ext uri="{FF2B5EF4-FFF2-40B4-BE49-F238E27FC236}">
                      <a16:creationId xmlns:a16="http://schemas.microsoft.com/office/drawing/2014/main" id="{E2D404E5-4FAD-46BC-11CB-B74B99F47EAE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196" name="Grafik 3753">
              <a:extLst>
                <a:ext uri="{FF2B5EF4-FFF2-40B4-BE49-F238E27FC236}">
                  <a16:creationId xmlns:a16="http://schemas.microsoft.com/office/drawing/2014/main" id="{13E0804A-93AA-C874-3569-433177D54F34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7" name="Grafik 3753">
              <a:extLst>
                <a:ext uri="{FF2B5EF4-FFF2-40B4-BE49-F238E27FC236}">
                  <a16:creationId xmlns:a16="http://schemas.microsoft.com/office/drawing/2014/main" id="{03AD73CD-9148-0CBB-1578-2BA3E11B2B55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17" name="Grafik 3753">
            <a:extLst>
              <a:ext uri="{FF2B5EF4-FFF2-40B4-BE49-F238E27FC236}">
                <a16:creationId xmlns:a16="http://schemas.microsoft.com/office/drawing/2014/main" id="{75B8C10D-658A-0F72-AB6A-6F1BA59314E3}"/>
              </a:ext>
            </a:extLst>
          </p:cNvPr>
          <p:cNvGrpSpPr/>
          <p:nvPr/>
        </p:nvGrpSpPr>
        <p:grpSpPr bwMode="gray">
          <a:xfrm>
            <a:off x="8872147" y="3536512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18" name="Grafik 3753">
              <a:extLst>
                <a:ext uri="{FF2B5EF4-FFF2-40B4-BE49-F238E27FC236}">
                  <a16:creationId xmlns:a16="http://schemas.microsoft.com/office/drawing/2014/main" id="{F04C4DF6-A3DF-6698-3E42-C0CEEF074C55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224" name="Grafik 3753">
                <a:extLst>
                  <a:ext uri="{FF2B5EF4-FFF2-40B4-BE49-F238E27FC236}">
                    <a16:creationId xmlns:a16="http://schemas.microsoft.com/office/drawing/2014/main" id="{F60E6F4F-76F5-66F1-3C1E-F99EA208EFC8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242" name="Grafik 3753">
                  <a:extLst>
                    <a:ext uri="{FF2B5EF4-FFF2-40B4-BE49-F238E27FC236}">
                      <a16:creationId xmlns:a16="http://schemas.microsoft.com/office/drawing/2014/main" id="{3B23642E-24C4-F656-AD6F-0254124BE5E5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43" name="Grafik 3753">
                  <a:extLst>
                    <a:ext uri="{FF2B5EF4-FFF2-40B4-BE49-F238E27FC236}">
                      <a16:creationId xmlns:a16="http://schemas.microsoft.com/office/drawing/2014/main" id="{88634509-0C96-634D-E8E0-C578D8B43B39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44" name="Grafik 3753">
                  <a:extLst>
                    <a:ext uri="{FF2B5EF4-FFF2-40B4-BE49-F238E27FC236}">
                      <a16:creationId xmlns:a16="http://schemas.microsoft.com/office/drawing/2014/main" id="{B9A55059-1FD1-E86B-C92F-3AFE2BD1C04F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25" name="Grafik 3753">
                <a:extLst>
                  <a:ext uri="{FF2B5EF4-FFF2-40B4-BE49-F238E27FC236}">
                    <a16:creationId xmlns:a16="http://schemas.microsoft.com/office/drawing/2014/main" id="{AAABD00C-6925-D811-5AF7-BFF8A2DE082C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239" name="Grafik 3753">
                  <a:extLst>
                    <a:ext uri="{FF2B5EF4-FFF2-40B4-BE49-F238E27FC236}">
                      <a16:creationId xmlns:a16="http://schemas.microsoft.com/office/drawing/2014/main" id="{2F64D9D5-D660-4B88-D985-F7DF608AB2E0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40" name="Grafik 3753">
                  <a:extLst>
                    <a:ext uri="{FF2B5EF4-FFF2-40B4-BE49-F238E27FC236}">
                      <a16:creationId xmlns:a16="http://schemas.microsoft.com/office/drawing/2014/main" id="{5076EF09-A5C4-A100-5FD3-4166EC1158D7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41" name="Grafik 3753">
                  <a:extLst>
                    <a:ext uri="{FF2B5EF4-FFF2-40B4-BE49-F238E27FC236}">
                      <a16:creationId xmlns:a16="http://schemas.microsoft.com/office/drawing/2014/main" id="{76CB0B77-EA35-5143-558C-615CB25ED2E8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26" name="Grafik 3753">
                <a:extLst>
                  <a:ext uri="{FF2B5EF4-FFF2-40B4-BE49-F238E27FC236}">
                    <a16:creationId xmlns:a16="http://schemas.microsoft.com/office/drawing/2014/main" id="{43128D69-0D5C-0A44-A4DD-4DB52C9D2083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236" name="Grafik 3753">
                  <a:extLst>
                    <a:ext uri="{FF2B5EF4-FFF2-40B4-BE49-F238E27FC236}">
                      <a16:creationId xmlns:a16="http://schemas.microsoft.com/office/drawing/2014/main" id="{0B678025-C6DD-2C1B-5DA0-AB384E2E26B6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7" name="Grafik 3753">
                  <a:extLst>
                    <a:ext uri="{FF2B5EF4-FFF2-40B4-BE49-F238E27FC236}">
                      <a16:creationId xmlns:a16="http://schemas.microsoft.com/office/drawing/2014/main" id="{4C5BF118-93DE-31F8-7051-E48056FEFE03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8" name="Grafik 3753">
                  <a:extLst>
                    <a:ext uri="{FF2B5EF4-FFF2-40B4-BE49-F238E27FC236}">
                      <a16:creationId xmlns:a16="http://schemas.microsoft.com/office/drawing/2014/main" id="{BF4CC27F-F68E-B984-1264-BCFDC3F90A65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32" name="Grafik 3753">
                <a:extLst>
                  <a:ext uri="{FF2B5EF4-FFF2-40B4-BE49-F238E27FC236}">
                    <a16:creationId xmlns:a16="http://schemas.microsoft.com/office/drawing/2014/main" id="{34D20997-B2BE-C50A-E33F-57871D8A0A28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233" name="Grafik 3753">
                  <a:extLst>
                    <a:ext uri="{FF2B5EF4-FFF2-40B4-BE49-F238E27FC236}">
                      <a16:creationId xmlns:a16="http://schemas.microsoft.com/office/drawing/2014/main" id="{EFA8D4E3-A27A-44DD-0A15-ECE3992519C0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4" name="Grafik 3753">
                  <a:extLst>
                    <a:ext uri="{FF2B5EF4-FFF2-40B4-BE49-F238E27FC236}">
                      <a16:creationId xmlns:a16="http://schemas.microsoft.com/office/drawing/2014/main" id="{470892A2-DBE0-7723-EF29-8AD5A8639171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5" name="Grafik 3753">
                  <a:extLst>
                    <a:ext uri="{FF2B5EF4-FFF2-40B4-BE49-F238E27FC236}">
                      <a16:creationId xmlns:a16="http://schemas.microsoft.com/office/drawing/2014/main" id="{C45D2FFD-EFBE-6C59-0131-5AB00166FF08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220" name="Grafik 3753">
              <a:extLst>
                <a:ext uri="{FF2B5EF4-FFF2-40B4-BE49-F238E27FC236}">
                  <a16:creationId xmlns:a16="http://schemas.microsoft.com/office/drawing/2014/main" id="{783661FE-B7F3-EE62-EE2E-B300B97CD78D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3" name="Grafik 3753">
              <a:extLst>
                <a:ext uri="{FF2B5EF4-FFF2-40B4-BE49-F238E27FC236}">
                  <a16:creationId xmlns:a16="http://schemas.microsoft.com/office/drawing/2014/main" id="{C15EE1F0-8A7F-4B48-5933-0327FFC036F7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45" name="Grafik 3753">
            <a:extLst>
              <a:ext uri="{FF2B5EF4-FFF2-40B4-BE49-F238E27FC236}">
                <a16:creationId xmlns:a16="http://schemas.microsoft.com/office/drawing/2014/main" id="{BCE4DBA6-EA8F-0045-21BF-35DE7D88FC33}"/>
              </a:ext>
            </a:extLst>
          </p:cNvPr>
          <p:cNvGrpSpPr/>
          <p:nvPr/>
        </p:nvGrpSpPr>
        <p:grpSpPr bwMode="gray">
          <a:xfrm>
            <a:off x="5319326" y="4743099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46" name="Grafik 3753">
              <a:extLst>
                <a:ext uri="{FF2B5EF4-FFF2-40B4-BE49-F238E27FC236}">
                  <a16:creationId xmlns:a16="http://schemas.microsoft.com/office/drawing/2014/main" id="{0F58555E-D110-E65A-BF86-6A4E78B92C46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249" name="Grafik 3753">
                <a:extLst>
                  <a:ext uri="{FF2B5EF4-FFF2-40B4-BE49-F238E27FC236}">
                    <a16:creationId xmlns:a16="http://schemas.microsoft.com/office/drawing/2014/main" id="{9FE99879-39BA-66DC-339B-7EE06B5A7740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731" name="Grafik 3753">
                  <a:extLst>
                    <a:ext uri="{FF2B5EF4-FFF2-40B4-BE49-F238E27FC236}">
                      <a16:creationId xmlns:a16="http://schemas.microsoft.com/office/drawing/2014/main" id="{9E425636-5DD0-1044-A7F0-C2F096A5516D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32" name="Grafik 3753">
                  <a:extLst>
                    <a:ext uri="{FF2B5EF4-FFF2-40B4-BE49-F238E27FC236}">
                      <a16:creationId xmlns:a16="http://schemas.microsoft.com/office/drawing/2014/main" id="{A143B005-79EA-CF87-6794-C94268BF747C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33" name="Grafik 3753">
                  <a:extLst>
                    <a:ext uri="{FF2B5EF4-FFF2-40B4-BE49-F238E27FC236}">
                      <a16:creationId xmlns:a16="http://schemas.microsoft.com/office/drawing/2014/main" id="{14ECFB87-C420-2856-296D-010DCC9D950D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50" name="Grafik 3753">
                <a:extLst>
                  <a:ext uri="{FF2B5EF4-FFF2-40B4-BE49-F238E27FC236}">
                    <a16:creationId xmlns:a16="http://schemas.microsoft.com/office/drawing/2014/main" id="{2B7D4F62-6D46-CD8C-85A6-082A5018ACC7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728" name="Grafik 3753">
                  <a:extLst>
                    <a:ext uri="{FF2B5EF4-FFF2-40B4-BE49-F238E27FC236}">
                      <a16:creationId xmlns:a16="http://schemas.microsoft.com/office/drawing/2014/main" id="{338FF2B0-88EC-2D72-8636-B1C6F101CDED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29" name="Grafik 3753">
                  <a:extLst>
                    <a:ext uri="{FF2B5EF4-FFF2-40B4-BE49-F238E27FC236}">
                      <a16:creationId xmlns:a16="http://schemas.microsoft.com/office/drawing/2014/main" id="{4F620777-7130-5187-20AF-12703CCE7DF1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30" name="Grafik 3753">
                  <a:extLst>
                    <a:ext uri="{FF2B5EF4-FFF2-40B4-BE49-F238E27FC236}">
                      <a16:creationId xmlns:a16="http://schemas.microsoft.com/office/drawing/2014/main" id="{9E619E4F-195A-36EB-BB9D-37928106653B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51" name="Grafik 3753">
                <a:extLst>
                  <a:ext uri="{FF2B5EF4-FFF2-40B4-BE49-F238E27FC236}">
                    <a16:creationId xmlns:a16="http://schemas.microsoft.com/office/drawing/2014/main" id="{FE0AF5B2-3364-7900-07A1-EE58FCB9663A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725" name="Grafik 3753">
                  <a:extLst>
                    <a:ext uri="{FF2B5EF4-FFF2-40B4-BE49-F238E27FC236}">
                      <a16:creationId xmlns:a16="http://schemas.microsoft.com/office/drawing/2014/main" id="{44EE78A5-F5C0-E5D1-9EED-94D16F1E0AD6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26" name="Grafik 3753">
                  <a:extLst>
                    <a:ext uri="{FF2B5EF4-FFF2-40B4-BE49-F238E27FC236}">
                      <a16:creationId xmlns:a16="http://schemas.microsoft.com/office/drawing/2014/main" id="{C844D2C0-F161-B42B-A6E1-A445D839D896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27" name="Grafik 3753">
                  <a:extLst>
                    <a:ext uri="{FF2B5EF4-FFF2-40B4-BE49-F238E27FC236}">
                      <a16:creationId xmlns:a16="http://schemas.microsoft.com/office/drawing/2014/main" id="{E41BF380-B2A5-46E2-F53B-5E55A1C13015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52" name="Grafik 3753">
                <a:extLst>
                  <a:ext uri="{FF2B5EF4-FFF2-40B4-BE49-F238E27FC236}">
                    <a16:creationId xmlns:a16="http://schemas.microsoft.com/office/drawing/2014/main" id="{C81FD00B-C836-8FF4-8FAD-908050039421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253" name="Grafik 3753">
                  <a:extLst>
                    <a:ext uri="{FF2B5EF4-FFF2-40B4-BE49-F238E27FC236}">
                      <a16:creationId xmlns:a16="http://schemas.microsoft.com/office/drawing/2014/main" id="{2B7DEE0D-C291-B5C1-B2EE-3C858EFCA591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54" name="Grafik 3753">
                  <a:extLst>
                    <a:ext uri="{FF2B5EF4-FFF2-40B4-BE49-F238E27FC236}">
                      <a16:creationId xmlns:a16="http://schemas.microsoft.com/office/drawing/2014/main" id="{8C84BCE5-EFD9-62F2-F105-6311CF2475F1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55" name="Grafik 3753">
                  <a:extLst>
                    <a:ext uri="{FF2B5EF4-FFF2-40B4-BE49-F238E27FC236}">
                      <a16:creationId xmlns:a16="http://schemas.microsoft.com/office/drawing/2014/main" id="{889C479A-487A-5C58-3093-F4DD30D72B2E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247" name="Grafik 3753">
              <a:extLst>
                <a:ext uri="{FF2B5EF4-FFF2-40B4-BE49-F238E27FC236}">
                  <a16:creationId xmlns:a16="http://schemas.microsoft.com/office/drawing/2014/main" id="{FD06FC97-D180-A01B-A424-53C2CEB892BA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8" name="Grafik 3753">
              <a:extLst>
                <a:ext uri="{FF2B5EF4-FFF2-40B4-BE49-F238E27FC236}">
                  <a16:creationId xmlns:a16="http://schemas.microsoft.com/office/drawing/2014/main" id="{84EB5970-BE0A-D81C-9E7F-5299FC2D82ED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734" name="Grafik 3753">
            <a:extLst>
              <a:ext uri="{FF2B5EF4-FFF2-40B4-BE49-F238E27FC236}">
                <a16:creationId xmlns:a16="http://schemas.microsoft.com/office/drawing/2014/main" id="{AC1CD3D0-CFFE-B24A-CADD-0546E8D14EA4}"/>
              </a:ext>
            </a:extLst>
          </p:cNvPr>
          <p:cNvGrpSpPr/>
          <p:nvPr/>
        </p:nvGrpSpPr>
        <p:grpSpPr bwMode="gray">
          <a:xfrm>
            <a:off x="4490322" y="1062128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735" name="Grafik 3753">
              <a:extLst>
                <a:ext uri="{FF2B5EF4-FFF2-40B4-BE49-F238E27FC236}">
                  <a16:creationId xmlns:a16="http://schemas.microsoft.com/office/drawing/2014/main" id="{FBD67241-9E3F-BCFE-444E-A5D25B8F2E1E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738" name="Grafik 3753">
                <a:extLst>
                  <a:ext uri="{FF2B5EF4-FFF2-40B4-BE49-F238E27FC236}">
                    <a16:creationId xmlns:a16="http://schemas.microsoft.com/office/drawing/2014/main" id="{8EF203A0-4949-6CA7-6B7B-7E1B3D462F9A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751" name="Grafik 3753">
                  <a:extLst>
                    <a:ext uri="{FF2B5EF4-FFF2-40B4-BE49-F238E27FC236}">
                      <a16:creationId xmlns:a16="http://schemas.microsoft.com/office/drawing/2014/main" id="{8DDC96FA-3472-FC71-B9F4-B0F5821BCC21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52" name="Grafik 3753">
                  <a:extLst>
                    <a:ext uri="{FF2B5EF4-FFF2-40B4-BE49-F238E27FC236}">
                      <a16:creationId xmlns:a16="http://schemas.microsoft.com/office/drawing/2014/main" id="{71A78B80-17A6-14AA-F33A-31B19E8EA638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53" name="Grafik 3753">
                  <a:extLst>
                    <a:ext uri="{FF2B5EF4-FFF2-40B4-BE49-F238E27FC236}">
                      <a16:creationId xmlns:a16="http://schemas.microsoft.com/office/drawing/2014/main" id="{55BDD7DB-7BBA-B8FB-DCAB-18FC51F018E3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739" name="Grafik 3753">
                <a:extLst>
                  <a:ext uri="{FF2B5EF4-FFF2-40B4-BE49-F238E27FC236}">
                    <a16:creationId xmlns:a16="http://schemas.microsoft.com/office/drawing/2014/main" id="{C9B84ED7-7C84-9716-DC80-C275471768A4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748" name="Grafik 3753">
                  <a:extLst>
                    <a:ext uri="{FF2B5EF4-FFF2-40B4-BE49-F238E27FC236}">
                      <a16:creationId xmlns:a16="http://schemas.microsoft.com/office/drawing/2014/main" id="{9FDC73AC-26E8-2FB9-1C75-9A9F239D15FA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49" name="Grafik 3753">
                  <a:extLst>
                    <a:ext uri="{FF2B5EF4-FFF2-40B4-BE49-F238E27FC236}">
                      <a16:creationId xmlns:a16="http://schemas.microsoft.com/office/drawing/2014/main" id="{2A8B6704-2C68-5F54-3131-D285C7B30D6C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50" name="Grafik 3753">
                  <a:extLst>
                    <a:ext uri="{FF2B5EF4-FFF2-40B4-BE49-F238E27FC236}">
                      <a16:creationId xmlns:a16="http://schemas.microsoft.com/office/drawing/2014/main" id="{48A51671-8F4A-B6AD-2518-A05445074B7C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740" name="Grafik 3753">
                <a:extLst>
                  <a:ext uri="{FF2B5EF4-FFF2-40B4-BE49-F238E27FC236}">
                    <a16:creationId xmlns:a16="http://schemas.microsoft.com/office/drawing/2014/main" id="{924411F7-4BED-3CF7-26A3-3E8B980B8F0D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745" name="Grafik 3753">
                  <a:extLst>
                    <a:ext uri="{FF2B5EF4-FFF2-40B4-BE49-F238E27FC236}">
                      <a16:creationId xmlns:a16="http://schemas.microsoft.com/office/drawing/2014/main" id="{4D80A688-7E05-98EF-2B0F-D5763C85F30E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46" name="Grafik 3753">
                  <a:extLst>
                    <a:ext uri="{FF2B5EF4-FFF2-40B4-BE49-F238E27FC236}">
                      <a16:creationId xmlns:a16="http://schemas.microsoft.com/office/drawing/2014/main" id="{F29CE53D-C137-CA05-8904-78A897D19E58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47" name="Grafik 3753">
                  <a:extLst>
                    <a:ext uri="{FF2B5EF4-FFF2-40B4-BE49-F238E27FC236}">
                      <a16:creationId xmlns:a16="http://schemas.microsoft.com/office/drawing/2014/main" id="{F9551D7A-0481-EB87-0FD3-0C32CCDADB04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741" name="Grafik 3753">
                <a:extLst>
                  <a:ext uri="{FF2B5EF4-FFF2-40B4-BE49-F238E27FC236}">
                    <a16:creationId xmlns:a16="http://schemas.microsoft.com/office/drawing/2014/main" id="{E110E404-7F98-1D73-4E09-DE88EEC3A960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742" name="Grafik 3753">
                  <a:extLst>
                    <a:ext uri="{FF2B5EF4-FFF2-40B4-BE49-F238E27FC236}">
                      <a16:creationId xmlns:a16="http://schemas.microsoft.com/office/drawing/2014/main" id="{12393B93-AB0D-56F9-2941-E36636E95691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43" name="Grafik 3753">
                  <a:extLst>
                    <a:ext uri="{FF2B5EF4-FFF2-40B4-BE49-F238E27FC236}">
                      <a16:creationId xmlns:a16="http://schemas.microsoft.com/office/drawing/2014/main" id="{69241819-7494-4809-7F91-4FB17AF8C6A0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44" name="Grafik 3753">
                  <a:extLst>
                    <a:ext uri="{FF2B5EF4-FFF2-40B4-BE49-F238E27FC236}">
                      <a16:creationId xmlns:a16="http://schemas.microsoft.com/office/drawing/2014/main" id="{C74FED4F-6715-49A5-4D5F-CE4B2786D550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736" name="Grafik 3753">
              <a:extLst>
                <a:ext uri="{FF2B5EF4-FFF2-40B4-BE49-F238E27FC236}">
                  <a16:creationId xmlns:a16="http://schemas.microsoft.com/office/drawing/2014/main" id="{394682F7-DBEE-32BD-6252-C189EC057835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37" name="Grafik 3753">
              <a:extLst>
                <a:ext uri="{FF2B5EF4-FFF2-40B4-BE49-F238E27FC236}">
                  <a16:creationId xmlns:a16="http://schemas.microsoft.com/office/drawing/2014/main" id="{F3BADA80-E256-895A-A0C0-A99D7D6D6BAC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754" name="Grafik 3753">
            <a:extLst>
              <a:ext uri="{FF2B5EF4-FFF2-40B4-BE49-F238E27FC236}">
                <a16:creationId xmlns:a16="http://schemas.microsoft.com/office/drawing/2014/main" id="{135E3E30-B56C-8927-C8EB-2270BD13039D}"/>
              </a:ext>
            </a:extLst>
          </p:cNvPr>
          <p:cNvGrpSpPr/>
          <p:nvPr/>
        </p:nvGrpSpPr>
        <p:grpSpPr bwMode="gray">
          <a:xfrm>
            <a:off x="7250974" y="1067465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755" name="Grafik 3753">
              <a:extLst>
                <a:ext uri="{FF2B5EF4-FFF2-40B4-BE49-F238E27FC236}">
                  <a16:creationId xmlns:a16="http://schemas.microsoft.com/office/drawing/2014/main" id="{C95957B2-B4D7-AF70-CFCE-A65CDDECE207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758" name="Grafik 3753">
                <a:extLst>
                  <a:ext uri="{FF2B5EF4-FFF2-40B4-BE49-F238E27FC236}">
                    <a16:creationId xmlns:a16="http://schemas.microsoft.com/office/drawing/2014/main" id="{6F240029-6C57-40DC-2C52-1672F74DDE5C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259" name="Grafik 3753">
                  <a:extLst>
                    <a:ext uri="{FF2B5EF4-FFF2-40B4-BE49-F238E27FC236}">
                      <a16:creationId xmlns:a16="http://schemas.microsoft.com/office/drawing/2014/main" id="{794A7CCB-5B35-9F26-5553-34375BA542FC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0" name="Grafik 3753">
                  <a:extLst>
                    <a:ext uri="{FF2B5EF4-FFF2-40B4-BE49-F238E27FC236}">
                      <a16:creationId xmlns:a16="http://schemas.microsoft.com/office/drawing/2014/main" id="{2532B9AB-132E-71E3-7670-147D85F8F50C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1" name="Grafik 3753">
                  <a:extLst>
                    <a:ext uri="{FF2B5EF4-FFF2-40B4-BE49-F238E27FC236}">
                      <a16:creationId xmlns:a16="http://schemas.microsoft.com/office/drawing/2014/main" id="{2BF33DEA-65CC-B83E-70F7-FB92DDF328A0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759" name="Grafik 3753">
                <a:extLst>
                  <a:ext uri="{FF2B5EF4-FFF2-40B4-BE49-F238E27FC236}">
                    <a16:creationId xmlns:a16="http://schemas.microsoft.com/office/drawing/2014/main" id="{229C06FD-FA84-A5D3-5D9D-97D73EBEC299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256" name="Grafik 3753">
                  <a:extLst>
                    <a:ext uri="{FF2B5EF4-FFF2-40B4-BE49-F238E27FC236}">
                      <a16:creationId xmlns:a16="http://schemas.microsoft.com/office/drawing/2014/main" id="{75841506-CE87-8FC4-CC0D-145D24115BB3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57" name="Grafik 3753">
                  <a:extLst>
                    <a:ext uri="{FF2B5EF4-FFF2-40B4-BE49-F238E27FC236}">
                      <a16:creationId xmlns:a16="http://schemas.microsoft.com/office/drawing/2014/main" id="{FA595FE0-C556-B2D5-AE77-401198E9DEE3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58" name="Grafik 3753">
                  <a:extLst>
                    <a:ext uri="{FF2B5EF4-FFF2-40B4-BE49-F238E27FC236}">
                      <a16:creationId xmlns:a16="http://schemas.microsoft.com/office/drawing/2014/main" id="{6EF4B0E3-2249-2FFD-E5D5-7BC369E25CDE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760" name="Grafik 3753">
                <a:extLst>
                  <a:ext uri="{FF2B5EF4-FFF2-40B4-BE49-F238E27FC236}">
                    <a16:creationId xmlns:a16="http://schemas.microsoft.com/office/drawing/2014/main" id="{D9287064-9D9D-1DDC-EAE6-E6061F1AAC21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765" name="Grafik 3753">
                  <a:extLst>
                    <a:ext uri="{FF2B5EF4-FFF2-40B4-BE49-F238E27FC236}">
                      <a16:creationId xmlns:a16="http://schemas.microsoft.com/office/drawing/2014/main" id="{B328BA9B-AACA-A377-65B6-A31FAADD80EB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66" name="Grafik 3753">
                  <a:extLst>
                    <a:ext uri="{FF2B5EF4-FFF2-40B4-BE49-F238E27FC236}">
                      <a16:creationId xmlns:a16="http://schemas.microsoft.com/office/drawing/2014/main" id="{94AE2599-567B-2068-BA29-5C2193335394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67" name="Grafik 3753">
                  <a:extLst>
                    <a:ext uri="{FF2B5EF4-FFF2-40B4-BE49-F238E27FC236}">
                      <a16:creationId xmlns:a16="http://schemas.microsoft.com/office/drawing/2014/main" id="{31FB2B15-F3CC-145B-0DD6-81F9FF9B10E8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761" name="Grafik 3753">
                <a:extLst>
                  <a:ext uri="{FF2B5EF4-FFF2-40B4-BE49-F238E27FC236}">
                    <a16:creationId xmlns:a16="http://schemas.microsoft.com/office/drawing/2014/main" id="{9932DCBA-F2E0-AF40-060F-14EBFACE536F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762" name="Grafik 3753">
                  <a:extLst>
                    <a:ext uri="{FF2B5EF4-FFF2-40B4-BE49-F238E27FC236}">
                      <a16:creationId xmlns:a16="http://schemas.microsoft.com/office/drawing/2014/main" id="{DA5E3B49-09D0-CFB8-32CE-079DAF27AE0B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63" name="Grafik 3753">
                  <a:extLst>
                    <a:ext uri="{FF2B5EF4-FFF2-40B4-BE49-F238E27FC236}">
                      <a16:creationId xmlns:a16="http://schemas.microsoft.com/office/drawing/2014/main" id="{FAB85D0D-2D1D-232E-E832-A4A170506610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64" name="Grafik 3753">
                  <a:extLst>
                    <a:ext uri="{FF2B5EF4-FFF2-40B4-BE49-F238E27FC236}">
                      <a16:creationId xmlns:a16="http://schemas.microsoft.com/office/drawing/2014/main" id="{D7EC2F2F-99D6-937A-1934-AEF524D8B7B1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756" name="Grafik 3753">
              <a:extLst>
                <a:ext uri="{FF2B5EF4-FFF2-40B4-BE49-F238E27FC236}">
                  <a16:creationId xmlns:a16="http://schemas.microsoft.com/office/drawing/2014/main" id="{EF5E8447-87B3-18D3-81D2-537BF0A917B3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57" name="Grafik 3753">
              <a:extLst>
                <a:ext uri="{FF2B5EF4-FFF2-40B4-BE49-F238E27FC236}">
                  <a16:creationId xmlns:a16="http://schemas.microsoft.com/office/drawing/2014/main" id="{6E3CD29A-7FF1-93BC-6C90-1FA97AAED06A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cxnSp>
        <p:nvCxnSpPr>
          <p:cNvPr id="268" name="Straight Connector 267">
            <a:extLst>
              <a:ext uri="{FF2B5EF4-FFF2-40B4-BE49-F238E27FC236}">
                <a16:creationId xmlns:a16="http://schemas.microsoft.com/office/drawing/2014/main" id="{3A87E43B-8BBC-0BD9-695D-D86499204075}"/>
              </a:ext>
            </a:extLst>
          </p:cNvPr>
          <p:cNvCxnSpPr>
            <a:cxnSpLocks/>
            <a:stCxn id="27" idx="3"/>
            <a:endCxn id="757" idx="6"/>
          </p:cNvCxnSpPr>
          <p:nvPr/>
        </p:nvCxnSpPr>
        <p:spPr>
          <a:xfrm flipV="1">
            <a:off x="6878756" y="1430620"/>
            <a:ext cx="559097" cy="86000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0" name="Straight Connector 279">
            <a:extLst>
              <a:ext uri="{FF2B5EF4-FFF2-40B4-BE49-F238E27FC236}">
                <a16:creationId xmlns:a16="http://schemas.microsoft.com/office/drawing/2014/main" id="{7A30411F-E672-C862-2A88-25B600E571D2}"/>
              </a:ext>
            </a:extLst>
          </p:cNvPr>
          <p:cNvCxnSpPr>
            <a:cxnSpLocks/>
            <a:stCxn id="665" idx="3"/>
          </p:cNvCxnSpPr>
          <p:nvPr/>
        </p:nvCxnSpPr>
        <p:spPr>
          <a:xfrm flipV="1">
            <a:off x="2333983" y="3736122"/>
            <a:ext cx="609559" cy="12986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8" name="Straight Connector 287">
            <a:extLst>
              <a:ext uri="{FF2B5EF4-FFF2-40B4-BE49-F238E27FC236}">
                <a16:creationId xmlns:a16="http://schemas.microsoft.com/office/drawing/2014/main" id="{8441306C-8C3F-AAC7-D304-24360A026266}"/>
              </a:ext>
            </a:extLst>
          </p:cNvPr>
          <p:cNvCxnSpPr>
            <a:cxnSpLocks/>
          </p:cNvCxnSpPr>
          <p:nvPr/>
        </p:nvCxnSpPr>
        <p:spPr>
          <a:xfrm flipV="1">
            <a:off x="2333983" y="2479461"/>
            <a:ext cx="609559" cy="12986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9" name="Straight Connector 288">
            <a:extLst>
              <a:ext uri="{FF2B5EF4-FFF2-40B4-BE49-F238E27FC236}">
                <a16:creationId xmlns:a16="http://schemas.microsoft.com/office/drawing/2014/main" id="{8EA479B2-497C-13D8-20B3-C687427F8E70}"/>
              </a:ext>
            </a:extLst>
          </p:cNvPr>
          <p:cNvCxnSpPr>
            <a:cxnSpLocks/>
          </p:cNvCxnSpPr>
          <p:nvPr/>
        </p:nvCxnSpPr>
        <p:spPr>
          <a:xfrm flipV="1">
            <a:off x="9246797" y="2457780"/>
            <a:ext cx="609559" cy="12986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0" name="Straight Connector 289">
            <a:extLst>
              <a:ext uri="{FF2B5EF4-FFF2-40B4-BE49-F238E27FC236}">
                <a16:creationId xmlns:a16="http://schemas.microsoft.com/office/drawing/2014/main" id="{70F3846C-9EC5-D94B-204A-92CCC4C984F4}"/>
              </a:ext>
            </a:extLst>
          </p:cNvPr>
          <p:cNvCxnSpPr>
            <a:cxnSpLocks/>
          </p:cNvCxnSpPr>
          <p:nvPr/>
        </p:nvCxnSpPr>
        <p:spPr>
          <a:xfrm flipV="1">
            <a:off x="9241049" y="3688590"/>
            <a:ext cx="609559" cy="12986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3" name="Grafik 23">
            <a:extLst>
              <a:ext uri="{FF2B5EF4-FFF2-40B4-BE49-F238E27FC236}">
                <a16:creationId xmlns:a16="http://schemas.microsoft.com/office/drawing/2014/main" id="{A482C12D-651A-9FE4-4689-1D9733494DA9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262077" y="4568422"/>
            <a:ext cx="374400" cy="464640"/>
            <a:chOff x="5895975" y="3176587"/>
            <a:chExt cx="403097" cy="500253"/>
          </a:xfrm>
          <a:solidFill>
            <a:schemeClr val="tx1"/>
          </a:solidFill>
        </p:grpSpPr>
        <p:sp>
          <p:nvSpPr>
            <p:cNvPr id="294" name="Grafik 23">
              <a:extLst>
                <a:ext uri="{FF2B5EF4-FFF2-40B4-BE49-F238E27FC236}">
                  <a16:creationId xmlns:a16="http://schemas.microsoft.com/office/drawing/2014/main" id="{D348C218-270D-1B98-6AE1-81FD7E8748FA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295" name="Grafik 23">
              <a:extLst>
                <a:ext uri="{FF2B5EF4-FFF2-40B4-BE49-F238E27FC236}">
                  <a16:creationId xmlns:a16="http://schemas.microsoft.com/office/drawing/2014/main" id="{546734F7-9F54-C00E-9199-C38B4EDA9CA5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296" name="Grafik 23">
              <a:extLst>
                <a:ext uri="{FF2B5EF4-FFF2-40B4-BE49-F238E27FC236}">
                  <a16:creationId xmlns:a16="http://schemas.microsoft.com/office/drawing/2014/main" id="{65130F65-5D17-B57F-484B-F0E2EB5EEA50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297" name="Grafik 23">
              <a:extLst>
                <a:ext uri="{FF2B5EF4-FFF2-40B4-BE49-F238E27FC236}">
                  <a16:creationId xmlns:a16="http://schemas.microsoft.com/office/drawing/2014/main" id="{A93A552C-8D75-B78A-86E5-BA7F89EF9894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298" name="Grafik 23">
              <a:extLst>
                <a:ext uri="{FF2B5EF4-FFF2-40B4-BE49-F238E27FC236}">
                  <a16:creationId xmlns:a16="http://schemas.microsoft.com/office/drawing/2014/main" id="{4B8F620D-8E2E-67B0-0414-B21E89F8D9E5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299" name="Grafik 23">
              <a:extLst>
                <a:ext uri="{FF2B5EF4-FFF2-40B4-BE49-F238E27FC236}">
                  <a16:creationId xmlns:a16="http://schemas.microsoft.com/office/drawing/2014/main" id="{7F009C94-7B37-9246-C0F1-5B48D8155A97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300" name="Grafik 23">
                <a:extLst>
                  <a:ext uri="{FF2B5EF4-FFF2-40B4-BE49-F238E27FC236}">
                    <a16:creationId xmlns:a16="http://schemas.microsoft.com/office/drawing/2014/main" id="{FDA177B7-EFE3-504A-D190-9E434BFCC661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301" name="Grafik 23">
                <a:extLst>
                  <a:ext uri="{FF2B5EF4-FFF2-40B4-BE49-F238E27FC236}">
                    <a16:creationId xmlns:a16="http://schemas.microsoft.com/office/drawing/2014/main" id="{0E848D48-C694-6AF2-F120-2A3A4143F162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302" name="Grafik 23">
                <a:extLst>
                  <a:ext uri="{FF2B5EF4-FFF2-40B4-BE49-F238E27FC236}">
                    <a16:creationId xmlns:a16="http://schemas.microsoft.com/office/drawing/2014/main" id="{99E398E7-CD95-82A2-9665-540DA646603F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303" name="Grafik 23">
                <a:extLst>
                  <a:ext uri="{FF2B5EF4-FFF2-40B4-BE49-F238E27FC236}">
                    <a16:creationId xmlns:a16="http://schemas.microsoft.com/office/drawing/2014/main" id="{34DAF60F-36BD-B7F6-8E38-0013D29938F5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cxnSp>
        <p:nvCxnSpPr>
          <p:cNvPr id="304" name="Straight Connector 303">
            <a:extLst>
              <a:ext uri="{FF2B5EF4-FFF2-40B4-BE49-F238E27FC236}">
                <a16:creationId xmlns:a16="http://schemas.microsoft.com/office/drawing/2014/main" id="{F365DF86-0905-8097-E369-CC0483C6B304}"/>
              </a:ext>
            </a:extLst>
          </p:cNvPr>
          <p:cNvCxnSpPr>
            <a:cxnSpLocks/>
            <a:stCxn id="248" idx="8"/>
            <a:endCxn id="300" idx="1"/>
          </p:cNvCxnSpPr>
          <p:nvPr/>
        </p:nvCxnSpPr>
        <p:spPr>
          <a:xfrm>
            <a:off x="5682410" y="4839243"/>
            <a:ext cx="1579667" cy="6618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5" name="TextBox 304">
            <a:extLst>
              <a:ext uri="{FF2B5EF4-FFF2-40B4-BE49-F238E27FC236}">
                <a16:creationId xmlns:a16="http://schemas.microsoft.com/office/drawing/2014/main" id="{9A1C8DEE-3EAC-F895-0453-2EB9B9E9E2DF}"/>
              </a:ext>
            </a:extLst>
          </p:cNvPr>
          <p:cNvSpPr txBox="1"/>
          <p:nvPr/>
        </p:nvSpPr>
        <p:spPr>
          <a:xfrm>
            <a:off x="4770798" y="1385088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5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306" name="TextBox 305">
            <a:extLst>
              <a:ext uri="{FF2B5EF4-FFF2-40B4-BE49-F238E27FC236}">
                <a16:creationId xmlns:a16="http://schemas.microsoft.com/office/drawing/2014/main" id="{D17C9E72-A70B-851C-4F24-2B4DE331175A}"/>
              </a:ext>
            </a:extLst>
          </p:cNvPr>
          <p:cNvSpPr txBox="1"/>
          <p:nvPr/>
        </p:nvSpPr>
        <p:spPr>
          <a:xfrm>
            <a:off x="6633373" y="1395869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6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308" name="TextBox 307">
            <a:extLst>
              <a:ext uri="{FF2B5EF4-FFF2-40B4-BE49-F238E27FC236}">
                <a16:creationId xmlns:a16="http://schemas.microsoft.com/office/drawing/2014/main" id="{4B305915-2702-4B24-A303-CDCEB84E1C15}"/>
              </a:ext>
            </a:extLst>
          </p:cNvPr>
          <p:cNvSpPr txBox="1"/>
          <p:nvPr/>
        </p:nvSpPr>
        <p:spPr>
          <a:xfrm>
            <a:off x="5632594" y="4807795"/>
            <a:ext cx="27122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.2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309" name="TextBox 308">
            <a:extLst>
              <a:ext uri="{FF2B5EF4-FFF2-40B4-BE49-F238E27FC236}">
                <a16:creationId xmlns:a16="http://schemas.microsoft.com/office/drawing/2014/main" id="{5B9B042B-93DF-3734-C255-2C945C6B655F}"/>
              </a:ext>
            </a:extLst>
          </p:cNvPr>
          <p:cNvSpPr txBox="1"/>
          <p:nvPr/>
        </p:nvSpPr>
        <p:spPr>
          <a:xfrm>
            <a:off x="7091830" y="4821736"/>
            <a:ext cx="275503" cy="2296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.1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310" name="TextBox 309">
            <a:extLst>
              <a:ext uri="{FF2B5EF4-FFF2-40B4-BE49-F238E27FC236}">
                <a16:creationId xmlns:a16="http://schemas.microsoft.com/office/drawing/2014/main" id="{4FFD9691-B433-7903-F04C-537C0E6C33D6}"/>
              </a:ext>
            </a:extLst>
          </p:cNvPr>
          <p:cNvSpPr txBox="1"/>
          <p:nvPr/>
        </p:nvSpPr>
        <p:spPr>
          <a:xfrm>
            <a:off x="1788231" y="3960313"/>
            <a:ext cx="40748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PC2</a:t>
            </a:r>
            <a:endParaRPr lang="en-DE" sz="1100" b="1" dirty="0"/>
          </a:p>
        </p:txBody>
      </p:sp>
      <p:sp>
        <p:nvSpPr>
          <p:cNvPr id="667" name="Cloud 666">
            <a:extLst>
              <a:ext uri="{FF2B5EF4-FFF2-40B4-BE49-F238E27FC236}">
                <a16:creationId xmlns:a16="http://schemas.microsoft.com/office/drawing/2014/main" id="{B0F622A9-EAC8-580D-4871-86C9EC1BA6E1}"/>
              </a:ext>
            </a:extLst>
          </p:cNvPr>
          <p:cNvSpPr/>
          <p:nvPr/>
        </p:nvSpPr>
        <p:spPr>
          <a:xfrm>
            <a:off x="1605426" y="4580489"/>
            <a:ext cx="2396978" cy="1685172"/>
          </a:xfrm>
          <a:prstGeom prst="cloud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8519222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afik 36">
            <a:extLst>
              <a:ext uri="{FF2B5EF4-FFF2-40B4-BE49-F238E27FC236}">
                <a16:creationId xmlns:a16="http://schemas.microsoft.com/office/drawing/2014/main" id="{805ABFA0-D21F-2270-5176-54001474EA54}"/>
              </a:ext>
            </a:extLst>
          </p:cNvPr>
          <p:cNvGrpSpPr/>
          <p:nvPr/>
        </p:nvGrpSpPr>
        <p:grpSpPr bwMode="gray">
          <a:xfrm>
            <a:off x="9765249" y="574762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" name="Grafik 36">
              <a:extLst>
                <a:ext uri="{FF2B5EF4-FFF2-40B4-BE49-F238E27FC236}">
                  <a16:creationId xmlns:a16="http://schemas.microsoft.com/office/drawing/2014/main" id="{677960D1-AACE-5BA7-B978-0AC922A1B039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5" name="Grafik 36">
                <a:extLst>
                  <a:ext uri="{FF2B5EF4-FFF2-40B4-BE49-F238E27FC236}">
                    <a16:creationId xmlns:a16="http://schemas.microsoft.com/office/drawing/2014/main" id="{36CA9497-AC32-908B-8538-F527241B4DAE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" name="Grafik 36">
                <a:extLst>
                  <a:ext uri="{FF2B5EF4-FFF2-40B4-BE49-F238E27FC236}">
                    <a16:creationId xmlns:a16="http://schemas.microsoft.com/office/drawing/2014/main" id="{544919A6-F796-1034-A764-31E58531469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" name="Grafik 36">
                <a:extLst>
                  <a:ext uri="{FF2B5EF4-FFF2-40B4-BE49-F238E27FC236}">
                    <a16:creationId xmlns:a16="http://schemas.microsoft.com/office/drawing/2014/main" id="{9DD39308-E045-CE6A-9178-6F1EFB6BB75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" name="Grafik 36">
                <a:extLst>
                  <a:ext uri="{FF2B5EF4-FFF2-40B4-BE49-F238E27FC236}">
                    <a16:creationId xmlns:a16="http://schemas.microsoft.com/office/drawing/2014/main" id="{99D416D0-C329-1EAC-CDCB-43CB319FC00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" name="Grafik 36">
                <a:extLst>
                  <a:ext uri="{FF2B5EF4-FFF2-40B4-BE49-F238E27FC236}">
                    <a16:creationId xmlns:a16="http://schemas.microsoft.com/office/drawing/2014/main" id="{0F9F3982-44C1-241F-A234-682B77764CC0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" name="Grafik 36">
              <a:extLst>
                <a:ext uri="{FF2B5EF4-FFF2-40B4-BE49-F238E27FC236}">
                  <a16:creationId xmlns:a16="http://schemas.microsoft.com/office/drawing/2014/main" id="{22AAC8C6-83B4-195A-482D-9623F737A966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" name="Grafik 36">
                <a:extLst>
                  <a:ext uri="{FF2B5EF4-FFF2-40B4-BE49-F238E27FC236}">
                    <a16:creationId xmlns:a16="http://schemas.microsoft.com/office/drawing/2014/main" id="{F7A3A95C-B505-F797-A064-2DABC83E1CFE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6" name="Grafik 36">
                  <a:extLst>
                    <a:ext uri="{FF2B5EF4-FFF2-40B4-BE49-F238E27FC236}">
                      <a16:creationId xmlns:a16="http://schemas.microsoft.com/office/drawing/2014/main" id="{EDF92E35-71EE-6BDF-85CD-15C49FE7CD1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2" name="Grafik 36">
                    <a:extLst>
                      <a:ext uri="{FF2B5EF4-FFF2-40B4-BE49-F238E27FC236}">
                        <a16:creationId xmlns:a16="http://schemas.microsoft.com/office/drawing/2014/main" id="{DEF4593B-EB09-FDEE-0CD2-F0BA4481C03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" name="Grafik 36">
                    <a:extLst>
                      <a:ext uri="{FF2B5EF4-FFF2-40B4-BE49-F238E27FC236}">
                        <a16:creationId xmlns:a16="http://schemas.microsoft.com/office/drawing/2014/main" id="{43CE857E-7D48-4CAA-6573-B14ACD6C125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" name="Grafik 36">
                    <a:extLst>
                      <a:ext uri="{FF2B5EF4-FFF2-40B4-BE49-F238E27FC236}">
                        <a16:creationId xmlns:a16="http://schemas.microsoft.com/office/drawing/2014/main" id="{84420C81-5F0E-6649-2F33-4D3402CC1FD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7" name="Grafik 36">
                  <a:extLst>
                    <a:ext uri="{FF2B5EF4-FFF2-40B4-BE49-F238E27FC236}">
                      <a16:creationId xmlns:a16="http://schemas.microsoft.com/office/drawing/2014/main" id="{DF54D05D-C166-0837-8E70-0769A6940E33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18" name="Grafik 36">
                  <a:extLst>
                    <a:ext uri="{FF2B5EF4-FFF2-40B4-BE49-F238E27FC236}">
                      <a16:creationId xmlns:a16="http://schemas.microsoft.com/office/drawing/2014/main" id="{7DF36F6C-11FD-990A-9CEA-8CED8F25672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9" name="Grafik 36">
                    <a:extLst>
                      <a:ext uri="{FF2B5EF4-FFF2-40B4-BE49-F238E27FC236}">
                        <a16:creationId xmlns:a16="http://schemas.microsoft.com/office/drawing/2014/main" id="{83A3953A-333A-BDEE-D0CC-C0BE6BA643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0" name="Grafik 36">
                    <a:extLst>
                      <a:ext uri="{FF2B5EF4-FFF2-40B4-BE49-F238E27FC236}">
                        <a16:creationId xmlns:a16="http://schemas.microsoft.com/office/drawing/2014/main" id="{6D6CE9A7-BCFC-DF42-F46A-CBEE52594A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" name="Grafik 36">
                    <a:extLst>
                      <a:ext uri="{FF2B5EF4-FFF2-40B4-BE49-F238E27FC236}">
                        <a16:creationId xmlns:a16="http://schemas.microsoft.com/office/drawing/2014/main" id="{9C478A61-1694-68B7-30C9-8FC355D1199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6" name="Grafik 36">
                <a:extLst>
                  <a:ext uri="{FF2B5EF4-FFF2-40B4-BE49-F238E27FC236}">
                    <a16:creationId xmlns:a16="http://schemas.microsoft.com/office/drawing/2014/main" id="{B52A8419-02AF-64AC-6657-4545D4D769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7" name="Grafik 36">
                  <a:extLst>
                    <a:ext uri="{FF2B5EF4-FFF2-40B4-BE49-F238E27FC236}">
                      <a16:creationId xmlns:a16="http://schemas.microsoft.com/office/drawing/2014/main" id="{3A69DB6A-722C-668E-D335-5CC43D18D14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3" name="Grafik 36">
                    <a:extLst>
                      <a:ext uri="{FF2B5EF4-FFF2-40B4-BE49-F238E27FC236}">
                        <a16:creationId xmlns:a16="http://schemas.microsoft.com/office/drawing/2014/main" id="{6B5848EA-C7F1-E764-F4F9-96E6A5ED06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4" name="Grafik 36">
                    <a:extLst>
                      <a:ext uri="{FF2B5EF4-FFF2-40B4-BE49-F238E27FC236}">
                        <a16:creationId xmlns:a16="http://schemas.microsoft.com/office/drawing/2014/main" id="{B3891213-BBC9-F6BB-1A02-BEEEDE99C7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5" name="Grafik 36">
                    <a:extLst>
                      <a:ext uri="{FF2B5EF4-FFF2-40B4-BE49-F238E27FC236}">
                        <a16:creationId xmlns:a16="http://schemas.microsoft.com/office/drawing/2014/main" id="{193267BC-6348-4836-00CF-222C9B457CD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8" name="Grafik 36">
                  <a:extLst>
                    <a:ext uri="{FF2B5EF4-FFF2-40B4-BE49-F238E27FC236}">
                      <a16:creationId xmlns:a16="http://schemas.microsoft.com/office/drawing/2014/main" id="{15FA678D-107E-AE59-583F-6946F894E9D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" name="Grafik 36">
                  <a:extLst>
                    <a:ext uri="{FF2B5EF4-FFF2-40B4-BE49-F238E27FC236}">
                      <a16:creationId xmlns:a16="http://schemas.microsoft.com/office/drawing/2014/main" id="{E0881BC3-E494-ABA7-6006-E9AAA8C5F095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" name="Grafik 36">
                    <a:extLst>
                      <a:ext uri="{FF2B5EF4-FFF2-40B4-BE49-F238E27FC236}">
                        <a16:creationId xmlns:a16="http://schemas.microsoft.com/office/drawing/2014/main" id="{3867A823-8E82-295E-55D5-C9B0B8E263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" name="Grafik 36">
                    <a:extLst>
                      <a:ext uri="{FF2B5EF4-FFF2-40B4-BE49-F238E27FC236}">
                        <a16:creationId xmlns:a16="http://schemas.microsoft.com/office/drawing/2014/main" id="{EEC07A72-288C-1CBD-B877-91769065DFC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2" name="Grafik 36">
                    <a:extLst>
                      <a:ext uri="{FF2B5EF4-FFF2-40B4-BE49-F238E27FC236}">
                        <a16:creationId xmlns:a16="http://schemas.microsoft.com/office/drawing/2014/main" id="{1D3EF0DF-A3FB-AFC0-800B-101442D605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30" name="Grafik 36">
            <a:extLst>
              <a:ext uri="{FF2B5EF4-FFF2-40B4-BE49-F238E27FC236}">
                <a16:creationId xmlns:a16="http://schemas.microsoft.com/office/drawing/2014/main" id="{7B98DE10-BA6B-3F18-160A-4E96FAC7BE4F}"/>
              </a:ext>
            </a:extLst>
          </p:cNvPr>
          <p:cNvGrpSpPr/>
          <p:nvPr/>
        </p:nvGrpSpPr>
        <p:grpSpPr bwMode="gray">
          <a:xfrm>
            <a:off x="6745951" y="262696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1" name="Grafik 36">
              <a:extLst>
                <a:ext uri="{FF2B5EF4-FFF2-40B4-BE49-F238E27FC236}">
                  <a16:creationId xmlns:a16="http://schemas.microsoft.com/office/drawing/2014/main" id="{260ABF50-1ED2-70FD-3680-45F8EC5331F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3" name="Grafik 36">
                <a:extLst>
                  <a:ext uri="{FF2B5EF4-FFF2-40B4-BE49-F238E27FC236}">
                    <a16:creationId xmlns:a16="http://schemas.microsoft.com/office/drawing/2014/main" id="{39FAE70C-D762-AA34-F386-2ABB0E3300F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" name="Grafik 36">
                <a:extLst>
                  <a:ext uri="{FF2B5EF4-FFF2-40B4-BE49-F238E27FC236}">
                    <a16:creationId xmlns:a16="http://schemas.microsoft.com/office/drawing/2014/main" id="{4B582F0E-1B0F-A2D7-E439-A00F7A60EADA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" name="Grafik 36">
                <a:extLst>
                  <a:ext uri="{FF2B5EF4-FFF2-40B4-BE49-F238E27FC236}">
                    <a16:creationId xmlns:a16="http://schemas.microsoft.com/office/drawing/2014/main" id="{F4AE49D7-E0B9-CDC2-50F9-A643E7C66A2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" name="Grafik 36">
                <a:extLst>
                  <a:ext uri="{FF2B5EF4-FFF2-40B4-BE49-F238E27FC236}">
                    <a16:creationId xmlns:a16="http://schemas.microsoft.com/office/drawing/2014/main" id="{8736F197-893E-3CA2-43F8-8CB46E62E15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" name="Grafik 36">
                <a:extLst>
                  <a:ext uri="{FF2B5EF4-FFF2-40B4-BE49-F238E27FC236}">
                    <a16:creationId xmlns:a16="http://schemas.microsoft.com/office/drawing/2014/main" id="{91C0387A-C141-DC7B-2440-AB7FE42438B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2" name="Grafik 36">
              <a:extLst>
                <a:ext uri="{FF2B5EF4-FFF2-40B4-BE49-F238E27FC236}">
                  <a16:creationId xmlns:a16="http://schemas.microsoft.com/office/drawing/2014/main" id="{B5630AC5-295D-7977-A79B-C33ED4E27DAE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33" name="Grafik 36">
                <a:extLst>
                  <a:ext uri="{FF2B5EF4-FFF2-40B4-BE49-F238E27FC236}">
                    <a16:creationId xmlns:a16="http://schemas.microsoft.com/office/drawing/2014/main" id="{193A1E17-69C7-540D-81A3-47F03545A294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44" name="Grafik 36">
                  <a:extLst>
                    <a:ext uri="{FF2B5EF4-FFF2-40B4-BE49-F238E27FC236}">
                      <a16:creationId xmlns:a16="http://schemas.microsoft.com/office/drawing/2014/main" id="{BEE5A630-3A74-44A8-1B6B-5F3F885D6593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0" name="Grafik 36">
                    <a:extLst>
                      <a:ext uri="{FF2B5EF4-FFF2-40B4-BE49-F238E27FC236}">
                        <a16:creationId xmlns:a16="http://schemas.microsoft.com/office/drawing/2014/main" id="{8FC65B1E-C1B0-8075-3AC3-C18A033E1DC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1" name="Grafik 36">
                    <a:extLst>
                      <a:ext uri="{FF2B5EF4-FFF2-40B4-BE49-F238E27FC236}">
                        <a16:creationId xmlns:a16="http://schemas.microsoft.com/office/drawing/2014/main" id="{9FC42ED2-A45C-F38C-A35A-9B8BC26745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2" name="Grafik 36">
                    <a:extLst>
                      <a:ext uri="{FF2B5EF4-FFF2-40B4-BE49-F238E27FC236}">
                        <a16:creationId xmlns:a16="http://schemas.microsoft.com/office/drawing/2014/main" id="{DCD5F007-EB87-B3F7-E867-5814DBAEE8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45" name="Grafik 36">
                  <a:extLst>
                    <a:ext uri="{FF2B5EF4-FFF2-40B4-BE49-F238E27FC236}">
                      <a16:creationId xmlns:a16="http://schemas.microsoft.com/office/drawing/2014/main" id="{E44B291E-EF5A-26B9-B918-0F3FF072AF6F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46" name="Grafik 36">
                  <a:extLst>
                    <a:ext uri="{FF2B5EF4-FFF2-40B4-BE49-F238E27FC236}">
                      <a16:creationId xmlns:a16="http://schemas.microsoft.com/office/drawing/2014/main" id="{5BDE5659-4602-D378-64B4-B6F4DBB74EB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47" name="Grafik 36">
                    <a:extLst>
                      <a:ext uri="{FF2B5EF4-FFF2-40B4-BE49-F238E27FC236}">
                        <a16:creationId xmlns:a16="http://schemas.microsoft.com/office/drawing/2014/main" id="{980FDA1F-CBF5-89F1-2BBE-A1B85BA7FF8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8" name="Grafik 36">
                    <a:extLst>
                      <a:ext uri="{FF2B5EF4-FFF2-40B4-BE49-F238E27FC236}">
                        <a16:creationId xmlns:a16="http://schemas.microsoft.com/office/drawing/2014/main" id="{21568460-6E34-83D6-C875-BA44695AC9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9" name="Grafik 36">
                    <a:extLst>
                      <a:ext uri="{FF2B5EF4-FFF2-40B4-BE49-F238E27FC236}">
                        <a16:creationId xmlns:a16="http://schemas.microsoft.com/office/drawing/2014/main" id="{3779FFA0-6DA9-4139-5913-226B652833A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34" name="Grafik 36">
                <a:extLst>
                  <a:ext uri="{FF2B5EF4-FFF2-40B4-BE49-F238E27FC236}">
                    <a16:creationId xmlns:a16="http://schemas.microsoft.com/office/drawing/2014/main" id="{DA172792-4007-C661-01E7-3FDDFDC98B19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35" name="Grafik 36">
                  <a:extLst>
                    <a:ext uri="{FF2B5EF4-FFF2-40B4-BE49-F238E27FC236}">
                      <a16:creationId xmlns:a16="http://schemas.microsoft.com/office/drawing/2014/main" id="{1F2465CC-3481-9161-322F-D0ED441D3E7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41" name="Grafik 36">
                    <a:extLst>
                      <a:ext uri="{FF2B5EF4-FFF2-40B4-BE49-F238E27FC236}">
                        <a16:creationId xmlns:a16="http://schemas.microsoft.com/office/drawing/2014/main" id="{7DAB5559-FF58-9A3E-DCB7-786A0E31893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2" name="Grafik 36">
                    <a:extLst>
                      <a:ext uri="{FF2B5EF4-FFF2-40B4-BE49-F238E27FC236}">
                        <a16:creationId xmlns:a16="http://schemas.microsoft.com/office/drawing/2014/main" id="{371412AB-4268-F215-0D45-F974C96EE2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3" name="Grafik 36">
                    <a:extLst>
                      <a:ext uri="{FF2B5EF4-FFF2-40B4-BE49-F238E27FC236}">
                        <a16:creationId xmlns:a16="http://schemas.microsoft.com/office/drawing/2014/main" id="{A887B695-188C-C5CE-519F-0DA664508F0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6" name="Grafik 36">
                  <a:extLst>
                    <a:ext uri="{FF2B5EF4-FFF2-40B4-BE49-F238E27FC236}">
                      <a16:creationId xmlns:a16="http://schemas.microsoft.com/office/drawing/2014/main" id="{F57078A7-7598-43C8-5D06-515DF390BC69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7" name="Grafik 36">
                  <a:extLst>
                    <a:ext uri="{FF2B5EF4-FFF2-40B4-BE49-F238E27FC236}">
                      <a16:creationId xmlns:a16="http://schemas.microsoft.com/office/drawing/2014/main" id="{EDC50E29-B258-0F39-96F0-028E051BC92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38" name="Grafik 36">
                    <a:extLst>
                      <a:ext uri="{FF2B5EF4-FFF2-40B4-BE49-F238E27FC236}">
                        <a16:creationId xmlns:a16="http://schemas.microsoft.com/office/drawing/2014/main" id="{B559DBF9-AAD9-B1FF-DF1B-252EFD4899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" name="Grafik 36">
                    <a:extLst>
                      <a:ext uri="{FF2B5EF4-FFF2-40B4-BE49-F238E27FC236}">
                        <a16:creationId xmlns:a16="http://schemas.microsoft.com/office/drawing/2014/main" id="{52E2A1EB-A1FB-11AD-868A-AB23EECDA79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" name="Grafik 36">
                    <a:extLst>
                      <a:ext uri="{FF2B5EF4-FFF2-40B4-BE49-F238E27FC236}">
                        <a16:creationId xmlns:a16="http://schemas.microsoft.com/office/drawing/2014/main" id="{99FAE9A2-E85A-BF9D-16AF-F8E0D516C9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58" name="Grafik 36">
            <a:extLst>
              <a:ext uri="{FF2B5EF4-FFF2-40B4-BE49-F238E27FC236}">
                <a16:creationId xmlns:a16="http://schemas.microsoft.com/office/drawing/2014/main" id="{D273B681-88FF-0725-6A8D-1DD6F0981251}"/>
              </a:ext>
            </a:extLst>
          </p:cNvPr>
          <p:cNvGrpSpPr/>
          <p:nvPr/>
        </p:nvGrpSpPr>
        <p:grpSpPr bwMode="gray">
          <a:xfrm>
            <a:off x="8703987" y="5786767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9" name="Grafik 36">
              <a:extLst>
                <a:ext uri="{FF2B5EF4-FFF2-40B4-BE49-F238E27FC236}">
                  <a16:creationId xmlns:a16="http://schemas.microsoft.com/office/drawing/2014/main" id="{6843FEB7-4E19-046D-15DA-7A34C86B25BC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81" name="Grafik 36">
                <a:extLst>
                  <a:ext uri="{FF2B5EF4-FFF2-40B4-BE49-F238E27FC236}">
                    <a16:creationId xmlns:a16="http://schemas.microsoft.com/office/drawing/2014/main" id="{5666EF4C-E927-A969-A669-AB6184C81D0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2" name="Grafik 36">
                <a:extLst>
                  <a:ext uri="{FF2B5EF4-FFF2-40B4-BE49-F238E27FC236}">
                    <a16:creationId xmlns:a16="http://schemas.microsoft.com/office/drawing/2014/main" id="{82572A31-EA53-77A5-4E45-5D4817B067D8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3" name="Grafik 36">
                <a:extLst>
                  <a:ext uri="{FF2B5EF4-FFF2-40B4-BE49-F238E27FC236}">
                    <a16:creationId xmlns:a16="http://schemas.microsoft.com/office/drawing/2014/main" id="{56E5F77B-036C-94BF-C668-78879D9BBD6A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4" name="Grafik 36">
                <a:extLst>
                  <a:ext uri="{FF2B5EF4-FFF2-40B4-BE49-F238E27FC236}">
                    <a16:creationId xmlns:a16="http://schemas.microsoft.com/office/drawing/2014/main" id="{97211EED-D50F-DFDC-58F7-84A14D5AA540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5" name="Grafik 36">
                <a:extLst>
                  <a:ext uri="{FF2B5EF4-FFF2-40B4-BE49-F238E27FC236}">
                    <a16:creationId xmlns:a16="http://schemas.microsoft.com/office/drawing/2014/main" id="{EA70263D-A05C-6719-B9E5-736C8636FD2A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0" name="Grafik 36">
              <a:extLst>
                <a:ext uri="{FF2B5EF4-FFF2-40B4-BE49-F238E27FC236}">
                  <a16:creationId xmlns:a16="http://schemas.microsoft.com/office/drawing/2014/main" id="{E3A7EDBD-5C98-F676-24CE-BCFF4694BF3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1" name="Grafik 36">
                <a:extLst>
                  <a:ext uri="{FF2B5EF4-FFF2-40B4-BE49-F238E27FC236}">
                    <a16:creationId xmlns:a16="http://schemas.microsoft.com/office/drawing/2014/main" id="{5214F098-6528-9845-680B-9FE5EB95D183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72" name="Grafik 36">
                  <a:extLst>
                    <a:ext uri="{FF2B5EF4-FFF2-40B4-BE49-F238E27FC236}">
                      <a16:creationId xmlns:a16="http://schemas.microsoft.com/office/drawing/2014/main" id="{38F0A09C-3533-8961-B205-DF21352947D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78" name="Grafik 36">
                    <a:extLst>
                      <a:ext uri="{FF2B5EF4-FFF2-40B4-BE49-F238E27FC236}">
                        <a16:creationId xmlns:a16="http://schemas.microsoft.com/office/drawing/2014/main" id="{7BD8E13F-65BD-0542-6037-5E626CE33BF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9" name="Grafik 36">
                    <a:extLst>
                      <a:ext uri="{FF2B5EF4-FFF2-40B4-BE49-F238E27FC236}">
                        <a16:creationId xmlns:a16="http://schemas.microsoft.com/office/drawing/2014/main" id="{B5F9C382-13B8-2A09-E62D-4937678B8C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0" name="Grafik 36">
                    <a:extLst>
                      <a:ext uri="{FF2B5EF4-FFF2-40B4-BE49-F238E27FC236}">
                        <a16:creationId xmlns:a16="http://schemas.microsoft.com/office/drawing/2014/main" id="{09BED46A-C22D-6C79-C54D-75C3EA6E6D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73" name="Grafik 36">
                  <a:extLst>
                    <a:ext uri="{FF2B5EF4-FFF2-40B4-BE49-F238E27FC236}">
                      <a16:creationId xmlns:a16="http://schemas.microsoft.com/office/drawing/2014/main" id="{A23A0EC0-28EF-7FFD-E055-77A518B834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74" name="Grafik 36">
                  <a:extLst>
                    <a:ext uri="{FF2B5EF4-FFF2-40B4-BE49-F238E27FC236}">
                      <a16:creationId xmlns:a16="http://schemas.microsoft.com/office/drawing/2014/main" id="{8B1ED712-A870-7637-81E0-D73138FB3DB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75" name="Grafik 36">
                    <a:extLst>
                      <a:ext uri="{FF2B5EF4-FFF2-40B4-BE49-F238E27FC236}">
                        <a16:creationId xmlns:a16="http://schemas.microsoft.com/office/drawing/2014/main" id="{08BD3D67-1238-159E-CEB2-BA8FBB63FC9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6" name="Grafik 36">
                    <a:extLst>
                      <a:ext uri="{FF2B5EF4-FFF2-40B4-BE49-F238E27FC236}">
                        <a16:creationId xmlns:a16="http://schemas.microsoft.com/office/drawing/2014/main" id="{2A0FA4D4-6E58-FC30-74EC-788842057E7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7" name="Grafik 36">
                    <a:extLst>
                      <a:ext uri="{FF2B5EF4-FFF2-40B4-BE49-F238E27FC236}">
                        <a16:creationId xmlns:a16="http://schemas.microsoft.com/office/drawing/2014/main" id="{266DAB5B-62A2-A31F-1DBE-59145967D0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62" name="Grafik 36">
                <a:extLst>
                  <a:ext uri="{FF2B5EF4-FFF2-40B4-BE49-F238E27FC236}">
                    <a16:creationId xmlns:a16="http://schemas.microsoft.com/office/drawing/2014/main" id="{9E36C580-0CB4-80CF-9529-A57B34264390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3" name="Grafik 36">
                  <a:extLst>
                    <a:ext uri="{FF2B5EF4-FFF2-40B4-BE49-F238E27FC236}">
                      <a16:creationId xmlns:a16="http://schemas.microsoft.com/office/drawing/2014/main" id="{48DAA7BC-1E74-A93C-5B88-775915852E42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9" name="Grafik 36">
                    <a:extLst>
                      <a:ext uri="{FF2B5EF4-FFF2-40B4-BE49-F238E27FC236}">
                        <a16:creationId xmlns:a16="http://schemas.microsoft.com/office/drawing/2014/main" id="{AF7AFACF-A698-C9EF-0AAD-0D499E1374D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0" name="Grafik 36">
                    <a:extLst>
                      <a:ext uri="{FF2B5EF4-FFF2-40B4-BE49-F238E27FC236}">
                        <a16:creationId xmlns:a16="http://schemas.microsoft.com/office/drawing/2014/main" id="{979C7DB9-01B4-CA15-7290-3749279F05B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1" name="Grafik 36">
                    <a:extLst>
                      <a:ext uri="{FF2B5EF4-FFF2-40B4-BE49-F238E27FC236}">
                        <a16:creationId xmlns:a16="http://schemas.microsoft.com/office/drawing/2014/main" id="{08377C9A-DA6A-8C27-A7A7-41A74F7B4E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4" name="Grafik 36">
                  <a:extLst>
                    <a:ext uri="{FF2B5EF4-FFF2-40B4-BE49-F238E27FC236}">
                      <a16:creationId xmlns:a16="http://schemas.microsoft.com/office/drawing/2014/main" id="{8621A8F9-5A15-B54E-6497-6CA3799516E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5" name="Grafik 36">
                  <a:extLst>
                    <a:ext uri="{FF2B5EF4-FFF2-40B4-BE49-F238E27FC236}">
                      <a16:creationId xmlns:a16="http://schemas.microsoft.com/office/drawing/2014/main" id="{E882FA44-C59E-108C-50DC-2A4A0F5F4C2E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6" name="Grafik 36">
                    <a:extLst>
                      <a:ext uri="{FF2B5EF4-FFF2-40B4-BE49-F238E27FC236}">
                        <a16:creationId xmlns:a16="http://schemas.microsoft.com/office/drawing/2014/main" id="{2901A3C6-D082-7F18-712B-F7959FBC36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7" name="Grafik 36">
                    <a:extLst>
                      <a:ext uri="{FF2B5EF4-FFF2-40B4-BE49-F238E27FC236}">
                        <a16:creationId xmlns:a16="http://schemas.microsoft.com/office/drawing/2014/main" id="{4DC77579-2A1F-0D3F-7E13-52C8DB2C0A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8" name="Grafik 36">
                    <a:extLst>
                      <a:ext uri="{FF2B5EF4-FFF2-40B4-BE49-F238E27FC236}">
                        <a16:creationId xmlns:a16="http://schemas.microsoft.com/office/drawing/2014/main" id="{AF462BF6-DA64-9DC3-9E10-526A1A0729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86" name="Grafik 36">
            <a:extLst>
              <a:ext uri="{FF2B5EF4-FFF2-40B4-BE49-F238E27FC236}">
                <a16:creationId xmlns:a16="http://schemas.microsoft.com/office/drawing/2014/main" id="{DFCB4992-6541-C00C-3CA3-1FD7DBFAC33F}"/>
              </a:ext>
            </a:extLst>
          </p:cNvPr>
          <p:cNvGrpSpPr/>
          <p:nvPr/>
        </p:nvGrpSpPr>
        <p:grpSpPr bwMode="gray">
          <a:xfrm>
            <a:off x="4161141" y="2509127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87" name="Grafik 36">
              <a:extLst>
                <a:ext uri="{FF2B5EF4-FFF2-40B4-BE49-F238E27FC236}">
                  <a16:creationId xmlns:a16="http://schemas.microsoft.com/office/drawing/2014/main" id="{B57671CD-A443-3569-6713-7399DBE6ABC8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09" name="Grafik 36">
                <a:extLst>
                  <a:ext uri="{FF2B5EF4-FFF2-40B4-BE49-F238E27FC236}">
                    <a16:creationId xmlns:a16="http://schemas.microsoft.com/office/drawing/2014/main" id="{F80C6BB6-508A-430E-1F70-2EF40BAF829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0" name="Grafik 36">
                <a:extLst>
                  <a:ext uri="{FF2B5EF4-FFF2-40B4-BE49-F238E27FC236}">
                    <a16:creationId xmlns:a16="http://schemas.microsoft.com/office/drawing/2014/main" id="{19978C5D-0240-1928-FEA5-1AC9A253003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1" name="Grafik 36">
                <a:extLst>
                  <a:ext uri="{FF2B5EF4-FFF2-40B4-BE49-F238E27FC236}">
                    <a16:creationId xmlns:a16="http://schemas.microsoft.com/office/drawing/2014/main" id="{51B63E53-35E7-8465-8822-5D72F98DA926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2" name="Grafik 36">
                <a:extLst>
                  <a:ext uri="{FF2B5EF4-FFF2-40B4-BE49-F238E27FC236}">
                    <a16:creationId xmlns:a16="http://schemas.microsoft.com/office/drawing/2014/main" id="{D568D708-FCFF-EE76-AAFD-DDBA979051F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3" name="Grafik 36">
                <a:extLst>
                  <a:ext uri="{FF2B5EF4-FFF2-40B4-BE49-F238E27FC236}">
                    <a16:creationId xmlns:a16="http://schemas.microsoft.com/office/drawing/2014/main" id="{70367EC0-404B-00C3-BB48-21436589832C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8" name="Grafik 36">
              <a:extLst>
                <a:ext uri="{FF2B5EF4-FFF2-40B4-BE49-F238E27FC236}">
                  <a16:creationId xmlns:a16="http://schemas.microsoft.com/office/drawing/2014/main" id="{9332462F-283F-CE21-3F39-2058C4A8FE0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89" name="Grafik 36">
                <a:extLst>
                  <a:ext uri="{FF2B5EF4-FFF2-40B4-BE49-F238E27FC236}">
                    <a16:creationId xmlns:a16="http://schemas.microsoft.com/office/drawing/2014/main" id="{61286C00-5197-A02D-B3AE-0F5701A9590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00" name="Grafik 36">
                  <a:extLst>
                    <a:ext uri="{FF2B5EF4-FFF2-40B4-BE49-F238E27FC236}">
                      <a16:creationId xmlns:a16="http://schemas.microsoft.com/office/drawing/2014/main" id="{AB4C0396-FFA9-61D5-59A3-FEFF4808D91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06" name="Grafik 36">
                    <a:extLst>
                      <a:ext uri="{FF2B5EF4-FFF2-40B4-BE49-F238E27FC236}">
                        <a16:creationId xmlns:a16="http://schemas.microsoft.com/office/drawing/2014/main" id="{8BE4B477-158F-1A02-5C57-08862B90A08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7" name="Grafik 36">
                    <a:extLst>
                      <a:ext uri="{FF2B5EF4-FFF2-40B4-BE49-F238E27FC236}">
                        <a16:creationId xmlns:a16="http://schemas.microsoft.com/office/drawing/2014/main" id="{68D98760-88FE-96B3-CD99-02FABF50C3A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8" name="Grafik 36">
                    <a:extLst>
                      <a:ext uri="{FF2B5EF4-FFF2-40B4-BE49-F238E27FC236}">
                        <a16:creationId xmlns:a16="http://schemas.microsoft.com/office/drawing/2014/main" id="{FB666D6C-F46D-89F9-E712-6556C185E1B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01" name="Grafik 36">
                  <a:extLst>
                    <a:ext uri="{FF2B5EF4-FFF2-40B4-BE49-F238E27FC236}">
                      <a16:creationId xmlns:a16="http://schemas.microsoft.com/office/drawing/2014/main" id="{912C01E2-DA0F-821B-80BA-EBBBAEF7FB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102" name="Grafik 36">
                  <a:extLst>
                    <a:ext uri="{FF2B5EF4-FFF2-40B4-BE49-F238E27FC236}">
                      <a16:creationId xmlns:a16="http://schemas.microsoft.com/office/drawing/2014/main" id="{53E9A2CC-3929-3E5D-A752-7BCFF04311C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03" name="Grafik 36">
                    <a:extLst>
                      <a:ext uri="{FF2B5EF4-FFF2-40B4-BE49-F238E27FC236}">
                        <a16:creationId xmlns:a16="http://schemas.microsoft.com/office/drawing/2014/main" id="{E60F5659-C5E3-7356-909F-4FF48A9FA7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4" name="Grafik 36">
                    <a:extLst>
                      <a:ext uri="{FF2B5EF4-FFF2-40B4-BE49-F238E27FC236}">
                        <a16:creationId xmlns:a16="http://schemas.microsoft.com/office/drawing/2014/main" id="{CD07A5E6-3597-DDFE-995C-3EAF398C5E9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5" name="Grafik 36">
                    <a:extLst>
                      <a:ext uri="{FF2B5EF4-FFF2-40B4-BE49-F238E27FC236}">
                        <a16:creationId xmlns:a16="http://schemas.microsoft.com/office/drawing/2014/main" id="{C08B4C9A-1E2E-D4AE-9F79-7429844CF7C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90" name="Grafik 36">
                <a:extLst>
                  <a:ext uri="{FF2B5EF4-FFF2-40B4-BE49-F238E27FC236}">
                    <a16:creationId xmlns:a16="http://schemas.microsoft.com/office/drawing/2014/main" id="{4E3FA89C-0DE1-A9F1-82D3-45955AA1BC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1" name="Grafik 36">
                  <a:extLst>
                    <a:ext uri="{FF2B5EF4-FFF2-40B4-BE49-F238E27FC236}">
                      <a16:creationId xmlns:a16="http://schemas.microsoft.com/office/drawing/2014/main" id="{1FF76BBB-4AD9-6F3D-104E-F6CE2ED57CAE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7" name="Grafik 36">
                    <a:extLst>
                      <a:ext uri="{FF2B5EF4-FFF2-40B4-BE49-F238E27FC236}">
                        <a16:creationId xmlns:a16="http://schemas.microsoft.com/office/drawing/2014/main" id="{D6DC4521-2777-94C5-B0F3-C4C56779CD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8" name="Grafik 36">
                    <a:extLst>
                      <a:ext uri="{FF2B5EF4-FFF2-40B4-BE49-F238E27FC236}">
                        <a16:creationId xmlns:a16="http://schemas.microsoft.com/office/drawing/2014/main" id="{BD1E27B6-133A-488A-CFC3-46B04E5DC25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9" name="Grafik 36">
                    <a:extLst>
                      <a:ext uri="{FF2B5EF4-FFF2-40B4-BE49-F238E27FC236}">
                        <a16:creationId xmlns:a16="http://schemas.microsoft.com/office/drawing/2014/main" id="{78A616CB-25DD-4B07-E56E-2CEFD3D26C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92" name="Grafik 36">
                  <a:extLst>
                    <a:ext uri="{FF2B5EF4-FFF2-40B4-BE49-F238E27FC236}">
                      <a16:creationId xmlns:a16="http://schemas.microsoft.com/office/drawing/2014/main" id="{799495E2-6A60-0F56-05F6-474BF819134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3" name="Grafik 36">
                  <a:extLst>
                    <a:ext uri="{FF2B5EF4-FFF2-40B4-BE49-F238E27FC236}">
                      <a16:creationId xmlns:a16="http://schemas.microsoft.com/office/drawing/2014/main" id="{3BF26573-8F99-25C6-954C-6CA3153201B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4" name="Grafik 36">
                    <a:extLst>
                      <a:ext uri="{FF2B5EF4-FFF2-40B4-BE49-F238E27FC236}">
                        <a16:creationId xmlns:a16="http://schemas.microsoft.com/office/drawing/2014/main" id="{23D4C708-9C53-C1EE-B01D-7112CC6FAD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5" name="Grafik 36">
                    <a:extLst>
                      <a:ext uri="{FF2B5EF4-FFF2-40B4-BE49-F238E27FC236}">
                        <a16:creationId xmlns:a16="http://schemas.microsoft.com/office/drawing/2014/main" id="{58C499C9-40A2-944D-F946-508329BBCF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6" name="Grafik 36">
                    <a:extLst>
                      <a:ext uri="{FF2B5EF4-FFF2-40B4-BE49-F238E27FC236}">
                        <a16:creationId xmlns:a16="http://schemas.microsoft.com/office/drawing/2014/main" id="{B38B316D-5BFE-211D-7A58-2ABDB27E51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sp>
        <p:nvSpPr>
          <p:cNvPr id="227" name="TextBox 226">
            <a:extLst>
              <a:ext uri="{FF2B5EF4-FFF2-40B4-BE49-F238E27FC236}">
                <a16:creationId xmlns:a16="http://schemas.microsoft.com/office/drawing/2014/main" id="{9167C8CD-D6C7-EA29-004F-3911589C9108}"/>
              </a:ext>
            </a:extLst>
          </p:cNvPr>
          <p:cNvSpPr txBox="1"/>
          <p:nvPr/>
        </p:nvSpPr>
        <p:spPr>
          <a:xfrm>
            <a:off x="8845558" y="5415918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3</a:t>
            </a:r>
            <a:endParaRPr lang="en-DE" sz="1100" b="1" dirty="0"/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8EC6B962-6CC9-E1F1-B2EC-7F8ECEA9B52A}"/>
              </a:ext>
            </a:extLst>
          </p:cNvPr>
          <p:cNvSpPr txBox="1"/>
          <p:nvPr/>
        </p:nvSpPr>
        <p:spPr>
          <a:xfrm>
            <a:off x="9738253" y="5379447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5</a:t>
            </a:r>
            <a:endParaRPr lang="en-DE" sz="1100" b="1" dirty="0"/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5B761EC3-F8A9-6236-1697-5BE1EDE5E56E}"/>
              </a:ext>
            </a:extLst>
          </p:cNvPr>
          <p:cNvSpPr txBox="1"/>
          <p:nvPr/>
        </p:nvSpPr>
        <p:spPr>
          <a:xfrm>
            <a:off x="6671891" y="2282305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7</a:t>
            </a:r>
            <a:endParaRPr lang="en-DE" sz="1100" b="1" dirty="0"/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50B35E80-68C6-7240-F4E9-0516047948A2}"/>
              </a:ext>
            </a:extLst>
          </p:cNvPr>
          <p:cNvSpPr txBox="1"/>
          <p:nvPr/>
        </p:nvSpPr>
        <p:spPr>
          <a:xfrm>
            <a:off x="4060376" y="2158961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1</a:t>
            </a:r>
            <a:endParaRPr lang="en-DE" sz="1100" b="1" dirty="0"/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127FCC1C-A664-4811-ECA5-3ECCA08231D7}"/>
              </a:ext>
            </a:extLst>
          </p:cNvPr>
          <p:cNvSpPr txBox="1"/>
          <p:nvPr/>
        </p:nvSpPr>
        <p:spPr>
          <a:xfrm>
            <a:off x="3301309" y="2712513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267" name="TextBox 266">
            <a:extLst>
              <a:ext uri="{FF2B5EF4-FFF2-40B4-BE49-F238E27FC236}">
                <a16:creationId xmlns:a16="http://schemas.microsoft.com/office/drawing/2014/main" id="{AFFDEE78-1795-3C3F-29DC-B66DBF9D6D08}"/>
              </a:ext>
            </a:extLst>
          </p:cNvPr>
          <p:cNvSpPr txBox="1"/>
          <p:nvPr/>
        </p:nvSpPr>
        <p:spPr>
          <a:xfrm>
            <a:off x="3778235" y="2536146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grpSp>
        <p:nvGrpSpPr>
          <p:cNvPr id="545" name="Grafik 36">
            <a:extLst>
              <a:ext uri="{FF2B5EF4-FFF2-40B4-BE49-F238E27FC236}">
                <a16:creationId xmlns:a16="http://schemas.microsoft.com/office/drawing/2014/main" id="{5BBE4158-017D-954A-C2D8-5CF14641AE92}"/>
              </a:ext>
            </a:extLst>
          </p:cNvPr>
          <p:cNvGrpSpPr/>
          <p:nvPr/>
        </p:nvGrpSpPr>
        <p:grpSpPr bwMode="gray">
          <a:xfrm>
            <a:off x="6596810" y="3393681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46" name="Grafik 36">
              <a:extLst>
                <a:ext uri="{FF2B5EF4-FFF2-40B4-BE49-F238E27FC236}">
                  <a16:creationId xmlns:a16="http://schemas.microsoft.com/office/drawing/2014/main" id="{7C4C3A49-B317-4AE4-AF60-C1172A53F670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68" name="Grafik 36">
                <a:extLst>
                  <a:ext uri="{FF2B5EF4-FFF2-40B4-BE49-F238E27FC236}">
                    <a16:creationId xmlns:a16="http://schemas.microsoft.com/office/drawing/2014/main" id="{0D4CE03A-41D2-5D32-9009-1D0BBFC9021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9" name="Grafik 36">
                <a:extLst>
                  <a:ext uri="{FF2B5EF4-FFF2-40B4-BE49-F238E27FC236}">
                    <a16:creationId xmlns:a16="http://schemas.microsoft.com/office/drawing/2014/main" id="{F44410D3-1BA0-DFF8-9B9C-2C43A9836CF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0" name="Grafik 36">
                <a:extLst>
                  <a:ext uri="{FF2B5EF4-FFF2-40B4-BE49-F238E27FC236}">
                    <a16:creationId xmlns:a16="http://schemas.microsoft.com/office/drawing/2014/main" id="{F00CB2BD-5961-6C2E-7773-68F8F7B2E33B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1" name="Grafik 36">
                <a:extLst>
                  <a:ext uri="{FF2B5EF4-FFF2-40B4-BE49-F238E27FC236}">
                    <a16:creationId xmlns:a16="http://schemas.microsoft.com/office/drawing/2014/main" id="{732E0D6E-4A70-BB5F-F5D5-85D9610DDF9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2" name="Grafik 36">
                <a:extLst>
                  <a:ext uri="{FF2B5EF4-FFF2-40B4-BE49-F238E27FC236}">
                    <a16:creationId xmlns:a16="http://schemas.microsoft.com/office/drawing/2014/main" id="{27815954-BE29-9EF1-CA58-57B01A69988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47" name="Grafik 36">
              <a:extLst>
                <a:ext uri="{FF2B5EF4-FFF2-40B4-BE49-F238E27FC236}">
                  <a16:creationId xmlns:a16="http://schemas.microsoft.com/office/drawing/2014/main" id="{5AC5CBE1-B272-7A35-89B0-73D7215D9191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48" name="Grafik 36">
                <a:extLst>
                  <a:ext uri="{FF2B5EF4-FFF2-40B4-BE49-F238E27FC236}">
                    <a16:creationId xmlns:a16="http://schemas.microsoft.com/office/drawing/2014/main" id="{94E7600C-2E5A-7F72-D0CD-43C79C43F9F0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59" name="Grafik 36">
                  <a:extLst>
                    <a:ext uri="{FF2B5EF4-FFF2-40B4-BE49-F238E27FC236}">
                      <a16:creationId xmlns:a16="http://schemas.microsoft.com/office/drawing/2014/main" id="{EA113EAD-A9D9-815C-5FEE-FD8010FDFF5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65" name="Grafik 36">
                    <a:extLst>
                      <a:ext uri="{FF2B5EF4-FFF2-40B4-BE49-F238E27FC236}">
                        <a16:creationId xmlns:a16="http://schemas.microsoft.com/office/drawing/2014/main" id="{42C8A170-9277-E9F8-00B4-0B77F8040C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66" name="Grafik 36">
                    <a:extLst>
                      <a:ext uri="{FF2B5EF4-FFF2-40B4-BE49-F238E27FC236}">
                        <a16:creationId xmlns:a16="http://schemas.microsoft.com/office/drawing/2014/main" id="{EB727C68-108A-2185-EFBC-DF698B6B67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67" name="Grafik 36">
                    <a:extLst>
                      <a:ext uri="{FF2B5EF4-FFF2-40B4-BE49-F238E27FC236}">
                        <a16:creationId xmlns:a16="http://schemas.microsoft.com/office/drawing/2014/main" id="{4C374CC8-2033-A665-427E-205C73E950F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60" name="Grafik 36">
                  <a:extLst>
                    <a:ext uri="{FF2B5EF4-FFF2-40B4-BE49-F238E27FC236}">
                      <a16:creationId xmlns:a16="http://schemas.microsoft.com/office/drawing/2014/main" id="{2F9AABD1-92F3-EFC3-9877-67074AC9C7C2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561" name="Grafik 36">
                  <a:extLst>
                    <a:ext uri="{FF2B5EF4-FFF2-40B4-BE49-F238E27FC236}">
                      <a16:creationId xmlns:a16="http://schemas.microsoft.com/office/drawing/2014/main" id="{4E1098FB-3084-5D1E-B495-77A9447A702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62" name="Grafik 36">
                    <a:extLst>
                      <a:ext uri="{FF2B5EF4-FFF2-40B4-BE49-F238E27FC236}">
                        <a16:creationId xmlns:a16="http://schemas.microsoft.com/office/drawing/2014/main" id="{0F6A61D9-EE04-CF51-31B7-B057BD8DA76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63" name="Grafik 36">
                    <a:extLst>
                      <a:ext uri="{FF2B5EF4-FFF2-40B4-BE49-F238E27FC236}">
                        <a16:creationId xmlns:a16="http://schemas.microsoft.com/office/drawing/2014/main" id="{D698D980-C0F2-3EED-EE5D-22AB05BB034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64" name="Grafik 36">
                    <a:extLst>
                      <a:ext uri="{FF2B5EF4-FFF2-40B4-BE49-F238E27FC236}">
                        <a16:creationId xmlns:a16="http://schemas.microsoft.com/office/drawing/2014/main" id="{85348513-94C5-23CD-783D-7AF42215CCA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549" name="Grafik 36">
                <a:extLst>
                  <a:ext uri="{FF2B5EF4-FFF2-40B4-BE49-F238E27FC236}">
                    <a16:creationId xmlns:a16="http://schemas.microsoft.com/office/drawing/2014/main" id="{B693A4C5-7EA1-225E-6AB2-781AE3A32740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50" name="Grafik 36">
                  <a:extLst>
                    <a:ext uri="{FF2B5EF4-FFF2-40B4-BE49-F238E27FC236}">
                      <a16:creationId xmlns:a16="http://schemas.microsoft.com/office/drawing/2014/main" id="{8E06D6AB-01F9-2B7A-81BF-FC850A385C7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56" name="Grafik 36">
                    <a:extLst>
                      <a:ext uri="{FF2B5EF4-FFF2-40B4-BE49-F238E27FC236}">
                        <a16:creationId xmlns:a16="http://schemas.microsoft.com/office/drawing/2014/main" id="{189A8E5E-5DFF-5581-04F3-7D64BD24EA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57" name="Grafik 36">
                    <a:extLst>
                      <a:ext uri="{FF2B5EF4-FFF2-40B4-BE49-F238E27FC236}">
                        <a16:creationId xmlns:a16="http://schemas.microsoft.com/office/drawing/2014/main" id="{1AB67DB4-F7DB-FD41-F350-0087E89F9D0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58" name="Grafik 36">
                    <a:extLst>
                      <a:ext uri="{FF2B5EF4-FFF2-40B4-BE49-F238E27FC236}">
                        <a16:creationId xmlns:a16="http://schemas.microsoft.com/office/drawing/2014/main" id="{C6C02F76-50CB-6FDB-0FBD-09EC2DA6443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51" name="Grafik 36">
                  <a:extLst>
                    <a:ext uri="{FF2B5EF4-FFF2-40B4-BE49-F238E27FC236}">
                      <a16:creationId xmlns:a16="http://schemas.microsoft.com/office/drawing/2014/main" id="{EA708937-3114-930A-2C3F-B71D3251DCF3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52" name="Grafik 36">
                  <a:extLst>
                    <a:ext uri="{FF2B5EF4-FFF2-40B4-BE49-F238E27FC236}">
                      <a16:creationId xmlns:a16="http://schemas.microsoft.com/office/drawing/2014/main" id="{AF16D011-2170-61B6-0944-844F2D3C1D7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53" name="Grafik 36">
                    <a:extLst>
                      <a:ext uri="{FF2B5EF4-FFF2-40B4-BE49-F238E27FC236}">
                        <a16:creationId xmlns:a16="http://schemas.microsoft.com/office/drawing/2014/main" id="{0FC38060-E62B-8993-71B6-400AD04B2A6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54" name="Grafik 36">
                    <a:extLst>
                      <a:ext uri="{FF2B5EF4-FFF2-40B4-BE49-F238E27FC236}">
                        <a16:creationId xmlns:a16="http://schemas.microsoft.com/office/drawing/2014/main" id="{02A62990-291A-BBF5-6567-854C65929A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55" name="Grafik 36">
                    <a:extLst>
                      <a:ext uri="{FF2B5EF4-FFF2-40B4-BE49-F238E27FC236}">
                        <a16:creationId xmlns:a16="http://schemas.microsoft.com/office/drawing/2014/main" id="{BF50F6B0-551E-64E1-FAEA-E47033FE8C4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573" name="Grafik 36">
            <a:extLst>
              <a:ext uri="{FF2B5EF4-FFF2-40B4-BE49-F238E27FC236}">
                <a16:creationId xmlns:a16="http://schemas.microsoft.com/office/drawing/2014/main" id="{3BA6AB2D-830F-5EAC-A6B2-1497FCFFB9EB}"/>
              </a:ext>
            </a:extLst>
          </p:cNvPr>
          <p:cNvGrpSpPr/>
          <p:nvPr/>
        </p:nvGrpSpPr>
        <p:grpSpPr bwMode="gray">
          <a:xfrm>
            <a:off x="5303667" y="3820620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74" name="Grafik 36">
              <a:extLst>
                <a:ext uri="{FF2B5EF4-FFF2-40B4-BE49-F238E27FC236}">
                  <a16:creationId xmlns:a16="http://schemas.microsoft.com/office/drawing/2014/main" id="{5810AA60-EDA2-11A6-B103-A6E4E6126BE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96" name="Grafik 36">
                <a:extLst>
                  <a:ext uri="{FF2B5EF4-FFF2-40B4-BE49-F238E27FC236}">
                    <a16:creationId xmlns:a16="http://schemas.microsoft.com/office/drawing/2014/main" id="{FFDD175E-E1D1-C763-C1A8-65EBFDEB30A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7" name="Grafik 36">
                <a:extLst>
                  <a:ext uri="{FF2B5EF4-FFF2-40B4-BE49-F238E27FC236}">
                    <a16:creationId xmlns:a16="http://schemas.microsoft.com/office/drawing/2014/main" id="{FB41B439-CF3D-1CC1-50BA-283C306E5937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8" name="Grafik 36">
                <a:extLst>
                  <a:ext uri="{FF2B5EF4-FFF2-40B4-BE49-F238E27FC236}">
                    <a16:creationId xmlns:a16="http://schemas.microsoft.com/office/drawing/2014/main" id="{7B86C912-3C07-E8CF-7E94-38F82E6B508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9" name="Grafik 36">
                <a:extLst>
                  <a:ext uri="{FF2B5EF4-FFF2-40B4-BE49-F238E27FC236}">
                    <a16:creationId xmlns:a16="http://schemas.microsoft.com/office/drawing/2014/main" id="{8CCF4820-82D2-0400-419D-9380E315C7B5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0" name="Grafik 36">
                <a:extLst>
                  <a:ext uri="{FF2B5EF4-FFF2-40B4-BE49-F238E27FC236}">
                    <a16:creationId xmlns:a16="http://schemas.microsoft.com/office/drawing/2014/main" id="{AA2DECC7-3AC7-B74D-1300-09F48C6670A5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75" name="Grafik 36">
              <a:extLst>
                <a:ext uri="{FF2B5EF4-FFF2-40B4-BE49-F238E27FC236}">
                  <a16:creationId xmlns:a16="http://schemas.microsoft.com/office/drawing/2014/main" id="{E61DD48B-CCBD-D135-B865-AC011B6E403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76" name="Grafik 36">
                <a:extLst>
                  <a:ext uri="{FF2B5EF4-FFF2-40B4-BE49-F238E27FC236}">
                    <a16:creationId xmlns:a16="http://schemas.microsoft.com/office/drawing/2014/main" id="{EEF2206D-9763-4F89-B282-570B3A256705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87" name="Grafik 36">
                  <a:extLst>
                    <a:ext uri="{FF2B5EF4-FFF2-40B4-BE49-F238E27FC236}">
                      <a16:creationId xmlns:a16="http://schemas.microsoft.com/office/drawing/2014/main" id="{7459C37B-4A1A-D62F-E8D0-BF133268397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93" name="Grafik 36">
                    <a:extLst>
                      <a:ext uri="{FF2B5EF4-FFF2-40B4-BE49-F238E27FC236}">
                        <a16:creationId xmlns:a16="http://schemas.microsoft.com/office/drawing/2014/main" id="{77D342CC-31EA-6083-4827-4A95919562F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94" name="Grafik 36">
                    <a:extLst>
                      <a:ext uri="{FF2B5EF4-FFF2-40B4-BE49-F238E27FC236}">
                        <a16:creationId xmlns:a16="http://schemas.microsoft.com/office/drawing/2014/main" id="{76AA2B5E-D745-BF28-379A-48C0F0691DE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95" name="Grafik 36">
                    <a:extLst>
                      <a:ext uri="{FF2B5EF4-FFF2-40B4-BE49-F238E27FC236}">
                        <a16:creationId xmlns:a16="http://schemas.microsoft.com/office/drawing/2014/main" id="{16E1F35C-1FC1-561D-9442-34470782E03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88" name="Grafik 36">
                  <a:extLst>
                    <a:ext uri="{FF2B5EF4-FFF2-40B4-BE49-F238E27FC236}">
                      <a16:creationId xmlns:a16="http://schemas.microsoft.com/office/drawing/2014/main" id="{E50CB740-09D1-FBB8-1F21-7F8A3AB3259A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589" name="Grafik 36">
                  <a:extLst>
                    <a:ext uri="{FF2B5EF4-FFF2-40B4-BE49-F238E27FC236}">
                      <a16:creationId xmlns:a16="http://schemas.microsoft.com/office/drawing/2014/main" id="{424D286B-F09C-46BA-A2FA-838B690DA44D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90" name="Grafik 36">
                    <a:extLst>
                      <a:ext uri="{FF2B5EF4-FFF2-40B4-BE49-F238E27FC236}">
                        <a16:creationId xmlns:a16="http://schemas.microsoft.com/office/drawing/2014/main" id="{AE5A703A-24C2-7AEC-A32E-B4006191852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91" name="Grafik 36">
                    <a:extLst>
                      <a:ext uri="{FF2B5EF4-FFF2-40B4-BE49-F238E27FC236}">
                        <a16:creationId xmlns:a16="http://schemas.microsoft.com/office/drawing/2014/main" id="{77B2424C-81B0-12F4-06AC-A09B8D2B77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92" name="Grafik 36">
                    <a:extLst>
                      <a:ext uri="{FF2B5EF4-FFF2-40B4-BE49-F238E27FC236}">
                        <a16:creationId xmlns:a16="http://schemas.microsoft.com/office/drawing/2014/main" id="{6F63C714-2861-900E-91B8-543B57F8C1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577" name="Grafik 36">
                <a:extLst>
                  <a:ext uri="{FF2B5EF4-FFF2-40B4-BE49-F238E27FC236}">
                    <a16:creationId xmlns:a16="http://schemas.microsoft.com/office/drawing/2014/main" id="{107C5149-1059-0E55-326B-A4E98C58626B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78" name="Grafik 36">
                  <a:extLst>
                    <a:ext uri="{FF2B5EF4-FFF2-40B4-BE49-F238E27FC236}">
                      <a16:creationId xmlns:a16="http://schemas.microsoft.com/office/drawing/2014/main" id="{5AAF09D9-B544-4181-D4E0-5819B91F07A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84" name="Grafik 36">
                    <a:extLst>
                      <a:ext uri="{FF2B5EF4-FFF2-40B4-BE49-F238E27FC236}">
                        <a16:creationId xmlns:a16="http://schemas.microsoft.com/office/drawing/2014/main" id="{D5E5AC09-C38B-8094-06EC-C6737E31EAE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85" name="Grafik 36">
                    <a:extLst>
                      <a:ext uri="{FF2B5EF4-FFF2-40B4-BE49-F238E27FC236}">
                        <a16:creationId xmlns:a16="http://schemas.microsoft.com/office/drawing/2014/main" id="{3631713F-8FF1-A1A8-04A4-EF41AA2C0B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86" name="Grafik 36">
                    <a:extLst>
                      <a:ext uri="{FF2B5EF4-FFF2-40B4-BE49-F238E27FC236}">
                        <a16:creationId xmlns:a16="http://schemas.microsoft.com/office/drawing/2014/main" id="{836A4991-B159-6905-CCEE-0F4EF127325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79" name="Grafik 36">
                  <a:extLst>
                    <a:ext uri="{FF2B5EF4-FFF2-40B4-BE49-F238E27FC236}">
                      <a16:creationId xmlns:a16="http://schemas.microsoft.com/office/drawing/2014/main" id="{C3B7B972-A79B-7D45-0BFF-E07131648236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80" name="Grafik 36">
                  <a:extLst>
                    <a:ext uri="{FF2B5EF4-FFF2-40B4-BE49-F238E27FC236}">
                      <a16:creationId xmlns:a16="http://schemas.microsoft.com/office/drawing/2014/main" id="{67BAB84A-48BB-3F13-F8B5-08273C450FC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81" name="Grafik 36">
                    <a:extLst>
                      <a:ext uri="{FF2B5EF4-FFF2-40B4-BE49-F238E27FC236}">
                        <a16:creationId xmlns:a16="http://schemas.microsoft.com/office/drawing/2014/main" id="{A9B7A058-624D-0F65-791A-A7B663D325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82" name="Grafik 36">
                    <a:extLst>
                      <a:ext uri="{FF2B5EF4-FFF2-40B4-BE49-F238E27FC236}">
                        <a16:creationId xmlns:a16="http://schemas.microsoft.com/office/drawing/2014/main" id="{EA08AE1F-3A23-07BE-2105-9F22179E0AE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83" name="Grafik 36">
                    <a:extLst>
                      <a:ext uri="{FF2B5EF4-FFF2-40B4-BE49-F238E27FC236}">
                        <a16:creationId xmlns:a16="http://schemas.microsoft.com/office/drawing/2014/main" id="{5D371CFB-EBE1-87A5-1953-9151175D81F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601" name="Grafik 36">
            <a:extLst>
              <a:ext uri="{FF2B5EF4-FFF2-40B4-BE49-F238E27FC236}">
                <a16:creationId xmlns:a16="http://schemas.microsoft.com/office/drawing/2014/main" id="{BAE344F6-BF66-AB03-63BB-89A9B9B988EA}"/>
              </a:ext>
            </a:extLst>
          </p:cNvPr>
          <p:cNvGrpSpPr/>
          <p:nvPr/>
        </p:nvGrpSpPr>
        <p:grpSpPr bwMode="gray">
          <a:xfrm>
            <a:off x="4095252" y="351563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02" name="Grafik 36">
              <a:extLst>
                <a:ext uri="{FF2B5EF4-FFF2-40B4-BE49-F238E27FC236}">
                  <a16:creationId xmlns:a16="http://schemas.microsoft.com/office/drawing/2014/main" id="{4F6A3F14-5808-D52E-745F-81856AE5E57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624" name="Grafik 36">
                <a:extLst>
                  <a:ext uri="{FF2B5EF4-FFF2-40B4-BE49-F238E27FC236}">
                    <a16:creationId xmlns:a16="http://schemas.microsoft.com/office/drawing/2014/main" id="{373E2E7D-96F1-237A-5A8B-A5424658C0BE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5" name="Grafik 36">
                <a:extLst>
                  <a:ext uri="{FF2B5EF4-FFF2-40B4-BE49-F238E27FC236}">
                    <a16:creationId xmlns:a16="http://schemas.microsoft.com/office/drawing/2014/main" id="{D548A85A-EC7A-899A-237C-750804CDC76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6" name="Grafik 36">
                <a:extLst>
                  <a:ext uri="{FF2B5EF4-FFF2-40B4-BE49-F238E27FC236}">
                    <a16:creationId xmlns:a16="http://schemas.microsoft.com/office/drawing/2014/main" id="{2C5EA7A0-D276-6462-F307-0F551F283ACC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7" name="Grafik 36">
                <a:extLst>
                  <a:ext uri="{FF2B5EF4-FFF2-40B4-BE49-F238E27FC236}">
                    <a16:creationId xmlns:a16="http://schemas.microsoft.com/office/drawing/2014/main" id="{4561C7EF-BC8F-CE5A-E69E-20412D373F8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8" name="Grafik 36">
                <a:extLst>
                  <a:ext uri="{FF2B5EF4-FFF2-40B4-BE49-F238E27FC236}">
                    <a16:creationId xmlns:a16="http://schemas.microsoft.com/office/drawing/2014/main" id="{F844355A-F8B1-034C-1B95-444FEF09B7A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03" name="Grafik 36">
              <a:extLst>
                <a:ext uri="{FF2B5EF4-FFF2-40B4-BE49-F238E27FC236}">
                  <a16:creationId xmlns:a16="http://schemas.microsoft.com/office/drawing/2014/main" id="{5F5F33A2-6F94-C499-F11D-1B0C811C1109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04" name="Grafik 36">
                <a:extLst>
                  <a:ext uri="{FF2B5EF4-FFF2-40B4-BE49-F238E27FC236}">
                    <a16:creationId xmlns:a16="http://schemas.microsoft.com/office/drawing/2014/main" id="{47A80579-2135-376D-7E9E-D10E56D8B768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615" name="Grafik 36">
                  <a:extLst>
                    <a:ext uri="{FF2B5EF4-FFF2-40B4-BE49-F238E27FC236}">
                      <a16:creationId xmlns:a16="http://schemas.microsoft.com/office/drawing/2014/main" id="{5A576D1A-CAC3-8A0F-D887-57706B471A7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621" name="Grafik 36">
                    <a:extLst>
                      <a:ext uri="{FF2B5EF4-FFF2-40B4-BE49-F238E27FC236}">
                        <a16:creationId xmlns:a16="http://schemas.microsoft.com/office/drawing/2014/main" id="{1AA6C6B4-4B85-D1FC-FF57-90F04009B49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2" name="Grafik 36">
                    <a:extLst>
                      <a:ext uri="{FF2B5EF4-FFF2-40B4-BE49-F238E27FC236}">
                        <a16:creationId xmlns:a16="http://schemas.microsoft.com/office/drawing/2014/main" id="{ED4BFF20-342B-0BE4-090C-87259B68004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3" name="Grafik 36">
                    <a:extLst>
                      <a:ext uri="{FF2B5EF4-FFF2-40B4-BE49-F238E27FC236}">
                        <a16:creationId xmlns:a16="http://schemas.microsoft.com/office/drawing/2014/main" id="{321C98AF-DD7F-2124-C24C-BDD0F907E7D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16" name="Grafik 36">
                  <a:extLst>
                    <a:ext uri="{FF2B5EF4-FFF2-40B4-BE49-F238E27FC236}">
                      <a16:creationId xmlns:a16="http://schemas.microsoft.com/office/drawing/2014/main" id="{0CED9AF0-3AE2-0CD9-58BE-3B68853778C1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617" name="Grafik 36">
                  <a:extLst>
                    <a:ext uri="{FF2B5EF4-FFF2-40B4-BE49-F238E27FC236}">
                      <a16:creationId xmlns:a16="http://schemas.microsoft.com/office/drawing/2014/main" id="{DCE96EB0-6336-75E7-4861-F1F492F0202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618" name="Grafik 36">
                    <a:extLst>
                      <a:ext uri="{FF2B5EF4-FFF2-40B4-BE49-F238E27FC236}">
                        <a16:creationId xmlns:a16="http://schemas.microsoft.com/office/drawing/2014/main" id="{BEF6D89E-D925-C4E7-6601-9A7C21D4433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9" name="Grafik 36">
                    <a:extLst>
                      <a:ext uri="{FF2B5EF4-FFF2-40B4-BE49-F238E27FC236}">
                        <a16:creationId xmlns:a16="http://schemas.microsoft.com/office/drawing/2014/main" id="{32DE0F07-9AD1-1A68-092D-74B9DD083B6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0" name="Grafik 36">
                    <a:extLst>
                      <a:ext uri="{FF2B5EF4-FFF2-40B4-BE49-F238E27FC236}">
                        <a16:creationId xmlns:a16="http://schemas.microsoft.com/office/drawing/2014/main" id="{3FEADE14-FCEC-2A66-38B0-23AA8C9255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605" name="Grafik 36">
                <a:extLst>
                  <a:ext uri="{FF2B5EF4-FFF2-40B4-BE49-F238E27FC236}">
                    <a16:creationId xmlns:a16="http://schemas.microsoft.com/office/drawing/2014/main" id="{203F7059-1000-C11F-3A37-F7F1B5274F6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06" name="Grafik 36">
                  <a:extLst>
                    <a:ext uri="{FF2B5EF4-FFF2-40B4-BE49-F238E27FC236}">
                      <a16:creationId xmlns:a16="http://schemas.microsoft.com/office/drawing/2014/main" id="{8D9C2CF5-62E7-6FC9-E45D-132DEC03DCA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12" name="Grafik 36">
                    <a:extLst>
                      <a:ext uri="{FF2B5EF4-FFF2-40B4-BE49-F238E27FC236}">
                        <a16:creationId xmlns:a16="http://schemas.microsoft.com/office/drawing/2014/main" id="{FD67ED84-EA4D-1615-D8F8-D32C6979A25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3" name="Grafik 36">
                    <a:extLst>
                      <a:ext uri="{FF2B5EF4-FFF2-40B4-BE49-F238E27FC236}">
                        <a16:creationId xmlns:a16="http://schemas.microsoft.com/office/drawing/2014/main" id="{C9808F96-24CA-C6A0-8F81-DFB31E5645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4" name="Grafik 36">
                    <a:extLst>
                      <a:ext uri="{FF2B5EF4-FFF2-40B4-BE49-F238E27FC236}">
                        <a16:creationId xmlns:a16="http://schemas.microsoft.com/office/drawing/2014/main" id="{CC9FE0E8-6D67-DF56-79EE-13D3AF79743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07" name="Grafik 36">
                  <a:extLst>
                    <a:ext uri="{FF2B5EF4-FFF2-40B4-BE49-F238E27FC236}">
                      <a16:creationId xmlns:a16="http://schemas.microsoft.com/office/drawing/2014/main" id="{EFA8A239-90E4-8702-77E9-CCFC637878E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08" name="Grafik 36">
                  <a:extLst>
                    <a:ext uri="{FF2B5EF4-FFF2-40B4-BE49-F238E27FC236}">
                      <a16:creationId xmlns:a16="http://schemas.microsoft.com/office/drawing/2014/main" id="{E11F3F21-0FEF-CDEF-F9DA-2CE4ACA62DA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09" name="Grafik 36">
                    <a:extLst>
                      <a:ext uri="{FF2B5EF4-FFF2-40B4-BE49-F238E27FC236}">
                        <a16:creationId xmlns:a16="http://schemas.microsoft.com/office/drawing/2014/main" id="{4012A23D-857B-0CD3-FFDA-812CD036931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0" name="Grafik 36">
                    <a:extLst>
                      <a:ext uri="{FF2B5EF4-FFF2-40B4-BE49-F238E27FC236}">
                        <a16:creationId xmlns:a16="http://schemas.microsoft.com/office/drawing/2014/main" id="{2EF37E2E-B42F-234D-D671-0F6ABA1CE80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1" name="Grafik 36">
                    <a:extLst>
                      <a:ext uri="{FF2B5EF4-FFF2-40B4-BE49-F238E27FC236}">
                        <a16:creationId xmlns:a16="http://schemas.microsoft.com/office/drawing/2014/main" id="{B9CA1700-30B0-854A-7845-288DE0C3AF8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sp>
        <p:nvSpPr>
          <p:cNvPr id="632" name="TextBox 631">
            <a:extLst>
              <a:ext uri="{FF2B5EF4-FFF2-40B4-BE49-F238E27FC236}">
                <a16:creationId xmlns:a16="http://schemas.microsoft.com/office/drawing/2014/main" id="{32729FB4-F3B9-C0DB-CD5D-724C26C96A56}"/>
              </a:ext>
            </a:extLst>
          </p:cNvPr>
          <p:cNvSpPr txBox="1"/>
          <p:nvPr/>
        </p:nvSpPr>
        <p:spPr>
          <a:xfrm>
            <a:off x="3957726" y="3917535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2</a:t>
            </a:r>
            <a:endParaRPr lang="en-DE" sz="1100" b="1" dirty="0"/>
          </a:p>
        </p:txBody>
      </p:sp>
      <p:sp>
        <p:nvSpPr>
          <p:cNvPr id="634" name="TextBox 633">
            <a:extLst>
              <a:ext uri="{FF2B5EF4-FFF2-40B4-BE49-F238E27FC236}">
                <a16:creationId xmlns:a16="http://schemas.microsoft.com/office/drawing/2014/main" id="{2FA8B219-E543-8F30-BF71-059AED8BBE9F}"/>
              </a:ext>
            </a:extLst>
          </p:cNvPr>
          <p:cNvSpPr txBox="1"/>
          <p:nvPr/>
        </p:nvSpPr>
        <p:spPr>
          <a:xfrm>
            <a:off x="6533672" y="3781868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8</a:t>
            </a:r>
            <a:endParaRPr lang="en-DE" sz="1100" b="1" dirty="0"/>
          </a:p>
        </p:txBody>
      </p:sp>
      <p:sp>
        <p:nvSpPr>
          <p:cNvPr id="635" name="TextBox 634">
            <a:extLst>
              <a:ext uri="{FF2B5EF4-FFF2-40B4-BE49-F238E27FC236}">
                <a16:creationId xmlns:a16="http://schemas.microsoft.com/office/drawing/2014/main" id="{0EB4F34A-42F4-BD79-DBF2-E8822B9B82F6}"/>
              </a:ext>
            </a:extLst>
          </p:cNvPr>
          <p:cNvSpPr txBox="1"/>
          <p:nvPr/>
        </p:nvSpPr>
        <p:spPr>
          <a:xfrm>
            <a:off x="5704005" y="4176121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4</a:t>
            </a:r>
            <a:endParaRPr lang="en-DE" sz="1100" b="1" dirty="0"/>
          </a:p>
        </p:txBody>
      </p:sp>
      <p:pic>
        <p:nvPicPr>
          <p:cNvPr id="662" name="Graphic 661" descr="Computer outline">
            <a:extLst>
              <a:ext uri="{FF2B5EF4-FFF2-40B4-BE49-F238E27FC236}">
                <a16:creationId xmlns:a16="http://schemas.microsoft.com/office/drawing/2014/main" id="{D8C1BD2A-2A02-6912-D3C6-D12945D5D2F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720833" y="2377764"/>
            <a:ext cx="684020" cy="684020"/>
          </a:xfrm>
          <a:prstGeom prst="rect">
            <a:avLst/>
          </a:prstGeom>
        </p:spPr>
      </p:pic>
      <p:cxnSp>
        <p:nvCxnSpPr>
          <p:cNvPr id="663" name="Straight Connector 662">
            <a:extLst>
              <a:ext uri="{FF2B5EF4-FFF2-40B4-BE49-F238E27FC236}">
                <a16:creationId xmlns:a16="http://schemas.microsoft.com/office/drawing/2014/main" id="{016B34E5-4D60-FF39-7E5D-314326E3C8A1}"/>
              </a:ext>
            </a:extLst>
          </p:cNvPr>
          <p:cNvCxnSpPr>
            <a:cxnSpLocks/>
          </p:cNvCxnSpPr>
          <p:nvPr/>
        </p:nvCxnSpPr>
        <p:spPr>
          <a:xfrm flipV="1">
            <a:off x="3370699" y="2710650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5" name="Graphic 664" descr="Computer outline">
            <a:extLst>
              <a:ext uri="{FF2B5EF4-FFF2-40B4-BE49-F238E27FC236}">
                <a16:creationId xmlns:a16="http://schemas.microsoft.com/office/drawing/2014/main" id="{3FAA4A86-2C66-C1F7-FD21-2FBC76D31A1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649963" y="3407098"/>
            <a:ext cx="684020" cy="684020"/>
          </a:xfrm>
          <a:prstGeom prst="rect">
            <a:avLst/>
          </a:prstGeom>
        </p:spPr>
      </p:pic>
      <p:cxnSp>
        <p:nvCxnSpPr>
          <p:cNvPr id="666" name="Straight Connector 665">
            <a:extLst>
              <a:ext uri="{FF2B5EF4-FFF2-40B4-BE49-F238E27FC236}">
                <a16:creationId xmlns:a16="http://schemas.microsoft.com/office/drawing/2014/main" id="{153DECDE-A1F5-F37D-8B05-ED974D8AD79C}"/>
              </a:ext>
            </a:extLst>
          </p:cNvPr>
          <p:cNvCxnSpPr>
            <a:cxnSpLocks/>
          </p:cNvCxnSpPr>
          <p:nvPr/>
        </p:nvCxnSpPr>
        <p:spPr>
          <a:xfrm flipV="1">
            <a:off x="3301368" y="3726998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8" name="Straight Connector 667">
            <a:extLst>
              <a:ext uri="{FF2B5EF4-FFF2-40B4-BE49-F238E27FC236}">
                <a16:creationId xmlns:a16="http://schemas.microsoft.com/office/drawing/2014/main" id="{CF0B4FE5-DC0E-A164-5F6B-8CAAE2D20A9E}"/>
              </a:ext>
            </a:extLst>
          </p:cNvPr>
          <p:cNvCxnSpPr>
            <a:cxnSpLocks/>
          </p:cNvCxnSpPr>
          <p:nvPr/>
        </p:nvCxnSpPr>
        <p:spPr>
          <a:xfrm flipH="1" flipV="1">
            <a:off x="5484263" y="4186541"/>
            <a:ext cx="20157" cy="57091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1" name="Straight Connector 670">
            <a:extLst>
              <a:ext uri="{FF2B5EF4-FFF2-40B4-BE49-F238E27FC236}">
                <a16:creationId xmlns:a16="http://schemas.microsoft.com/office/drawing/2014/main" id="{66DCF3BC-1351-4EF9-BECF-665293E998B6}"/>
              </a:ext>
            </a:extLst>
          </p:cNvPr>
          <p:cNvCxnSpPr>
            <a:cxnSpLocks/>
          </p:cNvCxnSpPr>
          <p:nvPr/>
        </p:nvCxnSpPr>
        <p:spPr>
          <a:xfrm flipV="1">
            <a:off x="7107112" y="2807070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3" name="Straight Connector 672">
            <a:extLst>
              <a:ext uri="{FF2B5EF4-FFF2-40B4-BE49-F238E27FC236}">
                <a16:creationId xmlns:a16="http://schemas.microsoft.com/office/drawing/2014/main" id="{C90A01AB-23FD-D4A4-8D10-69AA24F57024}"/>
              </a:ext>
            </a:extLst>
          </p:cNvPr>
          <p:cNvCxnSpPr>
            <a:cxnSpLocks/>
          </p:cNvCxnSpPr>
          <p:nvPr/>
        </p:nvCxnSpPr>
        <p:spPr>
          <a:xfrm flipV="1">
            <a:off x="6959558" y="3567416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5" name="Straight Connector 674">
            <a:extLst>
              <a:ext uri="{FF2B5EF4-FFF2-40B4-BE49-F238E27FC236}">
                <a16:creationId xmlns:a16="http://schemas.microsoft.com/office/drawing/2014/main" id="{87A56567-14A8-8616-8437-CC3AA6CE47B9}"/>
              </a:ext>
            </a:extLst>
          </p:cNvPr>
          <p:cNvCxnSpPr>
            <a:cxnSpLocks/>
            <a:stCxn id="82" idx="5"/>
            <a:endCxn id="737" idx="0"/>
          </p:cNvCxnSpPr>
          <p:nvPr/>
        </p:nvCxnSpPr>
        <p:spPr>
          <a:xfrm flipH="1" flipV="1">
            <a:off x="8459069" y="5001838"/>
            <a:ext cx="298740" cy="784929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7" name="TextBox 676">
            <a:extLst>
              <a:ext uri="{FF2B5EF4-FFF2-40B4-BE49-F238E27FC236}">
                <a16:creationId xmlns:a16="http://schemas.microsoft.com/office/drawing/2014/main" id="{0B928533-CF7A-04BC-ABDA-5AA8D908F9A3}"/>
              </a:ext>
            </a:extLst>
          </p:cNvPr>
          <p:cNvSpPr txBox="1"/>
          <p:nvPr/>
        </p:nvSpPr>
        <p:spPr>
          <a:xfrm>
            <a:off x="3708539" y="3667631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sp>
        <p:nvSpPr>
          <p:cNvPr id="678" name="TextBox 677">
            <a:extLst>
              <a:ext uri="{FF2B5EF4-FFF2-40B4-BE49-F238E27FC236}">
                <a16:creationId xmlns:a16="http://schemas.microsoft.com/office/drawing/2014/main" id="{254D84F8-E0FB-5CEE-19D3-26864C9C7C88}"/>
              </a:ext>
            </a:extLst>
          </p:cNvPr>
          <p:cNvSpPr txBox="1"/>
          <p:nvPr/>
        </p:nvSpPr>
        <p:spPr>
          <a:xfrm>
            <a:off x="7045080" y="2626967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sp>
        <p:nvSpPr>
          <p:cNvPr id="679" name="TextBox 678">
            <a:extLst>
              <a:ext uri="{FF2B5EF4-FFF2-40B4-BE49-F238E27FC236}">
                <a16:creationId xmlns:a16="http://schemas.microsoft.com/office/drawing/2014/main" id="{27D1D2E6-37C8-805B-25E5-5C6E879F03B3}"/>
              </a:ext>
            </a:extLst>
          </p:cNvPr>
          <p:cNvSpPr txBox="1"/>
          <p:nvPr/>
        </p:nvSpPr>
        <p:spPr>
          <a:xfrm>
            <a:off x="6896654" y="3544995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sp>
        <p:nvSpPr>
          <p:cNvPr id="680" name="TextBox 679">
            <a:extLst>
              <a:ext uri="{FF2B5EF4-FFF2-40B4-BE49-F238E27FC236}">
                <a16:creationId xmlns:a16="http://schemas.microsoft.com/office/drawing/2014/main" id="{9BE13B77-BE3E-6E6F-4695-2BA1335D624A}"/>
              </a:ext>
            </a:extLst>
          </p:cNvPr>
          <p:cNvSpPr txBox="1"/>
          <p:nvPr/>
        </p:nvSpPr>
        <p:spPr>
          <a:xfrm>
            <a:off x="5093321" y="4194873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sp>
        <p:nvSpPr>
          <p:cNvPr id="714" name="TextBox 713">
            <a:extLst>
              <a:ext uri="{FF2B5EF4-FFF2-40B4-BE49-F238E27FC236}">
                <a16:creationId xmlns:a16="http://schemas.microsoft.com/office/drawing/2014/main" id="{A49BB5BD-39AB-A7DA-76F4-7450BD64D717}"/>
              </a:ext>
            </a:extLst>
          </p:cNvPr>
          <p:cNvSpPr txBox="1"/>
          <p:nvPr/>
        </p:nvSpPr>
        <p:spPr>
          <a:xfrm>
            <a:off x="3250268" y="3511866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2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5" name="TextBox 714">
            <a:extLst>
              <a:ext uri="{FF2B5EF4-FFF2-40B4-BE49-F238E27FC236}">
                <a16:creationId xmlns:a16="http://schemas.microsoft.com/office/drawing/2014/main" id="{1E88A6D6-9C59-F529-A41E-F41DCB802CFF}"/>
              </a:ext>
            </a:extLst>
          </p:cNvPr>
          <p:cNvSpPr txBox="1"/>
          <p:nvPr/>
        </p:nvSpPr>
        <p:spPr>
          <a:xfrm>
            <a:off x="4561572" y="4275073"/>
            <a:ext cx="72006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2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3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4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5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60.0.0.2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6" name="TextBox 715">
            <a:extLst>
              <a:ext uri="{FF2B5EF4-FFF2-40B4-BE49-F238E27FC236}">
                <a16:creationId xmlns:a16="http://schemas.microsoft.com/office/drawing/2014/main" id="{9D68AFE0-A88F-E504-91E5-451DF6B1A51D}"/>
              </a:ext>
            </a:extLst>
          </p:cNvPr>
          <p:cNvSpPr txBox="1"/>
          <p:nvPr/>
        </p:nvSpPr>
        <p:spPr>
          <a:xfrm>
            <a:off x="7252853" y="2777526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3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7" name="TextBox 716">
            <a:extLst>
              <a:ext uri="{FF2B5EF4-FFF2-40B4-BE49-F238E27FC236}">
                <a16:creationId xmlns:a16="http://schemas.microsoft.com/office/drawing/2014/main" id="{CC2C0113-3694-FB02-9F59-79DC2702D6B8}"/>
              </a:ext>
            </a:extLst>
          </p:cNvPr>
          <p:cNvSpPr txBox="1"/>
          <p:nvPr/>
        </p:nvSpPr>
        <p:spPr>
          <a:xfrm>
            <a:off x="7105880" y="3363156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4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8" name="TextBox 717">
            <a:extLst>
              <a:ext uri="{FF2B5EF4-FFF2-40B4-BE49-F238E27FC236}">
                <a16:creationId xmlns:a16="http://schemas.microsoft.com/office/drawing/2014/main" id="{8091164F-4156-6BBF-741B-23B7177C9636}"/>
              </a:ext>
            </a:extLst>
          </p:cNvPr>
          <p:cNvSpPr txBox="1"/>
          <p:nvPr/>
        </p:nvSpPr>
        <p:spPr>
          <a:xfrm>
            <a:off x="5977478" y="4927771"/>
            <a:ext cx="100860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92.168.100.0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9" name="TextBox 718">
            <a:extLst>
              <a:ext uri="{FF2B5EF4-FFF2-40B4-BE49-F238E27FC236}">
                <a16:creationId xmlns:a16="http://schemas.microsoft.com/office/drawing/2014/main" id="{0DE977BC-C443-A096-3456-66CB3264D827}"/>
              </a:ext>
            </a:extLst>
          </p:cNvPr>
          <p:cNvSpPr txBox="1"/>
          <p:nvPr/>
        </p:nvSpPr>
        <p:spPr>
          <a:xfrm>
            <a:off x="1897811" y="2216832"/>
            <a:ext cx="40748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PC1</a:t>
            </a:r>
            <a:endParaRPr lang="en-DE" sz="1100" b="1" dirty="0"/>
          </a:p>
        </p:txBody>
      </p:sp>
      <p:grpSp>
        <p:nvGrpSpPr>
          <p:cNvPr id="114" name="Grafik 3753">
            <a:extLst>
              <a:ext uri="{FF2B5EF4-FFF2-40B4-BE49-F238E27FC236}">
                <a16:creationId xmlns:a16="http://schemas.microsoft.com/office/drawing/2014/main" id="{8A5EBCA0-01E3-D0B3-2EE8-3B5AC90B1790}"/>
              </a:ext>
            </a:extLst>
          </p:cNvPr>
          <p:cNvGrpSpPr/>
          <p:nvPr/>
        </p:nvGrpSpPr>
        <p:grpSpPr bwMode="gray">
          <a:xfrm>
            <a:off x="3001553" y="2498501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15" name="Grafik 3753">
              <a:extLst>
                <a:ext uri="{FF2B5EF4-FFF2-40B4-BE49-F238E27FC236}">
                  <a16:creationId xmlns:a16="http://schemas.microsoft.com/office/drawing/2014/main" id="{F97B7B12-9198-0A2A-290F-C3FE57BB8A0E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118" name="Grafik 3753">
                <a:extLst>
                  <a:ext uri="{FF2B5EF4-FFF2-40B4-BE49-F238E27FC236}">
                    <a16:creationId xmlns:a16="http://schemas.microsoft.com/office/drawing/2014/main" id="{08AEE683-760A-7CA2-FD50-7FF4DE983805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515" name="Grafik 3753">
                  <a:extLst>
                    <a:ext uri="{FF2B5EF4-FFF2-40B4-BE49-F238E27FC236}">
                      <a16:creationId xmlns:a16="http://schemas.microsoft.com/office/drawing/2014/main" id="{BB8F6770-64EB-2BA7-114E-ED30CE4D27A7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16" name="Grafik 3753">
                  <a:extLst>
                    <a:ext uri="{FF2B5EF4-FFF2-40B4-BE49-F238E27FC236}">
                      <a16:creationId xmlns:a16="http://schemas.microsoft.com/office/drawing/2014/main" id="{AA8254F2-B063-6F1A-B3F4-992D26079F98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37" name="Grafik 3753">
                  <a:extLst>
                    <a:ext uri="{FF2B5EF4-FFF2-40B4-BE49-F238E27FC236}">
                      <a16:creationId xmlns:a16="http://schemas.microsoft.com/office/drawing/2014/main" id="{7007DDB3-2DCC-3E5A-143D-816B0B3676FD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9" name="Grafik 3753">
                <a:extLst>
                  <a:ext uri="{FF2B5EF4-FFF2-40B4-BE49-F238E27FC236}">
                    <a16:creationId xmlns:a16="http://schemas.microsoft.com/office/drawing/2014/main" id="{D0550389-7566-2303-7FC1-D89DCA085B56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512" name="Grafik 3753">
                  <a:extLst>
                    <a:ext uri="{FF2B5EF4-FFF2-40B4-BE49-F238E27FC236}">
                      <a16:creationId xmlns:a16="http://schemas.microsoft.com/office/drawing/2014/main" id="{12AD5688-AF6E-27A3-B2B9-A1D53DB96FA8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13" name="Grafik 3753">
                  <a:extLst>
                    <a:ext uri="{FF2B5EF4-FFF2-40B4-BE49-F238E27FC236}">
                      <a16:creationId xmlns:a16="http://schemas.microsoft.com/office/drawing/2014/main" id="{37725124-B1C7-92B1-DC9B-73EE3F145DD2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14" name="Grafik 3753">
                  <a:extLst>
                    <a:ext uri="{FF2B5EF4-FFF2-40B4-BE49-F238E27FC236}">
                      <a16:creationId xmlns:a16="http://schemas.microsoft.com/office/drawing/2014/main" id="{FC849F3C-15B7-E799-F2CB-FA2D0E0278FF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20" name="Grafik 3753">
                <a:extLst>
                  <a:ext uri="{FF2B5EF4-FFF2-40B4-BE49-F238E27FC236}">
                    <a16:creationId xmlns:a16="http://schemas.microsoft.com/office/drawing/2014/main" id="{0AD1FC43-EE9C-37A7-A429-14A4617BEF50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125" name="Grafik 3753">
                  <a:extLst>
                    <a:ext uri="{FF2B5EF4-FFF2-40B4-BE49-F238E27FC236}">
                      <a16:creationId xmlns:a16="http://schemas.microsoft.com/office/drawing/2014/main" id="{06B3E731-A3C1-4C7C-CA1F-CBC312745A0C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6" name="Grafik 3753">
                  <a:extLst>
                    <a:ext uri="{FF2B5EF4-FFF2-40B4-BE49-F238E27FC236}">
                      <a16:creationId xmlns:a16="http://schemas.microsoft.com/office/drawing/2014/main" id="{969E33B5-3F25-AB4C-2B85-D0A6ED56F52F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7" name="Grafik 3753">
                  <a:extLst>
                    <a:ext uri="{FF2B5EF4-FFF2-40B4-BE49-F238E27FC236}">
                      <a16:creationId xmlns:a16="http://schemas.microsoft.com/office/drawing/2014/main" id="{FE770A6D-7FE1-46C9-299E-F6AFBEBE4A05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21" name="Grafik 3753">
                <a:extLst>
                  <a:ext uri="{FF2B5EF4-FFF2-40B4-BE49-F238E27FC236}">
                    <a16:creationId xmlns:a16="http://schemas.microsoft.com/office/drawing/2014/main" id="{BEB95C82-FA05-5570-6EBA-4A8EC1C5E0D3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122" name="Grafik 3753">
                  <a:extLst>
                    <a:ext uri="{FF2B5EF4-FFF2-40B4-BE49-F238E27FC236}">
                      <a16:creationId xmlns:a16="http://schemas.microsoft.com/office/drawing/2014/main" id="{D0D564BE-4DDA-37C4-B8BC-5854CF5D1673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3" name="Grafik 3753">
                  <a:extLst>
                    <a:ext uri="{FF2B5EF4-FFF2-40B4-BE49-F238E27FC236}">
                      <a16:creationId xmlns:a16="http://schemas.microsoft.com/office/drawing/2014/main" id="{2E386C9D-14E7-A7EB-C5D1-5F4B62DB551F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4" name="Grafik 3753">
                  <a:extLst>
                    <a:ext uri="{FF2B5EF4-FFF2-40B4-BE49-F238E27FC236}">
                      <a16:creationId xmlns:a16="http://schemas.microsoft.com/office/drawing/2014/main" id="{19EEF007-C9F9-876B-4913-F949B52C0D3C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116" name="Grafik 3753">
              <a:extLst>
                <a:ext uri="{FF2B5EF4-FFF2-40B4-BE49-F238E27FC236}">
                  <a16:creationId xmlns:a16="http://schemas.microsoft.com/office/drawing/2014/main" id="{BFC0C357-107B-1FED-E774-B32D48E38BDF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7" name="Grafik 3753">
              <a:extLst>
                <a:ext uri="{FF2B5EF4-FFF2-40B4-BE49-F238E27FC236}">
                  <a16:creationId xmlns:a16="http://schemas.microsoft.com/office/drawing/2014/main" id="{5E6AB686-B6FB-EE44-295D-AF3169A5F48D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638" name="Grafik 3753">
            <a:extLst>
              <a:ext uri="{FF2B5EF4-FFF2-40B4-BE49-F238E27FC236}">
                <a16:creationId xmlns:a16="http://schemas.microsoft.com/office/drawing/2014/main" id="{A653574B-0C08-AEB2-D480-3816B441D47C}"/>
              </a:ext>
            </a:extLst>
          </p:cNvPr>
          <p:cNvGrpSpPr/>
          <p:nvPr/>
        </p:nvGrpSpPr>
        <p:grpSpPr bwMode="gray">
          <a:xfrm>
            <a:off x="2936522" y="3522695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39" name="Grafik 3753">
              <a:extLst>
                <a:ext uri="{FF2B5EF4-FFF2-40B4-BE49-F238E27FC236}">
                  <a16:creationId xmlns:a16="http://schemas.microsoft.com/office/drawing/2014/main" id="{31044341-536C-6088-92E2-6CEAA136F180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644" name="Grafik 3753">
                <a:extLst>
                  <a:ext uri="{FF2B5EF4-FFF2-40B4-BE49-F238E27FC236}">
                    <a16:creationId xmlns:a16="http://schemas.microsoft.com/office/drawing/2014/main" id="{F20B1A98-AA88-3FAF-7EE8-A3A0A1BBA82A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669" name="Grafik 3753">
                  <a:extLst>
                    <a:ext uri="{FF2B5EF4-FFF2-40B4-BE49-F238E27FC236}">
                      <a16:creationId xmlns:a16="http://schemas.microsoft.com/office/drawing/2014/main" id="{825FA549-9080-0785-4DE8-E0892A167033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0" name="Grafik 3753">
                  <a:extLst>
                    <a:ext uri="{FF2B5EF4-FFF2-40B4-BE49-F238E27FC236}">
                      <a16:creationId xmlns:a16="http://schemas.microsoft.com/office/drawing/2014/main" id="{8BABE1C1-5114-414B-1853-7355E5C3448D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1" name="Grafik 3753">
                  <a:extLst>
                    <a:ext uri="{FF2B5EF4-FFF2-40B4-BE49-F238E27FC236}">
                      <a16:creationId xmlns:a16="http://schemas.microsoft.com/office/drawing/2014/main" id="{D33114B3-98E7-CC46-96B0-AE61DFB4AB7B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45" name="Grafik 3753">
                <a:extLst>
                  <a:ext uri="{FF2B5EF4-FFF2-40B4-BE49-F238E27FC236}">
                    <a16:creationId xmlns:a16="http://schemas.microsoft.com/office/drawing/2014/main" id="{E6428E35-3C4E-455D-241B-D33883E10B05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657" name="Grafik 3753">
                  <a:extLst>
                    <a:ext uri="{FF2B5EF4-FFF2-40B4-BE49-F238E27FC236}">
                      <a16:creationId xmlns:a16="http://schemas.microsoft.com/office/drawing/2014/main" id="{10FD0FD1-BBE1-554E-AB2A-36619AAF4325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1" name="Grafik 3753">
                  <a:extLst>
                    <a:ext uri="{FF2B5EF4-FFF2-40B4-BE49-F238E27FC236}">
                      <a16:creationId xmlns:a16="http://schemas.microsoft.com/office/drawing/2014/main" id="{9D603C83-2795-4736-A42C-73DD1B0789D1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4" name="Grafik 3753">
                  <a:extLst>
                    <a:ext uri="{FF2B5EF4-FFF2-40B4-BE49-F238E27FC236}">
                      <a16:creationId xmlns:a16="http://schemas.microsoft.com/office/drawing/2014/main" id="{A1C38FED-CDBF-5EED-7246-262100BBAF59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47" name="Grafik 3753">
                <a:extLst>
                  <a:ext uri="{FF2B5EF4-FFF2-40B4-BE49-F238E27FC236}">
                    <a16:creationId xmlns:a16="http://schemas.microsoft.com/office/drawing/2014/main" id="{8E3B9C95-5ADA-FB5B-347D-9B906F5E7219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654" name="Grafik 3753">
                  <a:extLst>
                    <a:ext uri="{FF2B5EF4-FFF2-40B4-BE49-F238E27FC236}">
                      <a16:creationId xmlns:a16="http://schemas.microsoft.com/office/drawing/2014/main" id="{52DC14A7-8F6D-091D-AB45-CDEE31D36855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5" name="Grafik 3753">
                  <a:extLst>
                    <a:ext uri="{FF2B5EF4-FFF2-40B4-BE49-F238E27FC236}">
                      <a16:creationId xmlns:a16="http://schemas.microsoft.com/office/drawing/2014/main" id="{D192D827-0E63-B8FA-3823-A46682C48C2C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6" name="Grafik 3753">
                  <a:extLst>
                    <a:ext uri="{FF2B5EF4-FFF2-40B4-BE49-F238E27FC236}">
                      <a16:creationId xmlns:a16="http://schemas.microsoft.com/office/drawing/2014/main" id="{A9A9B86D-C486-4EBB-C8C2-0D2E7746DD9B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48" name="Grafik 3753">
                <a:extLst>
                  <a:ext uri="{FF2B5EF4-FFF2-40B4-BE49-F238E27FC236}">
                    <a16:creationId xmlns:a16="http://schemas.microsoft.com/office/drawing/2014/main" id="{978A0C9E-0B15-C5E4-B82F-C4003F8FBE38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649" name="Grafik 3753">
                  <a:extLst>
                    <a:ext uri="{FF2B5EF4-FFF2-40B4-BE49-F238E27FC236}">
                      <a16:creationId xmlns:a16="http://schemas.microsoft.com/office/drawing/2014/main" id="{479ED2E4-15B1-6BF4-207A-50C6654537A8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0" name="Grafik 3753">
                  <a:extLst>
                    <a:ext uri="{FF2B5EF4-FFF2-40B4-BE49-F238E27FC236}">
                      <a16:creationId xmlns:a16="http://schemas.microsoft.com/office/drawing/2014/main" id="{0DC1044B-8ECF-521E-A059-2FB720F2FD80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3" name="Grafik 3753">
                  <a:extLst>
                    <a:ext uri="{FF2B5EF4-FFF2-40B4-BE49-F238E27FC236}">
                      <a16:creationId xmlns:a16="http://schemas.microsoft.com/office/drawing/2014/main" id="{0E0996B9-9451-76E1-30BF-4D932A210112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640" name="Grafik 3753">
              <a:extLst>
                <a:ext uri="{FF2B5EF4-FFF2-40B4-BE49-F238E27FC236}">
                  <a16:creationId xmlns:a16="http://schemas.microsoft.com/office/drawing/2014/main" id="{9F7ECB8B-A020-C71E-D678-DED67F7CC092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41" name="Grafik 3753">
              <a:extLst>
                <a:ext uri="{FF2B5EF4-FFF2-40B4-BE49-F238E27FC236}">
                  <a16:creationId xmlns:a16="http://schemas.microsoft.com/office/drawing/2014/main" id="{E8B04E10-0722-9BAC-EA17-6F35EE4ED267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pic>
        <p:nvPicPr>
          <p:cNvPr id="192" name="Graphic 191" descr="Computer outline">
            <a:extLst>
              <a:ext uri="{FF2B5EF4-FFF2-40B4-BE49-F238E27FC236}">
                <a16:creationId xmlns:a16="http://schemas.microsoft.com/office/drawing/2014/main" id="{96EB4240-55CD-4292-663A-F18138DDF6B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73883" y="2501108"/>
            <a:ext cx="684020" cy="684020"/>
          </a:xfrm>
          <a:prstGeom prst="rect">
            <a:avLst/>
          </a:prstGeom>
        </p:spPr>
      </p:pic>
      <p:pic>
        <p:nvPicPr>
          <p:cNvPr id="193" name="Graphic 192" descr="Computer outline">
            <a:extLst>
              <a:ext uri="{FF2B5EF4-FFF2-40B4-BE49-F238E27FC236}">
                <a16:creationId xmlns:a16="http://schemas.microsoft.com/office/drawing/2014/main" id="{80DA709B-B7E1-8347-B0AB-00A47A96DE8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724433" y="3284462"/>
            <a:ext cx="684020" cy="684020"/>
          </a:xfrm>
          <a:prstGeom prst="rect">
            <a:avLst/>
          </a:prstGeom>
        </p:spPr>
      </p:pic>
      <p:grpSp>
        <p:nvGrpSpPr>
          <p:cNvPr id="194" name="Grafik 3753">
            <a:extLst>
              <a:ext uri="{FF2B5EF4-FFF2-40B4-BE49-F238E27FC236}">
                <a16:creationId xmlns:a16="http://schemas.microsoft.com/office/drawing/2014/main" id="{AE973857-BB2F-BA7F-6AE9-CFC524C4C593}"/>
              </a:ext>
            </a:extLst>
          </p:cNvPr>
          <p:cNvGrpSpPr/>
          <p:nvPr/>
        </p:nvGrpSpPr>
        <p:grpSpPr bwMode="gray">
          <a:xfrm>
            <a:off x="7901784" y="2635662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95" name="Grafik 3753">
              <a:extLst>
                <a:ext uri="{FF2B5EF4-FFF2-40B4-BE49-F238E27FC236}">
                  <a16:creationId xmlns:a16="http://schemas.microsoft.com/office/drawing/2014/main" id="{7C9027C8-AA83-F653-3805-61F00AA73D85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198" name="Grafik 3753">
                <a:extLst>
                  <a:ext uri="{FF2B5EF4-FFF2-40B4-BE49-F238E27FC236}">
                    <a16:creationId xmlns:a16="http://schemas.microsoft.com/office/drawing/2014/main" id="{08F69EB4-7D18-8B5C-4246-ACDCEB4FFE2C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212" name="Grafik 3753">
                  <a:extLst>
                    <a:ext uri="{FF2B5EF4-FFF2-40B4-BE49-F238E27FC236}">
                      <a16:creationId xmlns:a16="http://schemas.microsoft.com/office/drawing/2014/main" id="{B71C2917-4F1C-8D2C-A249-B59C4B70947C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14" name="Grafik 3753">
                  <a:extLst>
                    <a:ext uri="{FF2B5EF4-FFF2-40B4-BE49-F238E27FC236}">
                      <a16:creationId xmlns:a16="http://schemas.microsoft.com/office/drawing/2014/main" id="{B6FA3380-0BFB-685C-7E61-93DEEC450DAA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15" name="Grafik 3753">
                  <a:extLst>
                    <a:ext uri="{FF2B5EF4-FFF2-40B4-BE49-F238E27FC236}">
                      <a16:creationId xmlns:a16="http://schemas.microsoft.com/office/drawing/2014/main" id="{7EBE21BA-0A7E-D42F-0574-55585B26421F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99" name="Grafik 3753">
                <a:extLst>
                  <a:ext uri="{FF2B5EF4-FFF2-40B4-BE49-F238E27FC236}">
                    <a16:creationId xmlns:a16="http://schemas.microsoft.com/office/drawing/2014/main" id="{C3B0579C-96CD-57B6-EFC9-034898F88F9A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208" name="Grafik 3753">
                  <a:extLst>
                    <a:ext uri="{FF2B5EF4-FFF2-40B4-BE49-F238E27FC236}">
                      <a16:creationId xmlns:a16="http://schemas.microsoft.com/office/drawing/2014/main" id="{1EC01FEB-B32C-69D9-7DF4-6D159257BEC6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9" name="Grafik 3753">
                  <a:extLst>
                    <a:ext uri="{FF2B5EF4-FFF2-40B4-BE49-F238E27FC236}">
                      <a16:creationId xmlns:a16="http://schemas.microsoft.com/office/drawing/2014/main" id="{7A24405C-30BA-2214-6435-6D591D516600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11" name="Grafik 3753">
                  <a:extLst>
                    <a:ext uri="{FF2B5EF4-FFF2-40B4-BE49-F238E27FC236}">
                      <a16:creationId xmlns:a16="http://schemas.microsoft.com/office/drawing/2014/main" id="{8ADD5381-2CC9-D050-9270-875FB66D0270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00" name="Grafik 3753">
                <a:extLst>
                  <a:ext uri="{FF2B5EF4-FFF2-40B4-BE49-F238E27FC236}">
                    <a16:creationId xmlns:a16="http://schemas.microsoft.com/office/drawing/2014/main" id="{8B93BB8B-0FEB-F0C8-B23A-210B1FB6358B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205" name="Grafik 3753">
                  <a:extLst>
                    <a:ext uri="{FF2B5EF4-FFF2-40B4-BE49-F238E27FC236}">
                      <a16:creationId xmlns:a16="http://schemas.microsoft.com/office/drawing/2014/main" id="{5224CE5D-E2B1-6F09-E48B-9F514576E3FF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6" name="Grafik 3753">
                  <a:extLst>
                    <a:ext uri="{FF2B5EF4-FFF2-40B4-BE49-F238E27FC236}">
                      <a16:creationId xmlns:a16="http://schemas.microsoft.com/office/drawing/2014/main" id="{FFCD869B-E1C6-D926-8EF9-8757578084AB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7" name="Grafik 3753">
                  <a:extLst>
                    <a:ext uri="{FF2B5EF4-FFF2-40B4-BE49-F238E27FC236}">
                      <a16:creationId xmlns:a16="http://schemas.microsoft.com/office/drawing/2014/main" id="{709C9085-6D66-B639-304E-AC1192B2C7AC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01" name="Grafik 3753">
                <a:extLst>
                  <a:ext uri="{FF2B5EF4-FFF2-40B4-BE49-F238E27FC236}">
                    <a16:creationId xmlns:a16="http://schemas.microsoft.com/office/drawing/2014/main" id="{35844EE3-D63A-B1A4-2E17-22181E10B24B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202" name="Grafik 3753">
                  <a:extLst>
                    <a:ext uri="{FF2B5EF4-FFF2-40B4-BE49-F238E27FC236}">
                      <a16:creationId xmlns:a16="http://schemas.microsoft.com/office/drawing/2014/main" id="{23FB1CE4-6D85-B840-6AAD-4B857A96CBFF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3" name="Grafik 3753">
                  <a:extLst>
                    <a:ext uri="{FF2B5EF4-FFF2-40B4-BE49-F238E27FC236}">
                      <a16:creationId xmlns:a16="http://schemas.microsoft.com/office/drawing/2014/main" id="{CE1725FF-AF70-02A0-D801-52C6FE7120DC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4" name="Grafik 3753">
                  <a:extLst>
                    <a:ext uri="{FF2B5EF4-FFF2-40B4-BE49-F238E27FC236}">
                      <a16:creationId xmlns:a16="http://schemas.microsoft.com/office/drawing/2014/main" id="{E2D404E5-4FAD-46BC-11CB-B74B99F47EAE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196" name="Grafik 3753">
              <a:extLst>
                <a:ext uri="{FF2B5EF4-FFF2-40B4-BE49-F238E27FC236}">
                  <a16:creationId xmlns:a16="http://schemas.microsoft.com/office/drawing/2014/main" id="{13E0804A-93AA-C874-3569-433177D54F34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7" name="Grafik 3753">
              <a:extLst>
                <a:ext uri="{FF2B5EF4-FFF2-40B4-BE49-F238E27FC236}">
                  <a16:creationId xmlns:a16="http://schemas.microsoft.com/office/drawing/2014/main" id="{03AD73CD-9148-0CBB-1578-2BA3E11B2B55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17" name="Grafik 3753">
            <a:extLst>
              <a:ext uri="{FF2B5EF4-FFF2-40B4-BE49-F238E27FC236}">
                <a16:creationId xmlns:a16="http://schemas.microsoft.com/office/drawing/2014/main" id="{75B8C10D-658A-0F72-AB6A-6F1BA59314E3}"/>
              </a:ext>
            </a:extLst>
          </p:cNvPr>
          <p:cNvGrpSpPr/>
          <p:nvPr/>
        </p:nvGrpSpPr>
        <p:grpSpPr bwMode="gray">
          <a:xfrm>
            <a:off x="7745972" y="3413876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18" name="Grafik 3753">
              <a:extLst>
                <a:ext uri="{FF2B5EF4-FFF2-40B4-BE49-F238E27FC236}">
                  <a16:creationId xmlns:a16="http://schemas.microsoft.com/office/drawing/2014/main" id="{F04C4DF6-A3DF-6698-3E42-C0CEEF074C55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224" name="Grafik 3753">
                <a:extLst>
                  <a:ext uri="{FF2B5EF4-FFF2-40B4-BE49-F238E27FC236}">
                    <a16:creationId xmlns:a16="http://schemas.microsoft.com/office/drawing/2014/main" id="{F60E6F4F-76F5-66F1-3C1E-F99EA208EFC8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242" name="Grafik 3753">
                  <a:extLst>
                    <a:ext uri="{FF2B5EF4-FFF2-40B4-BE49-F238E27FC236}">
                      <a16:creationId xmlns:a16="http://schemas.microsoft.com/office/drawing/2014/main" id="{3B23642E-24C4-F656-AD6F-0254124BE5E5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43" name="Grafik 3753">
                  <a:extLst>
                    <a:ext uri="{FF2B5EF4-FFF2-40B4-BE49-F238E27FC236}">
                      <a16:creationId xmlns:a16="http://schemas.microsoft.com/office/drawing/2014/main" id="{88634509-0C96-634D-E8E0-C578D8B43B39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44" name="Grafik 3753">
                  <a:extLst>
                    <a:ext uri="{FF2B5EF4-FFF2-40B4-BE49-F238E27FC236}">
                      <a16:creationId xmlns:a16="http://schemas.microsoft.com/office/drawing/2014/main" id="{B9A55059-1FD1-E86B-C92F-3AFE2BD1C04F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25" name="Grafik 3753">
                <a:extLst>
                  <a:ext uri="{FF2B5EF4-FFF2-40B4-BE49-F238E27FC236}">
                    <a16:creationId xmlns:a16="http://schemas.microsoft.com/office/drawing/2014/main" id="{AAABD00C-6925-D811-5AF7-BFF8A2DE082C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239" name="Grafik 3753">
                  <a:extLst>
                    <a:ext uri="{FF2B5EF4-FFF2-40B4-BE49-F238E27FC236}">
                      <a16:creationId xmlns:a16="http://schemas.microsoft.com/office/drawing/2014/main" id="{2F64D9D5-D660-4B88-D985-F7DF608AB2E0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40" name="Grafik 3753">
                  <a:extLst>
                    <a:ext uri="{FF2B5EF4-FFF2-40B4-BE49-F238E27FC236}">
                      <a16:creationId xmlns:a16="http://schemas.microsoft.com/office/drawing/2014/main" id="{5076EF09-A5C4-A100-5FD3-4166EC1158D7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41" name="Grafik 3753">
                  <a:extLst>
                    <a:ext uri="{FF2B5EF4-FFF2-40B4-BE49-F238E27FC236}">
                      <a16:creationId xmlns:a16="http://schemas.microsoft.com/office/drawing/2014/main" id="{76CB0B77-EA35-5143-558C-615CB25ED2E8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26" name="Grafik 3753">
                <a:extLst>
                  <a:ext uri="{FF2B5EF4-FFF2-40B4-BE49-F238E27FC236}">
                    <a16:creationId xmlns:a16="http://schemas.microsoft.com/office/drawing/2014/main" id="{43128D69-0D5C-0A44-A4DD-4DB52C9D2083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236" name="Grafik 3753">
                  <a:extLst>
                    <a:ext uri="{FF2B5EF4-FFF2-40B4-BE49-F238E27FC236}">
                      <a16:creationId xmlns:a16="http://schemas.microsoft.com/office/drawing/2014/main" id="{0B678025-C6DD-2C1B-5DA0-AB384E2E26B6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7" name="Grafik 3753">
                  <a:extLst>
                    <a:ext uri="{FF2B5EF4-FFF2-40B4-BE49-F238E27FC236}">
                      <a16:creationId xmlns:a16="http://schemas.microsoft.com/office/drawing/2014/main" id="{4C5BF118-93DE-31F8-7051-E48056FEFE03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8" name="Grafik 3753">
                  <a:extLst>
                    <a:ext uri="{FF2B5EF4-FFF2-40B4-BE49-F238E27FC236}">
                      <a16:creationId xmlns:a16="http://schemas.microsoft.com/office/drawing/2014/main" id="{BF4CC27F-F68E-B984-1264-BCFDC3F90A65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32" name="Grafik 3753">
                <a:extLst>
                  <a:ext uri="{FF2B5EF4-FFF2-40B4-BE49-F238E27FC236}">
                    <a16:creationId xmlns:a16="http://schemas.microsoft.com/office/drawing/2014/main" id="{34D20997-B2BE-C50A-E33F-57871D8A0A28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233" name="Grafik 3753">
                  <a:extLst>
                    <a:ext uri="{FF2B5EF4-FFF2-40B4-BE49-F238E27FC236}">
                      <a16:creationId xmlns:a16="http://schemas.microsoft.com/office/drawing/2014/main" id="{EFA8D4E3-A27A-44DD-0A15-ECE3992519C0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4" name="Grafik 3753">
                  <a:extLst>
                    <a:ext uri="{FF2B5EF4-FFF2-40B4-BE49-F238E27FC236}">
                      <a16:creationId xmlns:a16="http://schemas.microsoft.com/office/drawing/2014/main" id="{470892A2-DBE0-7723-EF29-8AD5A8639171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5" name="Grafik 3753">
                  <a:extLst>
                    <a:ext uri="{FF2B5EF4-FFF2-40B4-BE49-F238E27FC236}">
                      <a16:creationId xmlns:a16="http://schemas.microsoft.com/office/drawing/2014/main" id="{C45D2FFD-EFBE-6C59-0131-5AB00166FF08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220" name="Grafik 3753">
              <a:extLst>
                <a:ext uri="{FF2B5EF4-FFF2-40B4-BE49-F238E27FC236}">
                  <a16:creationId xmlns:a16="http://schemas.microsoft.com/office/drawing/2014/main" id="{783661FE-B7F3-EE62-EE2E-B300B97CD78D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3" name="Grafik 3753">
              <a:extLst>
                <a:ext uri="{FF2B5EF4-FFF2-40B4-BE49-F238E27FC236}">
                  <a16:creationId xmlns:a16="http://schemas.microsoft.com/office/drawing/2014/main" id="{C15EE1F0-8A7F-4B48-5933-0327FFC036F7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45" name="Grafik 3753">
            <a:extLst>
              <a:ext uri="{FF2B5EF4-FFF2-40B4-BE49-F238E27FC236}">
                <a16:creationId xmlns:a16="http://schemas.microsoft.com/office/drawing/2014/main" id="{BCE4DBA6-EA8F-0045-21BF-35DE7D88FC33}"/>
              </a:ext>
            </a:extLst>
          </p:cNvPr>
          <p:cNvGrpSpPr/>
          <p:nvPr/>
        </p:nvGrpSpPr>
        <p:grpSpPr bwMode="gray">
          <a:xfrm>
            <a:off x="5319326" y="4743099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46" name="Grafik 3753">
              <a:extLst>
                <a:ext uri="{FF2B5EF4-FFF2-40B4-BE49-F238E27FC236}">
                  <a16:creationId xmlns:a16="http://schemas.microsoft.com/office/drawing/2014/main" id="{0F58555E-D110-E65A-BF86-6A4E78B92C46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249" name="Grafik 3753">
                <a:extLst>
                  <a:ext uri="{FF2B5EF4-FFF2-40B4-BE49-F238E27FC236}">
                    <a16:creationId xmlns:a16="http://schemas.microsoft.com/office/drawing/2014/main" id="{9FE99879-39BA-66DC-339B-7EE06B5A7740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731" name="Grafik 3753">
                  <a:extLst>
                    <a:ext uri="{FF2B5EF4-FFF2-40B4-BE49-F238E27FC236}">
                      <a16:creationId xmlns:a16="http://schemas.microsoft.com/office/drawing/2014/main" id="{9E425636-5DD0-1044-A7F0-C2F096A5516D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32" name="Grafik 3753">
                  <a:extLst>
                    <a:ext uri="{FF2B5EF4-FFF2-40B4-BE49-F238E27FC236}">
                      <a16:creationId xmlns:a16="http://schemas.microsoft.com/office/drawing/2014/main" id="{A143B005-79EA-CF87-6794-C94268BF747C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33" name="Grafik 3753">
                  <a:extLst>
                    <a:ext uri="{FF2B5EF4-FFF2-40B4-BE49-F238E27FC236}">
                      <a16:creationId xmlns:a16="http://schemas.microsoft.com/office/drawing/2014/main" id="{14ECFB87-C420-2856-296D-010DCC9D950D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50" name="Grafik 3753">
                <a:extLst>
                  <a:ext uri="{FF2B5EF4-FFF2-40B4-BE49-F238E27FC236}">
                    <a16:creationId xmlns:a16="http://schemas.microsoft.com/office/drawing/2014/main" id="{2B7D4F62-6D46-CD8C-85A6-082A5018ACC7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728" name="Grafik 3753">
                  <a:extLst>
                    <a:ext uri="{FF2B5EF4-FFF2-40B4-BE49-F238E27FC236}">
                      <a16:creationId xmlns:a16="http://schemas.microsoft.com/office/drawing/2014/main" id="{338FF2B0-88EC-2D72-8636-B1C6F101CDED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29" name="Grafik 3753">
                  <a:extLst>
                    <a:ext uri="{FF2B5EF4-FFF2-40B4-BE49-F238E27FC236}">
                      <a16:creationId xmlns:a16="http://schemas.microsoft.com/office/drawing/2014/main" id="{4F620777-7130-5187-20AF-12703CCE7DF1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30" name="Grafik 3753">
                  <a:extLst>
                    <a:ext uri="{FF2B5EF4-FFF2-40B4-BE49-F238E27FC236}">
                      <a16:creationId xmlns:a16="http://schemas.microsoft.com/office/drawing/2014/main" id="{9E619E4F-195A-36EB-BB9D-37928106653B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51" name="Grafik 3753">
                <a:extLst>
                  <a:ext uri="{FF2B5EF4-FFF2-40B4-BE49-F238E27FC236}">
                    <a16:creationId xmlns:a16="http://schemas.microsoft.com/office/drawing/2014/main" id="{FE0AF5B2-3364-7900-07A1-EE58FCB9663A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725" name="Grafik 3753">
                  <a:extLst>
                    <a:ext uri="{FF2B5EF4-FFF2-40B4-BE49-F238E27FC236}">
                      <a16:creationId xmlns:a16="http://schemas.microsoft.com/office/drawing/2014/main" id="{44EE78A5-F5C0-E5D1-9EED-94D16F1E0AD6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26" name="Grafik 3753">
                  <a:extLst>
                    <a:ext uri="{FF2B5EF4-FFF2-40B4-BE49-F238E27FC236}">
                      <a16:creationId xmlns:a16="http://schemas.microsoft.com/office/drawing/2014/main" id="{C844D2C0-F161-B42B-A6E1-A445D839D896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27" name="Grafik 3753">
                  <a:extLst>
                    <a:ext uri="{FF2B5EF4-FFF2-40B4-BE49-F238E27FC236}">
                      <a16:creationId xmlns:a16="http://schemas.microsoft.com/office/drawing/2014/main" id="{E41BF380-B2A5-46E2-F53B-5E55A1C13015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52" name="Grafik 3753">
                <a:extLst>
                  <a:ext uri="{FF2B5EF4-FFF2-40B4-BE49-F238E27FC236}">
                    <a16:creationId xmlns:a16="http://schemas.microsoft.com/office/drawing/2014/main" id="{C81FD00B-C836-8FF4-8FAD-908050039421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253" name="Grafik 3753">
                  <a:extLst>
                    <a:ext uri="{FF2B5EF4-FFF2-40B4-BE49-F238E27FC236}">
                      <a16:creationId xmlns:a16="http://schemas.microsoft.com/office/drawing/2014/main" id="{2B7DEE0D-C291-B5C1-B2EE-3C858EFCA591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54" name="Grafik 3753">
                  <a:extLst>
                    <a:ext uri="{FF2B5EF4-FFF2-40B4-BE49-F238E27FC236}">
                      <a16:creationId xmlns:a16="http://schemas.microsoft.com/office/drawing/2014/main" id="{8C84BCE5-EFD9-62F2-F105-6311CF2475F1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55" name="Grafik 3753">
                  <a:extLst>
                    <a:ext uri="{FF2B5EF4-FFF2-40B4-BE49-F238E27FC236}">
                      <a16:creationId xmlns:a16="http://schemas.microsoft.com/office/drawing/2014/main" id="{889C479A-487A-5C58-3093-F4DD30D72B2E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247" name="Grafik 3753">
              <a:extLst>
                <a:ext uri="{FF2B5EF4-FFF2-40B4-BE49-F238E27FC236}">
                  <a16:creationId xmlns:a16="http://schemas.microsoft.com/office/drawing/2014/main" id="{FD06FC97-D180-A01B-A424-53C2CEB892BA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8" name="Grafik 3753">
              <a:extLst>
                <a:ext uri="{FF2B5EF4-FFF2-40B4-BE49-F238E27FC236}">
                  <a16:creationId xmlns:a16="http://schemas.microsoft.com/office/drawing/2014/main" id="{84EB5970-BE0A-D81C-9E7F-5299FC2D82ED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734" name="Grafik 3753">
            <a:extLst>
              <a:ext uri="{FF2B5EF4-FFF2-40B4-BE49-F238E27FC236}">
                <a16:creationId xmlns:a16="http://schemas.microsoft.com/office/drawing/2014/main" id="{AC1CD3D0-CFFE-B24A-CADD-0546E8D14EA4}"/>
              </a:ext>
            </a:extLst>
          </p:cNvPr>
          <p:cNvGrpSpPr/>
          <p:nvPr/>
        </p:nvGrpSpPr>
        <p:grpSpPr bwMode="gray">
          <a:xfrm>
            <a:off x="8272190" y="4628080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735" name="Grafik 3753">
              <a:extLst>
                <a:ext uri="{FF2B5EF4-FFF2-40B4-BE49-F238E27FC236}">
                  <a16:creationId xmlns:a16="http://schemas.microsoft.com/office/drawing/2014/main" id="{FBD67241-9E3F-BCFE-444E-A5D25B8F2E1E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738" name="Grafik 3753">
                <a:extLst>
                  <a:ext uri="{FF2B5EF4-FFF2-40B4-BE49-F238E27FC236}">
                    <a16:creationId xmlns:a16="http://schemas.microsoft.com/office/drawing/2014/main" id="{8EF203A0-4949-6CA7-6B7B-7E1B3D462F9A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751" name="Grafik 3753">
                  <a:extLst>
                    <a:ext uri="{FF2B5EF4-FFF2-40B4-BE49-F238E27FC236}">
                      <a16:creationId xmlns:a16="http://schemas.microsoft.com/office/drawing/2014/main" id="{8DDC96FA-3472-FC71-B9F4-B0F5821BCC21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52" name="Grafik 3753">
                  <a:extLst>
                    <a:ext uri="{FF2B5EF4-FFF2-40B4-BE49-F238E27FC236}">
                      <a16:creationId xmlns:a16="http://schemas.microsoft.com/office/drawing/2014/main" id="{71A78B80-17A6-14AA-F33A-31B19E8EA638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53" name="Grafik 3753">
                  <a:extLst>
                    <a:ext uri="{FF2B5EF4-FFF2-40B4-BE49-F238E27FC236}">
                      <a16:creationId xmlns:a16="http://schemas.microsoft.com/office/drawing/2014/main" id="{55BDD7DB-7BBA-B8FB-DCAB-18FC51F018E3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739" name="Grafik 3753">
                <a:extLst>
                  <a:ext uri="{FF2B5EF4-FFF2-40B4-BE49-F238E27FC236}">
                    <a16:creationId xmlns:a16="http://schemas.microsoft.com/office/drawing/2014/main" id="{C9B84ED7-7C84-9716-DC80-C275471768A4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748" name="Grafik 3753">
                  <a:extLst>
                    <a:ext uri="{FF2B5EF4-FFF2-40B4-BE49-F238E27FC236}">
                      <a16:creationId xmlns:a16="http://schemas.microsoft.com/office/drawing/2014/main" id="{9FDC73AC-26E8-2FB9-1C75-9A9F239D15FA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49" name="Grafik 3753">
                  <a:extLst>
                    <a:ext uri="{FF2B5EF4-FFF2-40B4-BE49-F238E27FC236}">
                      <a16:creationId xmlns:a16="http://schemas.microsoft.com/office/drawing/2014/main" id="{2A8B6704-2C68-5F54-3131-D285C7B30D6C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50" name="Grafik 3753">
                  <a:extLst>
                    <a:ext uri="{FF2B5EF4-FFF2-40B4-BE49-F238E27FC236}">
                      <a16:creationId xmlns:a16="http://schemas.microsoft.com/office/drawing/2014/main" id="{48A51671-8F4A-B6AD-2518-A05445074B7C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740" name="Grafik 3753">
                <a:extLst>
                  <a:ext uri="{FF2B5EF4-FFF2-40B4-BE49-F238E27FC236}">
                    <a16:creationId xmlns:a16="http://schemas.microsoft.com/office/drawing/2014/main" id="{924411F7-4BED-3CF7-26A3-3E8B980B8F0D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745" name="Grafik 3753">
                  <a:extLst>
                    <a:ext uri="{FF2B5EF4-FFF2-40B4-BE49-F238E27FC236}">
                      <a16:creationId xmlns:a16="http://schemas.microsoft.com/office/drawing/2014/main" id="{4D80A688-7E05-98EF-2B0F-D5763C85F30E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46" name="Grafik 3753">
                  <a:extLst>
                    <a:ext uri="{FF2B5EF4-FFF2-40B4-BE49-F238E27FC236}">
                      <a16:creationId xmlns:a16="http://schemas.microsoft.com/office/drawing/2014/main" id="{F29CE53D-C137-CA05-8904-78A897D19E58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47" name="Grafik 3753">
                  <a:extLst>
                    <a:ext uri="{FF2B5EF4-FFF2-40B4-BE49-F238E27FC236}">
                      <a16:creationId xmlns:a16="http://schemas.microsoft.com/office/drawing/2014/main" id="{F9551D7A-0481-EB87-0FD3-0C32CCDADB04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741" name="Grafik 3753">
                <a:extLst>
                  <a:ext uri="{FF2B5EF4-FFF2-40B4-BE49-F238E27FC236}">
                    <a16:creationId xmlns:a16="http://schemas.microsoft.com/office/drawing/2014/main" id="{E110E404-7F98-1D73-4E09-DE88EEC3A960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742" name="Grafik 3753">
                  <a:extLst>
                    <a:ext uri="{FF2B5EF4-FFF2-40B4-BE49-F238E27FC236}">
                      <a16:creationId xmlns:a16="http://schemas.microsoft.com/office/drawing/2014/main" id="{12393B93-AB0D-56F9-2941-E36636E95691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43" name="Grafik 3753">
                  <a:extLst>
                    <a:ext uri="{FF2B5EF4-FFF2-40B4-BE49-F238E27FC236}">
                      <a16:creationId xmlns:a16="http://schemas.microsoft.com/office/drawing/2014/main" id="{69241819-7494-4809-7F91-4FB17AF8C6A0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44" name="Grafik 3753">
                  <a:extLst>
                    <a:ext uri="{FF2B5EF4-FFF2-40B4-BE49-F238E27FC236}">
                      <a16:creationId xmlns:a16="http://schemas.microsoft.com/office/drawing/2014/main" id="{C74FED4F-6715-49A5-4D5F-CE4B2786D550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736" name="Grafik 3753">
              <a:extLst>
                <a:ext uri="{FF2B5EF4-FFF2-40B4-BE49-F238E27FC236}">
                  <a16:creationId xmlns:a16="http://schemas.microsoft.com/office/drawing/2014/main" id="{394682F7-DBEE-32BD-6252-C189EC057835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37" name="Grafik 3753">
              <a:extLst>
                <a:ext uri="{FF2B5EF4-FFF2-40B4-BE49-F238E27FC236}">
                  <a16:creationId xmlns:a16="http://schemas.microsoft.com/office/drawing/2014/main" id="{F3BADA80-E256-895A-A0C0-A99D7D6D6BAC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754" name="Grafik 3753">
            <a:extLst>
              <a:ext uri="{FF2B5EF4-FFF2-40B4-BE49-F238E27FC236}">
                <a16:creationId xmlns:a16="http://schemas.microsoft.com/office/drawing/2014/main" id="{135E3E30-B56C-8927-C8EB-2270BD13039D}"/>
              </a:ext>
            </a:extLst>
          </p:cNvPr>
          <p:cNvGrpSpPr/>
          <p:nvPr/>
        </p:nvGrpSpPr>
        <p:grpSpPr bwMode="gray">
          <a:xfrm>
            <a:off x="10588396" y="4641133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755" name="Grafik 3753">
              <a:extLst>
                <a:ext uri="{FF2B5EF4-FFF2-40B4-BE49-F238E27FC236}">
                  <a16:creationId xmlns:a16="http://schemas.microsoft.com/office/drawing/2014/main" id="{C95957B2-B4D7-AF70-CFCE-A65CDDECE207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758" name="Grafik 3753">
                <a:extLst>
                  <a:ext uri="{FF2B5EF4-FFF2-40B4-BE49-F238E27FC236}">
                    <a16:creationId xmlns:a16="http://schemas.microsoft.com/office/drawing/2014/main" id="{6F240029-6C57-40DC-2C52-1672F74DDE5C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259" name="Grafik 3753">
                  <a:extLst>
                    <a:ext uri="{FF2B5EF4-FFF2-40B4-BE49-F238E27FC236}">
                      <a16:creationId xmlns:a16="http://schemas.microsoft.com/office/drawing/2014/main" id="{794A7CCB-5B35-9F26-5553-34375BA542FC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0" name="Grafik 3753">
                  <a:extLst>
                    <a:ext uri="{FF2B5EF4-FFF2-40B4-BE49-F238E27FC236}">
                      <a16:creationId xmlns:a16="http://schemas.microsoft.com/office/drawing/2014/main" id="{2532B9AB-132E-71E3-7670-147D85F8F50C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1" name="Grafik 3753">
                  <a:extLst>
                    <a:ext uri="{FF2B5EF4-FFF2-40B4-BE49-F238E27FC236}">
                      <a16:creationId xmlns:a16="http://schemas.microsoft.com/office/drawing/2014/main" id="{2BF33DEA-65CC-B83E-70F7-FB92DDF328A0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759" name="Grafik 3753">
                <a:extLst>
                  <a:ext uri="{FF2B5EF4-FFF2-40B4-BE49-F238E27FC236}">
                    <a16:creationId xmlns:a16="http://schemas.microsoft.com/office/drawing/2014/main" id="{229C06FD-FA84-A5D3-5D9D-97D73EBEC299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256" name="Grafik 3753">
                  <a:extLst>
                    <a:ext uri="{FF2B5EF4-FFF2-40B4-BE49-F238E27FC236}">
                      <a16:creationId xmlns:a16="http://schemas.microsoft.com/office/drawing/2014/main" id="{75841506-CE87-8FC4-CC0D-145D24115BB3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57" name="Grafik 3753">
                  <a:extLst>
                    <a:ext uri="{FF2B5EF4-FFF2-40B4-BE49-F238E27FC236}">
                      <a16:creationId xmlns:a16="http://schemas.microsoft.com/office/drawing/2014/main" id="{FA595FE0-C556-B2D5-AE77-401198E9DEE3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58" name="Grafik 3753">
                  <a:extLst>
                    <a:ext uri="{FF2B5EF4-FFF2-40B4-BE49-F238E27FC236}">
                      <a16:creationId xmlns:a16="http://schemas.microsoft.com/office/drawing/2014/main" id="{6EF4B0E3-2249-2FFD-E5D5-7BC369E25CDE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760" name="Grafik 3753">
                <a:extLst>
                  <a:ext uri="{FF2B5EF4-FFF2-40B4-BE49-F238E27FC236}">
                    <a16:creationId xmlns:a16="http://schemas.microsoft.com/office/drawing/2014/main" id="{D9287064-9D9D-1DDC-EAE6-E6061F1AAC21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765" name="Grafik 3753">
                  <a:extLst>
                    <a:ext uri="{FF2B5EF4-FFF2-40B4-BE49-F238E27FC236}">
                      <a16:creationId xmlns:a16="http://schemas.microsoft.com/office/drawing/2014/main" id="{B328BA9B-AACA-A377-65B6-A31FAADD80EB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66" name="Grafik 3753">
                  <a:extLst>
                    <a:ext uri="{FF2B5EF4-FFF2-40B4-BE49-F238E27FC236}">
                      <a16:creationId xmlns:a16="http://schemas.microsoft.com/office/drawing/2014/main" id="{94AE2599-567B-2068-BA29-5C2193335394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67" name="Grafik 3753">
                  <a:extLst>
                    <a:ext uri="{FF2B5EF4-FFF2-40B4-BE49-F238E27FC236}">
                      <a16:creationId xmlns:a16="http://schemas.microsoft.com/office/drawing/2014/main" id="{31FB2B15-F3CC-145B-0DD6-81F9FF9B10E8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761" name="Grafik 3753">
                <a:extLst>
                  <a:ext uri="{FF2B5EF4-FFF2-40B4-BE49-F238E27FC236}">
                    <a16:creationId xmlns:a16="http://schemas.microsoft.com/office/drawing/2014/main" id="{9932DCBA-F2E0-AF40-060F-14EBFACE536F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762" name="Grafik 3753">
                  <a:extLst>
                    <a:ext uri="{FF2B5EF4-FFF2-40B4-BE49-F238E27FC236}">
                      <a16:creationId xmlns:a16="http://schemas.microsoft.com/office/drawing/2014/main" id="{DA5E3B49-09D0-CFB8-32CE-079DAF27AE0B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63" name="Grafik 3753">
                  <a:extLst>
                    <a:ext uri="{FF2B5EF4-FFF2-40B4-BE49-F238E27FC236}">
                      <a16:creationId xmlns:a16="http://schemas.microsoft.com/office/drawing/2014/main" id="{FAB85D0D-2D1D-232E-E832-A4A170506610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64" name="Grafik 3753">
                  <a:extLst>
                    <a:ext uri="{FF2B5EF4-FFF2-40B4-BE49-F238E27FC236}">
                      <a16:creationId xmlns:a16="http://schemas.microsoft.com/office/drawing/2014/main" id="{D7EC2F2F-99D6-937A-1934-AEF524D8B7B1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756" name="Grafik 3753">
              <a:extLst>
                <a:ext uri="{FF2B5EF4-FFF2-40B4-BE49-F238E27FC236}">
                  <a16:creationId xmlns:a16="http://schemas.microsoft.com/office/drawing/2014/main" id="{EF5E8447-87B3-18D3-81D2-537BF0A917B3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57" name="Grafik 3753">
              <a:extLst>
                <a:ext uri="{FF2B5EF4-FFF2-40B4-BE49-F238E27FC236}">
                  <a16:creationId xmlns:a16="http://schemas.microsoft.com/office/drawing/2014/main" id="{6E3CD29A-7FF1-93BC-6C90-1FA97AAED06A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cxnSp>
        <p:nvCxnSpPr>
          <p:cNvPr id="268" name="Straight Connector 267">
            <a:extLst>
              <a:ext uri="{FF2B5EF4-FFF2-40B4-BE49-F238E27FC236}">
                <a16:creationId xmlns:a16="http://schemas.microsoft.com/office/drawing/2014/main" id="{3A87E43B-8BBC-0BD9-695D-D86499204075}"/>
              </a:ext>
            </a:extLst>
          </p:cNvPr>
          <p:cNvCxnSpPr>
            <a:cxnSpLocks/>
            <a:stCxn id="27" idx="3"/>
            <a:endCxn id="757" idx="6"/>
          </p:cNvCxnSpPr>
          <p:nvPr/>
        </p:nvCxnSpPr>
        <p:spPr>
          <a:xfrm flipV="1">
            <a:off x="10130524" y="5004288"/>
            <a:ext cx="644751" cy="74490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0" name="Straight Connector 279">
            <a:extLst>
              <a:ext uri="{FF2B5EF4-FFF2-40B4-BE49-F238E27FC236}">
                <a16:creationId xmlns:a16="http://schemas.microsoft.com/office/drawing/2014/main" id="{7A30411F-E672-C862-2A88-25B600E571D2}"/>
              </a:ext>
            </a:extLst>
          </p:cNvPr>
          <p:cNvCxnSpPr>
            <a:cxnSpLocks/>
            <a:stCxn id="665" idx="3"/>
          </p:cNvCxnSpPr>
          <p:nvPr/>
        </p:nvCxnSpPr>
        <p:spPr>
          <a:xfrm flipV="1">
            <a:off x="2333983" y="3736122"/>
            <a:ext cx="609559" cy="12986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8" name="Straight Connector 287">
            <a:extLst>
              <a:ext uri="{FF2B5EF4-FFF2-40B4-BE49-F238E27FC236}">
                <a16:creationId xmlns:a16="http://schemas.microsoft.com/office/drawing/2014/main" id="{8441306C-8C3F-AAC7-D304-24360A026266}"/>
              </a:ext>
            </a:extLst>
          </p:cNvPr>
          <p:cNvCxnSpPr>
            <a:cxnSpLocks/>
          </p:cNvCxnSpPr>
          <p:nvPr/>
        </p:nvCxnSpPr>
        <p:spPr>
          <a:xfrm flipV="1">
            <a:off x="2395048" y="2694029"/>
            <a:ext cx="609559" cy="12986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9" name="Straight Connector 288">
            <a:extLst>
              <a:ext uri="{FF2B5EF4-FFF2-40B4-BE49-F238E27FC236}">
                <a16:creationId xmlns:a16="http://schemas.microsoft.com/office/drawing/2014/main" id="{8EA479B2-497C-13D8-20B3-C687427F8E70}"/>
              </a:ext>
            </a:extLst>
          </p:cNvPr>
          <p:cNvCxnSpPr>
            <a:cxnSpLocks/>
          </p:cNvCxnSpPr>
          <p:nvPr/>
        </p:nvCxnSpPr>
        <p:spPr>
          <a:xfrm flipV="1">
            <a:off x="8272468" y="2795692"/>
            <a:ext cx="609559" cy="12986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0" name="Straight Connector 289">
            <a:extLst>
              <a:ext uri="{FF2B5EF4-FFF2-40B4-BE49-F238E27FC236}">
                <a16:creationId xmlns:a16="http://schemas.microsoft.com/office/drawing/2014/main" id="{70F3846C-9EC5-D94B-204A-92CCC4C984F4}"/>
              </a:ext>
            </a:extLst>
          </p:cNvPr>
          <p:cNvCxnSpPr>
            <a:cxnSpLocks/>
          </p:cNvCxnSpPr>
          <p:nvPr/>
        </p:nvCxnSpPr>
        <p:spPr>
          <a:xfrm flipV="1">
            <a:off x="8114874" y="3565954"/>
            <a:ext cx="609559" cy="12986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3" name="Grafik 23">
            <a:extLst>
              <a:ext uri="{FF2B5EF4-FFF2-40B4-BE49-F238E27FC236}">
                <a16:creationId xmlns:a16="http://schemas.microsoft.com/office/drawing/2014/main" id="{A482C12D-651A-9FE4-4689-1D9733494DA9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262077" y="4568422"/>
            <a:ext cx="374400" cy="464640"/>
            <a:chOff x="5895975" y="3176587"/>
            <a:chExt cx="403097" cy="500253"/>
          </a:xfrm>
          <a:solidFill>
            <a:schemeClr val="tx1"/>
          </a:solidFill>
        </p:grpSpPr>
        <p:sp>
          <p:nvSpPr>
            <p:cNvPr id="294" name="Grafik 23">
              <a:extLst>
                <a:ext uri="{FF2B5EF4-FFF2-40B4-BE49-F238E27FC236}">
                  <a16:creationId xmlns:a16="http://schemas.microsoft.com/office/drawing/2014/main" id="{D348C218-270D-1B98-6AE1-81FD7E8748FA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295" name="Grafik 23">
              <a:extLst>
                <a:ext uri="{FF2B5EF4-FFF2-40B4-BE49-F238E27FC236}">
                  <a16:creationId xmlns:a16="http://schemas.microsoft.com/office/drawing/2014/main" id="{546734F7-9F54-C00E-9199-C38B4EDA9CA5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296" name="Grafik 23">
              <a:extLst>
                <a:ext uri="{FF2B5EF4-FFF2-40B4-BE49-F238E27FC236}">
                  <a16:creationId xmlns:a16="http://schemas.microsoft.com/office/drawing/2014/main" id="{65130F65-5D17-B57F-484B-F0E2EB5EEA50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297" name="Grafik 23">
              <a:extLst>
                <a:ext uri="{FF2B5EF4-FFF2-40B4-BE49-F238E27FC236}">
                  <a16:creationId xmlns:a16="http://schemas.microsoft.com/office/drawing/2014/main" id="{A93A552C-8D75-B78A-86E5-BA7F89EF9894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298" name="Grafik 23">
              <a:extLst>
                <a:ext uri="{FF2B5EF4-FFF2-40B4-BE49-F238E27FC236}">
                  <a16:creationId xmlns:a16="http://schemas.microsoft.com/office/drawing/2014/main" id="{4B8F620D-8E2E-67B0-0414-B21E89F8D9E5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299" name="Grafik 23">
              <a:extLst>
                <a:ext uri="{FF2B5EF4-FFF2-40B4-BE49-F238E27FC236}">
                  <a16:creationId xmlns:a16="http://schemas.microsoft.com/office/drawing/2014/main" id="{7F009C94-7B37-9246-C0F1-5B48D8155A97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300" name="Grafik 23">
                <a:extLst>
                  <a:ext uri="{FF2B5EF4-FFF2-40B4-BE49-F238E27FC236}">
                    <a16:creationId xmlns:a16="http://schemas.microsoft.com/office/drawing/2014/main" id="{FDA177B7-EFE3-504A-D190-9E434BFCC661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301" name="Grafik 23">
                <a:extLst>
                  <a:ext uri="{FF2B5EF4-FFF2-40B4-BE49-F238E27FC236}">
                    <a16:creationId xmlns:a16="http://schemas.microsoft.com/office/drawing/2014/main" id="{0E848D48-C694-6AF2-F120-2A3A4143F162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302" name="Grafik 23">
                <a:extLst>
                  <a:ext uri="{FF2B5EF4-FFF2-40B4-BE49-F238E27FC236}">
                    <a16:creationId xmlns:a16="http://schemas.microsoft.com/office/drawing/2014/main" id="{99E398E7-CD95-82A2-9665-540DA646603F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303" name="Grafik 23">
                <a:extLst>
                  <a:ext uri="{FF2B5EF4-FFF2-40B4-BE49-F238E27FC236}">
                    <a16:creationId xmlns:a16="http://schemas.microsoft.com/office/drawing/2014/main" id="{34DAF60F-36BD-B7F6-8E38-0013D29938F5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cxnSp>
        <p:nvCxnSpPr>
          <p:cNvPr id="304" name="Straight Connector 303">
            <a:extLst>
              <a:ext uri="{FF2B5EF4-FFF2-40B4-BE49-F238E27FC236}">
                <a16:creationId xmlns:a16="http://schemas.microsoft.com/office/drawing/2014/main" id="{F365DF86-0905-8097-E369-CC0483C6B304}"/>
              </a:ext>
            </a:extLst>
          </p:cNvPr>
          <p:cNvCxnSpPr>
            <a:cxnSpLocks/>
            <a:stCxn id="248" idx="8"/>
            <a:endCxn id="300" idx="1"/>
          </p:cNvCxnSpPr>
          <p:nvPr/>
        </p:nvCxnSpPr>
        <p:spPr>
          <a:xfrm>
            <a:off x="5682410" y="4839243"/>
            <a:ext cx="1579667" cy="6618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5" name="TextBox 304">
            <a:extLst>
              <a:ext uri="{FF2B5EF4-FFF2-40B4-BE49-F238E27FC236}">
                <a16:creationId xmlns:a16="http://schemas.microsoft.com/office/drawing/2014/main" id="{9A1C8DEE-3EAC-F895-0453-2EB9B9E9E2DF}"/>
              </a:ext>
            </a:extLst>
          </p:cNvPr>
          <p:cNvSpPr txBox="1"/>
          <p:nvPr/>
        </p:nvSpPr>
        <p:spPr>
          <a:xfrm>
            <a:off x="8552666" y="4951040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5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306" name="TextBox 305">
            <a:extLst>
              <a:ext uri="{FF2B5EF4-FFF2-40B4-BE49-F238E27FC236}">
                <a16:creationId xmlns:a16="http://schemas.microsoft.com/office/drawing/2014/main" id="{D17C9E72-A70B-851C-4F24-2B4DE331175A}"/>
              </a:ext>
            </a:extLst>
          </p:cNvPr>
          <p:cNvSpPr txBox="1"/>
          <p:nvPr/>
        </p:nvSpPr>
        <p:spPr>
          <a:xfrm>
            <a:off x="10415241" y="4961821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6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308" name="TextBox 307">
            <a:extLst>
              <a:ext uri="{FF2B5EF4-FFF2-40B4-BE49-F238E27FC236}">
                <a16:creationId xmlns:a16="http://schemas.microsoft.com/office/drawing/2014/main" id="{4B305915-2702-4B24-A303-CDCEB84E1C15}"/>
              </a:ext>
            </a:extLst>
          </p:cNvPr>
          <p:cNvSpPr txBox="1"/>
          <p:nvPr/>
        </p:nvSpPr>
        <p:spPr>
          <a:xfrm>
            <a:off x="5632594" y="4807795"/>
            <a:ext cx="27122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.2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309" name="TextBox 308">
            <a:extLst>
              <a:ext uri="{FF2B5EF4-FFF2-40B4-BE49-F238E27FC236}">
                <a16:creationId xmlns:a16="http://schemas.microsoft.com/office/drawing/2014/main" id="{5B9B042B-93DF-3734-C255-2C945C6B655F}"/>
              </a:ext>
            </a:extLst>
          </p:cNvPr>
          <p:cNvSpPr txBox="1"/>
          <p:nvPr/>
        </p:nvSpPr>
        <p:spPr>
          <a:xfrm>
            <a:off x="7091830" y="4821736"/>
            <a:ext cx="275503" cy="2296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.1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310" name="TextBox 309">
            <a:extLst>
              <a:ext uri="{FF2B5EF4-FFF2-40B4-BE49-F238E27FC236}">
                <a16:creationId xmlns:a16="http://schemas.microsoft.com/office/drawing/2014/main" id="{4FFD9691-B433-7903-F04C-537C0E6C33D6}"/>
              </a:ext>
            </a:extLst>
          </p:cNvPr>
          <p:cNvSpPr txBox="1"/>
          <p:nvPr/>
        </p:nvSpPr>
        <p:spPr>
          <a:xfrm>
            <a:off x="1788231" y="3960313"/>
            <a:ext cx="40748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PC2</a:t>
            </a:r>
            <a:endParaRPr lang="en-DE" sz="1100" b="1" dirty="0"/>
          </a:p>
        </p:txBody>
      </p:sp>
      <p:sp>
        <p:nvSpPr>
          <p:cNvPr id="667" name="Cloud 666">
            <a:extLst>
              <a:ext uri="{FF2B5EF4-FFF2-40B4-BE49-F238E27FC236}">
                <a16:creationId xmlns:a16="http://schemas.microsoft.com/office/drawing/2014/main" id="{B0F622A9-EAC8-580D-4871-86C9EC1BA6E1}"/>
              </a:ext>
            </a:extLst>
          </p:cNvPr>
          <p:cNvSpPr/>
          <p:nvPr/>
        </p:nvSpPr>
        <p:spPr>
          <a:xfrm>
            <a:off x="4207812" y="2352151"/>
            <a:ext cx="2646068" cy="1685172"/>
          </a:xfrm>
          <a:prstGeom prst="cloud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8141591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C6D4B33-4548-C6A7-8CBD-2EED1B1603A2}"/>
              </a:ext>
            </a:extLst>
          </p:cNvPr>
          <p:cNvSpPr/>
          <p:nvPr/>
        </p:nvSpPr>
        <p:spPr>
          <a:xfrm>
            <a:off x="318305" y="397192"/>
            <a:ext cx="11599177" cy="28194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Network – technical icons (1)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3A8DC90-0D65-8070-61BB-8204C37F3568}"/>
              </a:ext>
            </a:extLst>
          </p:cNvPr>
          <p:cNvSpPr/>
          <p:nvPr/>
        </p:nvSpPr>
        <p:spPr>
          <a:xfrm>
            <a:off x="318304" y="850740"/>
            <a:ext cx="1975315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IP/MPLS Routers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4" name="Text Box 55">
            <a:extLst>
              <a:ext uri="{FF2B5EF4-FFF2-40B4-BE49-F238E27FC236}">
                <a16:creationId xmlns:a16="http://schemas.microsoft.com/office/drawing/2014/main" id="{11DD301B-7F77-9D07-AC01-6A12C6C41A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1366838"/>
            <a:ext cx="46006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Router</a:t>
            </a:r>
          </a:p>
        </p:txBody>
      </p:sp>
      <p:sp>
        <p:nvSpPr>
          <p:cNvPr id="5" name="Text Box 56">
            <a:extLst>
              <a:ext uri="{FF2B5EF4-FFF2-40B4-BE49-F238E27FC236}">
                <a16:creationId xmlns:a16="http://schemas.microsoft.com/office/drawing/2014/main" id="{3B34358D-5279-7A9A-1A1F-DC3C7EE700D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1912938"/>
            <a:ext cx="125194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/>
              <a:t>Broadband Router</a:t>
            </a:r>
          </a:p>
        </p:txBody>
      </p:sp>
      <p:sp>
        <p:nvSpPr>
          <p:cNvPr id="6" name="Text Box 57">
            <a:extLst>
              <a:ext uri="{FF2B5EF4-FFF2-40B4-BE49-F238E27FC236}">
                <a16:creationId xmlns:a16="http://schemas.microsoft.com/office/drawing/2014/main" id="{2049AAC1-ACF7-D41A-79CA-E603D706C67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2459038"/>
            <a:ext cx="101470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/>
              <a:t>Service Router</a:t>
            </a:r>
          </a:p>
        </p:txBody>
      </p:sp>
      <p:sp>
        <p:nvSpPr>
          <p:cNvPr id="7" name="Text Box 58">
            <a:extLst>
              <a:ext uri="{FF2B5EF4-FFF2-40B4-BE49-F238E27FC236}">
                <a16:creationId xmlns:a16="http://schemas.microsoft.com/office/drawing/2014/main" id="{BF95A35F-A83C-3522-6630-1DF8361D616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3005138"/>
            <a:ext cx="98905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Secure Router</a:t>
            </a:r>
          </a:p>
        </p:txBody>
      </p:sp>
      <p:sp>
        <p:nvSpPr>
          <p:cNvPr id="8" name="Text Box 59">
            <a:extLst>
              <a:ext uri="{FF2B5EF4-FFF2-40B4-BE49-F238E27FC236}">
                <a16:creationId xmlns:a16="http://schemas.microsoft.com/office/drawing/2014/main" id="{67CACE33-7C27-F5AF-713B-D9FCFE6378B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3551238"/>
            <a:ext cx="114980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/>
              <a:t>Router with TDM</a:t>
            </a:r>
          </a:p>
        </p:txBody>
      </p:sp>
      <p:sp>
        <p:nvSpPr>
          <p:cNvPr id="9" name="Text Box 60">
            <a:extLst>
              <a:ext uri="{FF2B5EF4-FFF2-40B4-BE49-F238E27FC236}">
                <a16:creationId xmlns:a16="http://schemas.microsoft.com/office/drawing/2014/main" id="{BC79021A-515A-15C5-9CFC-2F144C18A5A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4097338"/>
            <a:ext cx="104034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Content Router</a:t>
            </a:r>
          </a:p>
        </p:txBody>
      </p:sp>
      <p:sp>
        <p:nvSpPr>
          <p:cNvPr id="10" name="Text Box 61">
            <a:extLst>
              <a:ext uri="{FF2B5EF4-FFF2-40B4-BE49-F238E27FC236}">
                <a16:creationId xmlns:a16="http://schemas.microsoft.com/office/drawing/2014/main" id="{427C3838-3702-152C-3410-BAE99CF02E1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4643438"/>
            <a:ext cx="122950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/>
              <a:t>IPoDWDM Router</a:t>
            </a:r>
          </a:p>
        </p:txBody>
      </p:sp>
      <p:sp>
        <p:nvSpPr>
          <p:cNvPr id="11" name="Text Box 62">
            <a:extLst>
              <a:ext uri="{FF2B5EF4-FFF2-40B4-BE49-F238E27FC236}">
                <a16:creationId xmlns:a16="http://schemas.microsoft.com/office/drawing/2014/main" id="{84F13FF4-06C0-88D9-4A8D-597A7A4551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5189538"/>
            <a:ext cx="104034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/>
              <a:t>Storage Router</a:t>
            </a:r>
          </a:p>
        </p:txBody>
      </p:sp>
      <p:sp>
        <p:nvSpPr>
          <p:cNvPr id="12" name="Text Box 63">
            <a:extLst>
              <a:ext uri="{FF2B5EF4-FFF2-40B4-BE49-F238E27FC236}">
                <a16:creationId xmlns:a16="http://schemas.microsoft.com/office/drawing/2014/main" id="{96E4461F-CC18-1F25-1B46-760B8A84184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5735638"/>
            <a:ext cx="130715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/>
              <a:t>Wavelength Router</a:t>
            </a:r>
          </a:p>
        </p:txBody>
      </p:sp>
      <p:grpSp>
        <p:nvGrpSpPr>
          <p:cNvPr id="13" name="Grafik 3753">
            <a:extLst>
              <a:ext uri="{FF2B5EF4-FFF2-40B4-BE49-F238E27FC236}">
                <a16:creationId xmlns:a16="http://schemas.microsoft.com/office/drawing/2014/main" id="{45F7397D-81F9-5A44-7F2C-B201C058C516}"/>
              </a:ext>
            </a:extLst>
          </p:cNvPr>
          <p:cNvGrpSpPr/>
          <p:nvPr/>
        </p:nvGrpSpPr>
        <p:grpSpPr bwMode="gray">
          <a:xfrm>
            <a:off x="318344" y="1327754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4" name="Grafik 3753">
              <a:extLst>
                <a:ext uri="{FF2B5EF4-FFF2-40B4-BE49-F238E27FC236}">
                  <a16:creationId xmlns:a16="http://schemas.microsoft.com/office/drawing/2014/main" id="{4D3EE275-CB50-2D67-3F3A-269BF98899F0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17" name="Grafik 3753">
                <a:extLst>
                  <a:ext uri="{FF2B5EF4-FFF2-40B4-BE49-F238E27FC236}">
                    <a16:creationId xmlns:a16="http://schemas.microsoft.com/office/drawing/2014/main" id="{4B6C2633-7E12-94D1-53AE-4F31389C4BB0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30" name="Grafik 3753">
                  <a:extLst>
                    <a:ext uri="{FF2B5EF4-FFF2-40B4-BE49-F238E27FC236}">
                      <a16:creationId xmlns:a16="http://schemas.microsoft.com/office/drawing/2014/main" id="{ADA13756-D5E4-83C8-480C-EBC4ACB751B0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1" name="Grafik 3753">
                  <a:extLst>
                    <a:ext uri="{FF2B5EF4-FFF2-40B4-BE49-F238E27FC236}">
                      <a16:creationId xmlns:a16="http://schemas.microsoft.com/office/drawing/2014/main" id="{EDA692B6-3A66-3C25-DBE9-167D976B2DED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2" name="Grafik 3753">
                  <a:extLst>
                    <a:ext uri="{FF2B5EF4-FFF2-40B4-BE49-F238E27FC236}">
                      <a16:creationId xmlns:a16="http://schemas.microsoft.com/office/drawing/2014/main" id="{F75C3A24-DD3F-17F6-37FB-64C9C17506EA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8" name="Grafik 3753">
                <a:extLst>
                  <a:ext uri="{FF2B5EF4-FFF2-40B4-BE49-F238E27FC236}">
                    <a16:creationId xmlns:a16="http://schemas.microsoft.com/office/drawing/2014/main" id="{98F17D3C-D918-F327-7420-AD3F0ED94650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27" name="Grafik 3753">
                  <a:extLst>
                    <a:ext uri="{FF2B5EF4-FFF2-40B4-BE49-F238E27FC236}">
                      <a16:creationId xmlns:a16="http://schemas.microsoft.com/office/drawing/2014/main" id="{F129909B-B220-C120-9A30-A481CF867A62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" name="Grafik 3753">
                  <a:extLst>
                    <a:ext uri="{FF2B5EF4-FFF2-40B4-BE49-F238E27FC236}">
                      <a16:creationId xmlns:a16="http://schemas.microsoft.com/office/drawing/2014/main" id="{77571A50-D227-7310-4A0A-30BFC2E892A1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" name="Grafik 3753">
                  <a:extLst>
                    <a:ext uri="{FF2B5EF4-FFF2-40B4-BE49-F238E27FC236}">
                      <a16:creationId xmlns:a16="http://schemas.microsoft.com/office/drawing/2014/main" id="{BE95B77A-D029-851E-25AE-29C8EBF35318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9" name="Grafik 3753">
                <a:extLst>
                  <a:ext uri="{FF2B5EF4-FFF2-40B4-BE49-F238E27FC236}">
                    <a16:creationId xmlns:a16="http://schemas.microsoft.com/office/drawing/2014/main" id="{15C75CC8-9BE8-8B40-D201-93194F163B2C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24" name="Grafik 3753">
                  <a:extLst>
                    <a:ext uri="{FF2B5EF4-FFF2-40B4-BE49-F238E27FC236}">
                      <a16:creationId xmlns:a16="http://schemas.microsoft.com/office/drawing/2014/main" id="{340F5F7A-6237-C486-0829-A3270924AF9C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5" name="Grafik 3753">
                  <a:extLst>
                    <a:ext uri="{FF2B5EF4-FFF2-40B4-BE49-F238E27FC236}">
                      <a16:creationId xmlns:a16="http://schemas.microsoft.com/office/drawing/2014/main" id="{65C1B415-7D85-0FD1-89E6-0860D66999A0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" name="Grafik 3753">
                  <a:extLst>
                    <a:ext uri="{FF2B5EF4-FFF2-40B4-BE49-F238E27FC236}">
                      <a16:creationId xmlns:a16="http://schemas.microsoft.com/office/drawing/2014/main" id="{182001E0-32FA-8877-3CC9-2156BF5523D3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0" name="Grafik 3753">
                <a:extLst>
                  <a:ext uri="{FF2B5EF4-FFF2-40B4-BE49-F238E27FC236}">
                    <a16:creationId xmlns:a16="http://schemas.microsoft.com/office/drawing/2014/main" id="{2BAE3454-A9FA-69AA-FDA5-E8F604B7C29E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21" name="Grafik 3753">
                  <a:extLst>
                    <a:ext uri="{FF2B5EF4-FFF2-40B4-BE49-F238E27FC236}">
                      <a16:creationId xmlns:a16="http://schemas.microsoft.com/office/drawing/2014/main" id="{D73B79F2-A5CB-C6A4-6E5D-DDEA8158C68E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2" name="Grafik 3753">
                  <a:extLst>
                    <a:ext uri="{FF2B5EF4-FFF2-40B4-BE49-F238E27FC236}">
                      <a16:creationId xmlns:a16="http://schemas.microsoft.com/office/drawing/2014/main" id="{4F517699-4284-BF63-F2CD-1FFD53A7F150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" name="Grafik 3753">
                  <a:extLst>
                    <a:ext uri="{FF2B5EF4-FFF2-40B4-BE49-F238E27FC236}">
                      <a16:creationId xmlns:a16="http://schemas.microsoft.com/office/drawing/2014/main" id="{93AC7C29-9F2B-A593-BEB4-62C82DDD26EC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15" name="Grafik 3753">
              <a:extLst>
                <a:ext uri="{FF2B5EF4-FFF2-40B4-BE49-F238E27FC236}">
                  <a16:creationId xmlns:a16="http://schemas.microsoft.com/office/drawing/2014/main" id="{1785B3D2-99DB-AF74-15A4-64F610C55CC4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Grafik 3753">
              <a:extLst>
                <a:ext uri="{FF2B5EF4-FFF2-40B4-BE49-F238E27FC236}">
                  <a16:creationId xmlns:a16="http://schemas.microsoft.com/office/drawing/2014/main" id="{F1BFE34F-9669-ED57-ECC6-849370B9B6AD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3" name="Grafik 3755">
            <a:extLst>
              <a:ext uri="{FF2B5EF4-FFF2-40B4-BE49-F238E27FC236}">
                <a16:creationId xmlns:a16="http://schemas.microsoft.com/office/drawing/2014/main" id="{F0F054DE-1D22-B8F0-E3AD-B3C9C7AC4DEB}"/>
              </a:ext>
            </a:extLst>
          </p:cNvPr>
          <p:cNvGrpSpPr/>
          <p:nvPr/>
        </p:nvGrpSpPr>
        <p:grpSpPr bwMode="gray">
          <a:xfrm>
            <a:off x="318344" y="2939915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4" name="Grafik 3755">
              <a:extLst>
                <a:ext uri="{FF2B5EF4-FFF2-40B4-BE49-F238E27FC236}">
                  <a16:creationId xmlns:a16="http://schemas.microsoft.com/office/drawing/2014/main" id="{DF091132-5FE2-470C-F627-52D38A30BA3D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44" name="Grafik 3755">
                <a:extLst>
                  <a:ext uri="{FF2B5EF4-FFF2-40B4-BE49-F238E27FC236}">
                    <a16:creationId xmlns:a16="http://schemas.microsoft.com/office/drawing/2014/main" id="{89259234-DD8F-DA00-A13C-7221B85B6EF2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57" name="Grafik 3755">
                  <a:extLst>
                    <a:ext uri="{FF2B5EF4-FFF2-40B4-BE49-F238E27FC236}">
                      <a16:creationId xmlns:a16="http://schemas.microsoft.com/office/drawing/2014/main" id="{CD699034-CDEC-BADD-F1FB-A4780EC359F0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" name="Grafik 3755">
                  <a:extLst>
                    <a:ext uri="{FF2B5EF4-FFF2-40B4-BE49-F238E27FC236}">
                      <a16:creationId xmlns:a16="http://schemas.microsoft.com/office/drawing/2014/main" id="{2FEDE0A7-250C-0566-BEA4-492DCC835B9A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9" name="Grafik 3755">
                  <a:extLst>
                    <a:ext uri="{FF2B5EF4-FFF2-40B4-BE49-F238E27FC236}">
                      <a16:creationId xmlns:a16="http://schemas.microsoft.com/office/drawing/2014/main" id="{D0774A41-2665-8000-62E1-785482254C73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5" name="Grafik 3755">
                <a:extLst>
                  <a:ext uri="{FF2B5EF4-FFF2-40B4-BE49-F238E27FC236}">
                    <a16:creationId xmlns:a16="http://schemas.microsoft.com/office/drawing/2014/main" id="{03B5CBF6-829A-86CA-9E5B-63380EEBF822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54" name="Grafik 3755">
                  <a:extLst>
                    <a:ext uri="{FF2B5EF4-FFF2-40B4-BE49-F238E27FC236}">
                      <a16:creationId xmlns:a16="http://schemas.microsoft.com/office/drawing/2014/main" id="{32F7FE65-4F91-3C19-E970-E92F3880F9F8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5" name="Grafik 3755">
                  <a:extLst>
                    <a:ext uri="{FF2B5EF4-FFF2-40B4-BE49-F238E27FC236}">
                      <a16:creationId xmlns:a16="http://schemas.microsoft.com/office/drawing/2014/main" id="{A1061791-D669-D7C3-E26A-0BDEE06668C1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6" name="Grafik 3755">
                  <a:extLst>
                    <a:ext uri="{FF2B5EF4-FFF2-40B4-BE49-F238E27FC236}">
                      <a16:creationId xmlns:a16="http://schemas.microsoft.com/office/drawing/2014/main" id="{7C0C7BD8-1D2E-4DF6-8FBC-693E39FA0390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6" name="Grafik 3755">
                <a:extLst>
                  <a:ext uri="{FF2B5EF4-FFF2-40B4-BE49-F238E27FC236}">
                    <a16:creationId xmlns:a16="http://schemas.microsoft.com/office/drawing/2014/main" id="{53C0EA0B-1B3B-6C6F-FC1E-BA9CE7DFF56E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51" name="Grafik 3755">
                  <a:extLst>
                    <a:ext uri="{FF2B5EF4-FFF2-40B4-BE49-F238E27FC236}">
                      <a16:creationId xmlns:a16="http://schemas.microsoft.com/office/drawing/2014/main" id="{C7FF0DAF-B383-8E93-519A-94CF892D185A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2" name="Grafik 3755">
                  <a:extLst>
                    <a:ext uri="{FF2B5EF4-FFF2-40B4-BE49-F238E27FC236}">
                      <a16:creationId xmlns:a16="http://schemas.microsoft.com/office/drawing/2014/main" id="{67229440-7890-32E3-E3B9-8CE536AE6CF3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" name="Grafik 3755">
                  <a:extLst>
                    <a:ext uri="{FF2B5EF4-FFF2-40B4-BE49-F238E27FC236}">
                      <a16:creationId xmlns:a16="http://schemas.microsoft.com/office/drawing/2014/main" id="{B61FC570-661B-0B49-C894-9E9A9D814FB2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7" name="Grafik 3755">
                <a:extLst>
                  <a:ext uri="{FF2B5EF4-FFF2-40B4-BE49-F238E27FC236}">
                    <a16:creationId xmlns:a16="http://schemas.microsoft.com/office/drawing/2014/main" id="{A1743DCD-3C63-794F-3C75-80E124B979CC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48" name="Grafik 3755">
                  <a:extLst>
                    <a:ext uri="{FF2B5EF4-FFF2-40B4-BE49-F238E27FC236}">
                      <a16:creationId xmlns:a16="http://schemas.microsoft.com/office/drawing/2014/main" id="{D8029456-ACDE-E896-EFA5-5EE244A3C540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" name="Grafik 3755">
                  <a:extLst>
                    <a:ext uri="{FF2B5EF4-FFF2-40B4-BE49-F238E27FC236}">
                      <a16:creationId xmlns:a16="http://schemas.microsoft.com/office/drawing/2014/main" id="{10F83212-8FEC-57BC-A40B-7335AED046D2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" name="Grafik 3755">
                  <a:extLst>
                    <a:ext uri="{FF2B5EF4-FFF2-40B4-BE49-F238E27FC236}">
                      <a16:creationId xmlns:a16="http://schemas.microsoft.com/office/drawing/2014/main" id="{223E4B50-6045-281F-4986-91DD4101AB14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35" name="Grafik 3755">
              <a:extLst>
                <a:ext uri="{FF2B5EF4-FFF2-40B4-BE49-F238E27FC236}">
                  <a16:creationId xmlns:a16="http://schemas.microsoft.com/office/drawing/2014/main" id="{144082B5-3F59-6C9C-3EDF-E385F9495A9A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" name="Grafik 3755">
              <a:extLst>
                <a:ext uri="{FF2B5EF4-FFF2-40B4-BE49-F238E27FC236}">
                  <a16:creationId xmlns:a16="http://schemas.microsoft.com/office/drawing/2014/main" id="{946CA9E8-51CE-D8A9-2211-9D9C366254FF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37" name="Grafik 3755">
              <a:extLst>
                <a:ext uri="{FF2B5EF4-FFF2-40B4-BE49-F238E27FC236}">
                  <a16:creationId xmlns:a16="http://schemas.microsoft.com/office/drawing/2014/main" id="{40462FD8-26F4-7641-9FB4-FEB3A1439369}"/>
                </a:ext>
              </a:extLst>
            </p:cNvPr>
            <p:cNvGrpSpPr/>
            <p:nvPr/>
          </p:nvGrpSpPr>
          <p:grpSpPr bwMode="gray">
            <a:xfrm>
              <a:off x="6037992" y="3468242"/>
              <a:ext cx="111537" cy="160019"/>
              <a:chOff x="6037992" y="3468242"/>
              <a:chExt cx="111537" cy="160019"/>
            </a:xfrm>
            <a:grpFill/>
          </p:grpSpPr>
          <p:sp>
            <p:nvSpPr>
              <p:cNvPr id="38" name="Grafik 3755">
                <a:extLst>
                  <a:ext uri="{FF2B5EF4-FFF2-40B4-BE49-F238E27FC236}">
                    <a16:creationId xmlns:a16="http://schemas.microsoft.com/office/drawing/2014/main" id="{E070CD64-7207-F8F0-BB0F-10A6E27883C5}"/>
                  </a:ext>
                </a:extLst>
              </p:cNvPr>
              <p:cNvSpPr/>
              <p:nvPr/>
            </p:nvSpPr>
            <p:spPr bwMode="gray">
              <a:xfrm>
                <a:off x="6037992" y="3516724"/>
                <a:ext cx="111537" cy="111537"/>
              </a:xfrm>
              <a:custGeom>
                <a:avLst/>
                <a:gdLst>
                  <a:gd name="connsiteX0" fmla="*/ 90869 w 111537"/>
                  <a:gd name="connsiteY0" fmla="*/ 111538 h 111537"/>
                  <a:gd name="connsiteX1" fmla="*/ 20669 w 111537"/>
                  <a:gd name="connsiteY1" fmla="*/ 111538 h 111537"/>
                  <a:gd name="connsiteX2" fmla="*/ 0 w 111537"/>
                  <a:gd name="connsiteY2" fmla="*/ 90869 h 111537"/>
                  <a:gd name="connsiteX3" fmla="*/ 0 w 111537"/>
                  <a:gd name="connsiteY3" fmla="*/ 20669 h 111537"/>
                  <a:gd name="connsiteX4" fmla="*/ 20669 w 111537"/>
                  <a:gd name="connsiteY4" fmla="*/ 0 h 111537"/>
                  <a:gd name="connsiteX5" fmla="*/ 90869 w 111537"/>
                  <a:gd name="connsiteY5" fmla="*/ 0 h 111537"/>
                  <a:gd name="connsiteX6" fmla="*/ 111538 w 111537"/>
                  <a:gd name="connsiteY6" fmla="*/ 20669 h 111537"/>
                  <a:gd name="connsiteX7" fmla="*/ 111538 w 111537"/>
                  <a:gd name="connsiteY7" fmla="*/ 90869 h 111537"/>
                  <a:gd name="connsiteX8" fmla="*/ 90869 w 111537"/>
                  <a:gd name="connsiteY8" fmla="*/ 111538 h 111537"/>
                  <a:gd name="connsiteX9" fmla="*/ 20669 w 111537"/>
                  <a:gd name="connsiteY9" fmla="*/ 14383 h 111537"/>
                  <a:gd name="connsiteX10" fmla="*/ 14288 w 111537"/>
                  <a:gd name="connsiteY10" fmla="*/ 20765 h 111537"/>
                  <a:gd name="connsiteX11" fmla="*/ 14288 w 111537"/>
                  <a:gd name="connsiteY11" fmla="*/ 90964 h 111537"/>
                  <a:gd name="connsiteX12" fmla="*/ 20669 w 111537"/>
                  <a:gd name="connsiteY12" fmla="*/ 97346 h 111537"/>
                  <a:gd name="connsiteX13" fmla="*/ 90869 w 111537"/>
                  <a:gd name="connsiteY13" fmla="*/ 97346 h 111537"/>
                  <a:gd name="connsiteX14" fmla="*/ 97250 w 111537"/>
                  <a:gd name="connsiteY14" fmla="*/ 90964 h 111537"/>
                  <a:gd name="connsiteX15" fmla="*/ 97250 w 111537"/>
                  <a:gd name="connsiteY15" fmla="*/ 20765 h 111537"/>
                  <a:gd name="connsiteX16" fmla="*/ 90869 w 111537"/>
                  <a:gd name="connsiteY16" fmla="*/ 14383 h 111537"/>
                  <a:gd name="connsiteX17" fmla="*/ 20669 w 111537"/>
                  <a:gd name="connsiteY17" fmla="*/ 14383 h 111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11537" h="111537">
                    <a:moveTo>
                      <a:pt x="90869" y="111538"/>
                    </a:moveTo>
                    <a:lnTo>
                      <a:pt x="20669" y="111538"/>
                    </a:lnTo>
                    <a:cubicBezTo>
                      <a:pt x="9239" y="111538"/>
                      <a:pt x="0" y="102299"/>
                      <a:pt x="0" y="90869"/>
                    </a:cubicBezTo>
                    <a:lnTo>
                      <a:pt x="0" y="20669"/>
                    </a:lnTo>
                    <a:cubicBezTo>
                      <a:pt x="0" y="9239"/>
                      <a:pt x="9239" y="0"/>
                      <a:pt x="20669" y="0"/>
                    </a:cubicBezTo>
                    <a:lnTo>
                      <a:pt x="90869" y="0"/>
                    </a:lnTo>
                    <a:cubicBezTo>
                      <a:pt x="102299" y="0"/>
                      <a:pt x="111538" y="9239"/>
                      <a:pt x="111538" y="20669"/>
                    </a:cubicBezTo>
                    <a:lnTo>
                      <a:pt x="111538" y="90869"/>
                    </a:lnTo>
                    <a:cubicBezTo>
                      <a:pt x="111443" y="102299"/>
                      <a:pt x="102203" y="111538"/>
                      <a:pt x="90869" y="111538"/>
                    </a:cubicBezTo>
                    <a:close/>
                    <a:moveTo>
                      <a:pt x="20669" y="14383"/>
                    </a:moveTo>
                    <a:cubicBezTo>
                      <a:pt x="17145" y="14383"/>
                      <a:pt x="14288" y="17240"/>
                      <a:pt x="14288" y="20765"/>
                    </a:cubicBezTo>
                    <a:lnTo>
                      <a:pt x="14288" y="90964"/>
                    </a:lnTo>
                    <a:cubicBezTo>
                      <a:pt x="14288" y="94488"/>
                      <a:pt x="17145" y="97346"/>
                      <a:pt x="20669" y="97346"/>
                    </a:cubicBezTo>
                    <a:lnTo>
                      <a:pt x="90869" y="97346"/>
                    </a:lnTo>
                    <a:cubicBezTo>
                      <a:pt x="94393" y="97346"/>
                      <a:pt x="97250" y="94488"/>
                      <a:pt x="97250" y="90964"/>
                    </a:cubicBezTo>
                    <a:lnTo>
                      <a:pt x="97250" y="20765"/>
                    </a:lnTo>
                    <a:cubicBezTo>
                      <a:pt x="97250" y="17240"/>
                      <a:pt x="94393" y="14383"/>
                      <a:pt x="90869" y="14383"/>
                    </a:cubicBezTo>
                    <a:lnTo>
                      <a:pt x="20669" y="1438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39" name="Grafik 3755">
                <a:extLst>
                  <a:ext uri="{FF2B5EF4-FFF2-40B4-BE49-F238E27FC236}">
                    <a16:creationId xmlns:a16="http://schemas.microsoft.com/office/drawing/2014/main" id="{26835338-0CDA-502F-8B26-24E16276548B}"/>
                  </a:ext>
                </a:extLst>
              </p:cNvPr>
              <p:cNvGrpSpPr/>
              <p:nvPr/>
            </p:nvGrpSpPr>
            <p:grpSpPr bwMode="gray">
              <a:xfrm>
                <a:off x="6054184" y="3468242"/>
                <a:ext cx="79057" cy="62865"/>
                <a:chOff x="6054184" y="3468242"/>
                <a:chExt cx="79057" cy="62865"/>
              </a:xfrm>
              <a:grpFill/>
            </p:grpSpPr>
            <p:sp>
              <p:nvSpPr>
                <p:cNvPr id="41" name="Grafik 3755">
                  <a:extLst>
                    <a:ext uri="{FF2B5EF4-FFF2-40B4-BE49-F238E27FC236}">
                      <a16:creationId xmlns:a16="http://schemas.microsoft.com/office/drawing/2014/main" id="{39C0A6C7-0FA8-40BE-A65A-85C496DB9E0C}"/>
                    </a:ext>
                  </a:extLst>
                </p:cNvPr>
                <p:cNvSpPr/>
                <p:nvPr/>
              </p:nvSpPr>
              <p:spPr bwMode="gray">
                <a:xfrm>
                  <a:off x="6054184" y="3468242"/>
                  <a:ext cx="79057" cy="46672"/>
                </a:xfrm>
                <a:custGeom>
                  <a:avLst/>
                  <a:gdLst>
                    <a:gd name="connsiteX0" fmla="*/ 71914 w 79057"/>
                    <a:gd name="connsiteY0" fmla="*/ 46672 h 46672"/>
                    <a:gd name="connsiteX1" fmla="*/ 64770 w 79057"/>
                    <a:gd name="connsiteY1" fmla="*/ 39529 h 46672"/>
                    <a:gd name="connsiteX2" fmla="*/ 39529 w 79057"/>
                    <a:gd name="connsiteY2" fmla="*/ 14287 h 46672"/>
                    <a:gd name="connsiteX3" fmla="*/ 14288 w 79057"/>
                    <a:gd name="connsiteY3" fmla="*/ 39529 h 46672"/>
                    <a:gd name="connsiteX4" fmla="*/ 7144 w 79057"/>
                    <a:gd name="connsiteY4" fmla="*/ 46672 h 46672"/>
                    <a:gd name="connsiteX5" fmla="*/ 0 w 79057"/>
                    <a:gd name="connsiteY5" fmla="*/ 39529 h 46672"/>
                    <a:gd name="connsiteX6" fmla="*/ 39529 w 79057"/>
                    <a:gd name="connsiteY6" fmla="*/ 0 h 46672"/>
                    <a:gd name="connsiteX7" fmla="*/ 79057 w 79057"/>
                    <a:gd name="connsiteY7" fmla="*/ 39529 h 46672"/>
                    <a:gd name="connsiteX8" fmla="*/ 71914 w 79057"/>
                    <a:gd name="connsiteY8" fmla="*/ 46672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9057" h="46672">
                      <a:moveTo>
                        <a:pt x="71914" y="46672"/>
                      </a:moveTo>
                      <a:cubicBezTo>
                        <a:pt x="68008" y="46672"/>
                        <a:pt x="64770" y="43434"/>
                        <a:pt x="64770" y="39529"/>
                      </a:cubicBezTo>
                      <a:cubicBezTo>
                        <a:pt x="64770" y="25622"/>
                        <a:pt x="53435" y="14287"/>
                        <a:pt x="39529" y="14287"/>
                      </a:cubicBezTo>
                      <a:cubicBezTo>
                        <a:pt x="25622" y="14287"/>
                        <a:pt x="14288" y="25622"/>
                        <a:pt x="14288" y="39529"/>
                      </a:cubicBezTo>
                      <a:cubicBezTo>
                        <a:pt x="14288" y="43434"/>
                        <a:pt x="11049" y="46672"/>
                        <a:pt x="7144" y="46672"/>
                      </a:cubicBezTo>
                      <a:cubicBezTo>
                        <a:pt x="3239" y="46672"/>
                        <a:pt x="0" y="43434"/>
                        <a:pt x="0" y="39529"/>
                      </a:cubicBezTo>
                      <a:cubicBezTo>
                        <a:pt x="0" y="17716"/>
                        <a:pt x="17716" y="0"/>
                        <a:pt x="39529" y="0"/>
                      </a:cubicBezTo>
                      <a:cubicBezTo>
                        <a:pt x="61341" y="0"/>
                        <a:pt x="79057" y="17716"/>
                        <a:pt x="79057" y="39529"/>
                      </a:cubicBezTo>
                      <a:cubicBezTo>
                        <a:pt x="79057" y="43434"/>
                        <a:pt x="75914" y="46672"/>
                        <a:pt x="71914" y="46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" name="Grafik 3755">
                  <a:extLst>
                    <a:ext uri="{FF2B5EF4-FFF2-40B4-BE49-F238E27FC236}">
                      <a16:creationId xmlns:a16="http://schemas.microsoft.com/office/drawing/2014/main" id="{E1134D09-7E0B-1E4F-862D-41A0ACF4EFC3}"/>
                    </a:ext>
                  </a:extLst>
                </p:cNvPr>
                <p:cNvSpPr/>
                <p:nvPr/>
              </p:nvSpPr>
              <p:spPr bwMode="gray">
                <a:xfrm>
                  <a:off x="6054184" y="3500627"/>
                  <a:ext cx="14287" cy="30480"/>
                </a:xfrm>
                <a:custGeom>
                  <a:avLst/>
                  <a:gdLst>
                    <a:gd name="connsiteX0" fmla="*/ 7144 w 14287"/>
                    <a:gd name="connsiteY0" fmla="*/ 30480 h 30480"/>
                    <a:gd name="connsiteX1" fmla="*/ 0 w 14287"/>
                    <a:gd name="connsiteY1" fmla="*/ 23336 h 30480"/>
                    <a:gd name="connsiteX2" fmla="*/ 0 w 14287"/>
                    <a:gd name="connsiteY2" fmla="*/ 7144 h 30480"/>
                    <a:gd name="connsiteX3" fmla="*/ 7144 w 14287"/>
                    <a:gd name="connsiteY3" fmla="*/ 0 h 30480"/>
                    <a:gd name="connsiteX4" fmla="*/ 14288 w 14287"/>
                    <a:gd name="connsiteY4" fmla="*/ 7144 h 30480"/>
                    <a:gd name="connsiteX5" fmla="*/ 14288 w 14287"/>
                    <a:gd name="connsiteY5" fmla="*/ 23336 h 30480"/>
                    <a:gd name="connsiteX6" fmla="*/ 7144 w 14287"/>
                    <a:gd name="connsiteY6" fmla="*/ 30480 h 30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0480">
                      <a:moveTo>
                        <a:pt x="7144" y="30480"/>
                      </a:moveTo>
                      <a:cubicBezTo>
                        <a:pt x="3239" y="30480"/>
                        <a:pt x="0" y="27242"/>
                        <a:pt x="0" y="2333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3336"/>
                      </a:lnTo>
                      <a:cubicBezTo>
                        <a:pt x="14288" y="27242"/>
                        <a:pt x="11049" y="30480"/>
                        <a:pt x="7144" y="304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" name="Grafik 3755">
                  <a:extLst>
                    <a:ext uri="{FF2B5EF4-FFF2-40B4-BE49-F238E27FC236}">
                      <a16:creationId xmlns:a16="http://schemas.microsoft.com/office/drawing/2014/main" id="{9509F626-6783-3B01-6A05-77FBF789AF5B}"/>
                    </a:ext>
                  </a:extLst>
                </p:cNvPr>
                <p:cNvSpPr/>
                <p:nvPr/>
              </p:nvSpPr>
              <p:spPr bwMode="gray">
                <a:xfrm>
                  <a:off x="6118954" y="3500627"/>
                  <a:ext cx="14287" cy="30480"/>
                </a:xfrm>
                <a:custGeom>
                  <a:avLst/>
                  <a:gdLst>
                    <a:gd name="connsiteX0" fmla="*/ 7144 w 14287"/>
                    <a:gd name="connsiteY0" fmla="*/ 30480 h 30480"/>
                    <a:gd name="connsiteX1" fmla="*/ 0 w 14287"/>
                    <a:gd name="connsiteY1" fmla="*/ 23336 h 30480"/>
                    <a:gd name="connsiteX2" fmla="*/ 0 w 14287"/>
                    <a:gd name="connsiteY2" fmla="*/ 7144 h 30480"/>
                    <a:gd name="connsiteX3" fmla="*/ 7144 w 14287"/>
                    <a:gd name="connsiteY3" fmla="*/ 0 h 30480"/>
                    <a:gd name="connsiteX4" fmla="*/ 14288 w 14287"/>
                    <a:gd name="connsiteY4" fmla="*/ 7144 h 30480"/>
                    <a:gd name="connsiteX5" fmla="*/ 14288 w 14287"/>
                    <a:gd name="connsiteY5" fmla="*/ 23336 h 30480"/>
                    <a:gd name="connsiteX6" fmla="*/ 7144 w 14287"/>
                    <a:gd name="connsiteY6" fmla="*/ 30480 h 30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0480">
                      <a:moveTo>
                        <a:pt x="7144" y="30480"/>
                      </a:moveTo>
                      <a:cubicBezTo>
                        <a:pt x="3239" y="30480"/>
                        <a:pt x="0" y="27242"/>
                        <a:pt x="0" y="2333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3336"/>
                      </a:lnTo>
                      <a:cubicBezTo>
                        <a:pt x="14288" y="27242"/>
                        <a:pt x="11144" y="30480"/>
                        <a:pt x="7144" y="304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0" name="Grafik 3755">
                <a:extLst>
                  <a:ext uri="{FF2B5EF4-FFF2-40B4-BE49-F238E27FC236}">
                    <a16:creationId xmlns:a16="http://schemas.microsoft.com/office/drawing/2014/main" id="{2EAF1C36-D121-8D0F-A7C3-3E859C806539}"/>
                  </a:ext>
                </a:extLst>
              </p:cNvPr>
              <p:cNvSpPr/>
              <p:nvPr/>
            </p:nvSpPr>
            <p:spPr bwMode="gray">
              <a:xfrm>
                <a:off x="6071996" y="3538632"/>
                <a:ext cx="43479" cy="67722"/>
              </a:xfrm>
              <a:custGeom>
                <a:avLst/>
                <a:gdLst>
                  <a:gd name="connsiteX0" fmla="*/ 36290 w 43479"/>
                  <a:gd name="connsiteY0" fmla="*/ 67723 h 67722"/>
                  <a:gd name="connsiteX1" fmla="*/ 7144 w 43479"/>
                  <a:gd name="connsiteY1" fmla="*/ 67723 h 67722"/>
                  <a:gd name="connsiteX2" fmla="*/ 1524 w 43479"/>
                  <a:gd name="connsiteY2" fmla="*/ 64961 h 67722"/>
                  <a:gd name="connsiteX3" fmla="*/ 191 w 43479"/>
                  <a:gd name="connsiteY3" fmla="*/ 58865 h 67722"/>
                  <a:gd name="connsiteX4" fmla="*/ 5810 w 43479"/>
                  <a:gd name="connsiteY4" fmla="*/ 36481 h 67722"/>
                  <a:gd name="connsiteX5" fmla="*/ 0 w 43479"/>
                  <a:gd name="connsiteY5" fmla="*/ 21717 h 67722"/>
                  <a:gd name="connsiteX6" fmla="*/ 21717 w 43479"/>
                  <a:gd name="connsiteY6" fmla="*/ 0 h 67722"/>
                  <a:gd name="connsiteX7" fmla="*/ 43434 w 43479"/>
                  <a:gd name="connsiteY7" fmla="*/ 21717 h 67722"/>
                  <a:gd name="connsiteX8" fmla="*/ 37624 w 43479"/>
                  <a:gd name="connsiteY8" fmla="*/ 36481 h 67722"/>
                  <a:gd name="connsiteX9" fmla="*/ 43244 w 43479"/>
                  <a:gd name="connsiteY9" fmla="*/ 58865 h 67722"/>
                  <a:gd name="connsiteX10" fmla="*/ 41910 w 43479"/>
                  <a:gd name="connsiteY10" fmla="*/ 64961 h 67722"/>
                  <a:gd name="connsiteX11" fmla="*/ 36290 w 43479"/>
                  <a:gd name="connsiteY11" fmla="*/ 67723 h 67722"/>
                  <a:gd name="connsiteX12" fmla="*/ 16288 w 43479"/>
                  <a:gd name="connsiteY12" fmla="*/ 53435 h 67722"/>
                  <a:gd name="connsiteX13" fmla="*/ 27146 w 43479"/>
                  <a:gd name="connsiteY13" fmla="*/ 53435 h 67722"/>
                  <a:gd name="connsiteX14" fmla="*/ 22670 w 43479"/>
                  <a:gd name="connsiteY14" fmla="*/ 35624 h 67722"/>
                  <a:gd name="connsiteX15" fmla="*/ 25718 w 43479"/>
                  <a:gd name="connsiteY15" fmla="*/ 27908 h 67722"/>
                  <a:gd name="connsiteX16" fmla="*/ 29147 w 43479"/>
                  <a:gd name="connsiteY16" fmla="*/ 21717 h 67722"/>
                  <a:gd name="connsiteX17" fmla="*/ 21717 w 43479"/>
                  <a:gd name="connsiteY17" fmla="*/ 14288 h 67722"/>
                  <a:gd name="connsiteX18" fmla="*/ 14288 w 43479"/>
                  <a:gd name="connsiteY18" fmla="*/ 21717 h 67722"/>
                  <a:gd name="connsiteX19" fmla="*/ 17717 w 43479"/>
                  <a:gd name="connsiteY19" fmla="*/ 27908 h 67722"/>
                  <a:gd name="connsiteX20" fmla="*/ 20765 w 43479"/>
                  <a:gd name="connsiteY20" fmla="*/ 35624 h 67722"/>
                  <a:gd name="connsiteX21" fmla="*/ 16288 w 43479"/>
                  <a:gd name="connsiteY21" fmla="*/ 53435 h 67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43479" h="67722">
                    <a:moveTo>
                      <a:pt x="36290" y="67723"/>
                    </a:moveTo>
                    <a:lnTo>
                      <a:pt x="7144" y="67723"/>
                    </a:lnTo>
                    <a:cubicBezTo>
                      <a:pt x="4953" y="67723"/>
                      <a:pt x="2858" y="66675"/>
                      <a:pt x="1524" y="64961"/>
                    </a:cubicBezTo>
                    <a:cubicBezTo>
                      <a:pt x="191" y="63246"/>
                      <a:pt x="-286" y="61055"/>
                      <a:pt x="191" y="58865"/>
                    </a:cubicBezTo>
                    <a:lnTo>
                      <a:pt x="5810" y="36481"/>
                    </a:lnTo>
                    <a:cubicBezTo>
                      <a:pt x="2096" y="32480"/>
                      <a:pt x="0" y="27242"/>
                      <a:pt x="0" y="21717"/>
                    </a:cubicBezTo>
                    <a:cubicBezTo>
                      <a:pt x="0" y="9716"/>
                      <a:pt x="9716" y="0"/>
                      <a:pt x="21717" y="0"/>
                    </a:cubicBezTo>
                    <a:cubicBezTo>
                      <a:pt x="33719" y="0"/>
                      <a:pt x="43434" y="9716"/>
                      <a:pt x="43434" y="21717"/>
                    </a:cubicBezTo>
                    <a:cubicBezTo>
                      <a:pt x="43434" y="27242"/>
                      <a:pt x="41339" y="32480"/>
                      <a:pt x="37624" y="36481"/>
                    </a:cubicBezTo>
                    <a:lnTo>
                      <a:pt x="43244" y="58865"/>
                    </a:lnTo>
                    <a:cubicBezTo>
                      <a:pt x="43815" y="60960"/>
                      <a:pt x="43339" y="63246"/>
                      <a:pt x="41910" y="64961"/>
                    </a:cubicBezTo>
                    <a:cubicBezTo>
                      <a:pt x="40577" y="66770"/>
                      <a:pt x="38481" y="67723"/>
                      <a:pt x="36290" y="67723"/>
                    </a:cubicBezTo>
                    <a:close/>
                    <a:moveTo>
                      <a:pt x="16288" y="53435"/>
                    </a:moveTo>
                    <a:lnTo>
                      <a:pt x="27146" y="53435"/>
                    </a:lnTo>
                    <a:lnTo>
                      <a:pt x="22670" y="35624"/>
                    </a:lnTo>
                    <a:cubicBezTo>
                      <a:pt x="21908" y="32671"/>
                      <a:pt x="23146" y="29528"/>
                      <a:pt x="25718" y="27908"/>
                    </a:cubicBezTo>
                    <a:cubicBezTo>
                      <a:pt x="27813" y="26575"/>
                      <a:pt x="29147" y="24194"/>
                      <a:pt x="29147" y="21717"/>
                    </a:cubicBezTo>
                    <a:cubicBezTo>
                      <a:pt x="29147" y="17621"/>
                      <a:pt x="25813" y="14288"/>
                      <a:pt x="21717" y="14288"/>
                    </a:cubicBezTo>
                    <a:cubicBezTo>
                      <a:pt x="17621" y="14288"/>
                      <a:pt x="14288" y="17621"/>
                      <a:pt x="14288" y="21717"/>
                    </a:cubicBezTo>
                    <a:cubicBezTo>
                      <a:pt x="14288" y="24194"/>
                      <a:pt x="15526" y="26575"/>
                      <a:pt x="17717" y="27908"/>
                    </a:cubicBezTo>
                    <a:cubicBezTo>
                      <a:pt x="20288" y="29528"/>
                      <a:pt x="21527" y="32671"/>
                      <a:pt x="20765" y="35624"/>
                    </a:cubicBezTo>
                    <a:lnTo>
                      <a:pt x="16288" y="5343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60" name="Grafik 2">
            <a:extLst>
              <a:ext uri="{FF2B5EF4-FFF2-40B4-BE49-F238E27FC236}">
                <a16:creationId xmlns:a16="http://schemas.microsoft.com/office/drawing/2014/main" id="{8415EC0C-6E9D-D3FF-CD1C-D3F7DDBE83F5}"/>
              </a:ext>
            </a:extLst>
          </p:cNvPr>
          <p:cNvGrpSpPr/>
          <p:nvPr/>
        </p:nvGrpSpPr>
        <p:grpSpPr bwMode="gray">
          <a:xfrm>
            <a:off x="318344" y="1865141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1" name="Grafik 2">
              <a:extLst>
                <a:ext uri="{FF2B5EF4-FFF2-40B4-BE49-F238E27FC236}">
                  <a16:creationId xmlns:a16="http://schemas.microsoft.com/office/drawing/2014/main" id="{DA099E64-3228-7EDD-FB85-FC0E80E466B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68" name="Grafik 2">
                <a:extLst>
                  <a:ext uri="{FF2B5EF4-FFF2-40B4-BE49-F238E27FC236}">
                    <a16:creationId xmlns:a16="http://schemas.microsoft.com/office/drawing/2014/main" id="{74530C3F-6D1C-0952-4B3A-938B9357257B}"/>
                  </a:ext>
                </a:extLst>
              </p:cNvPr>
              <p:cNvGrpSpPr/>
              <p:nvPr/>
            </p:nvGrpSpPr>
            <p:grpSpPr bwMode="gray">
              <a:xfrm>
                <a:off x="5951066" y="3230233"/>
                <a:ext cx="285352" cy="149902"/>
                <a:chOff x="5951066" y="3230233"/>
                <a:chExt cx="285352" cy="149902"/>
              </a:xfrm>
              <a:grpFill/>
            </p:grpSpPr>
            <p:grpSp>
              <p:nvGrpSpPr>
                <p:cNvPr id="71" name="Grafik 2">
                  <a:extLst>
                    <a:ext uri="{FF2B5EF4-FFF2-40B4-BE49-F238E27FC236}">
                      <a16:creationId xmlns:a16="http://schemas.microsoft.com/office/drawing/2014/main" id="{96C74397-6AD7-67CA-AFB6-A8BDBCFCDACA}"/>
                    </a:ext>
                  </a:extLst>
                </p:cNvPr>
                <p:cNvGrpSpPr/>
                <p:nvPr/>
              </p:nvGrpSpPr>
              <p:grpSpPr bwMode="gray">
                <a:xfrm>
                  <a:off x="6118933" y="3230233"/>
                  <a:ext cx="117485" cy="65892"/>
                  <a:chOff x="6118933" y="3230233"/>
                  <a:chExt cx="117485" cy="65892"/>
                </a:xfrm>
                <a:grpFill/>
              </p:grpSpPr>
              <p:sp>
                <p:nvSpPr>
                  <p:cNvPr id="84" name="Grafik 2">
                    <a:extLst>
                      <a:ext uri="{FF2B5EF4-FFF2-40B4-BE49-F238E27FC236}">
                        <a16:creationId xmlns:a16="http://schemas.microsoft.com/office/drawing/2014/main" id="{DC445212-FC07-554F-6D98-5C2C678A0C3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33" y="3230233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225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225"/>
                        </a:lnTo>
                        <a:cubicBezTo>
                          <a:pt x="9356" y="65702"/>
                          <a:pt x="8308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5" name="Grafik 2">
                    <a:extLst>
                      <a:ext uri="{FF2B5EF4-FFF2-40B4-BE49-F238E27FC236}">
                        <a16:creationId xmlns:a16="http://schemas.microsoft.com/office/drawing/2014/main" id="{8DE243A8-59E9-E972-3B29-89DF3B3E6D0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307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9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6" name="Grafik 2">
                    <a:extLst>
                      <a:ext uri="{FF2B5EF4-FFF2-40B4-BE49-F238E27FC236}">
                        <a16:creationId xmlns:a16="http://schemas.microsoft.com/office/drawing/2014/main" id="{2A221169-C0EF-D8AB-0CD6-495C8F9DCBD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72" name="Grafik 2">
                  <a:extLst>
                    <a:ext uri="{FF2B5EF4-FFF2-40B4-BE49-F238E27FC236}">
                      <a16:creationId xmlns:a16="http://schemas.microsoft.com/office/drawing/2014/main" id="{1DBA7A90-F9AA-0E53-41D3-A235A742C8D5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44"/>
                  <a:ext cx="117485" cy="65892"/>
                  <a:chOff x="5951103" y="3314244"/>
                  <a:chExt cx="117485" cy="65892"/>
                </a:xfrm>
                <a:grpFill/>
              </p:grpSpPr>
              <p:sp>
                <p:nvSpPr>
                  <p:cNvPr id="81" name="Grafik 2">
                    <a:extLst>
                      <a:ext uri="{FF2B5EF4-FFF2-40B4-BE49-F238E27FC236}">
                        <a16:creationId xmlns:a16="http://schemas.microsoft.com/office/drawing/2014/main" id="{65C3921A-FD26-E7AA-2A4C-060DB164A65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44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130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130"/>
                        </a:lnTo>
                        <a:cubicBezTo>
                          <a:pt x="9356" y="65606"/>
                          <a:pt x="8213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2" name="Grafik 2">
                    <a:extLst>
                      <a:ext uri="{FF2B5EF4-FFF2-40B4-BE49-F238E27FC236}">
                        <a16:creationId xmlns:a16="http://schemas.microsoft.com/office/drawing/2014/main" id="{07EC591F-830F-F2D7-EAF1-F4A062ED207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3" name="Grafik 2">
                    <a:extLst>
                      <a:ext uri="{FF2B5EF4-FFF2-40B4-BE49-F238E27FC236}">
                        <a16:creationId xmlns:a16="http://schemas.microsoft.com/office/drawing/2014/main" id="{7BF60E6C-B0B7-5EBA-F1B6-C3E11C86552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73" name="Grafik 2">
                  <a:extLst>
                    <a:ext uri="{FF2B5EF4-FFF2-40B4-BE49-F238E27FC236}">
                      <a16:creationId xmlns:a16="http://schemas.microsoft.com/office/drawing/2014/main" id="{DBD735CB-5484-0970-94FD-B312734CEE42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78" name="Grafik 2">
                    <a:extLst>
                      <a:ext uri="{FF2B5EF4-FFF2-40B4-BE49-F238E27FC236}">
                        <a16:creationId xmlns:a16="http://schemas.microsoft.com/office/drawing/2014/main" id="{BC58F299-ECDF-7A51-29E3-62A6C2451C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9" name="Grafik 2">
                    <a:extLst>
                      <a:ext uri="{FF2B5EF4-FFF2-40B4-BE49-F238E27FC236}">
                        <a16:creationId xmlns:a16="http://schemas.microsoft.com/office/drawing/2014/main" id="{D0728919-E354-E3D7-B342-D1B9CF84103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0" name="Grafik 2">
                    <a:extLst>
                      <a:ext uri="{FF2B5EF4-FFF2-40B4-BE49-F238E27FC236}">
                        <a16:creationId xmlns:a16="http://schemas.microsoft.com/office/drawing/2014/main" id="{9EDFC0ED-8106-DB25-DD31-27C75636B34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74" name="Grafik 2">
                  <a:extLst>
                    <a:ext uri="{FF2B5EF4-FFF2-40B4-BE49-F238E27FC236}">
                      <a16:creationId xmlns:a16="http://schemas.microsoft.com/office/drawing/2014/main" id="{A1BC9520-7357-131D-AF00-F612247A8E55}"/>
                    </a:ext>
                  </a:extLst>
                </p:cNvPr>
                <p:cNvGrpSpPr/>
                <p:nvPr/>
              </p:nvGrpSpPr>
              <p:grpSpPr bwMode="gray">
                <a:xfrm>
                  <a:off x="5951066" y="3230345"/>
                  <a:ext cx="117405" cy="65779"/>
                  <a:chOff x="5951066" y="3230345"/>
                  <a:chExt cx="117405" cy="65779"/>
                </a:xfrm>
                <a:grpFill/>
              </p:grpSpPr>
              <p:sp>
                <p:nvSpPr>
                  <p:cNvPr id="75" name="Grafik 2">
                    <a:extLst>
                      <a:ext uri="{FF2B5EF4-FFF2-40B4-BE49-F238E27FC236}">
                        <a16:creationId xmlns:a16="http://schemas.microsoft.com/office/drawing/2014/main" id="{430C0D6B-0072-82E8-AD13-42EF9F0C954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066" y="3230345"/>
                    <a:ext cx="117367" cy="65779"/>
                  </a:xfrm>
                  <a:custGeom>
                    <a:avLst/>
                    <a:gdLst>
                      <a:gd name="connsiteX0" fmla="*/ 110262 w 117367"/>
                      <a:gd name="connsiteY0" fmla="*/ 65780 h 65779"/>
                      <a:gd name="connsiteX1" fmla="*/ 107118 w 117367"/>
                      <a:gd name="connsiteY1" fmla="*/ 65018 h 65779"/>
                      <a:gd name="connsiteX2" fmla="*/ 3963 w 117367"/>
                      <a:gd name="connsiteY2" fmla="*/ 13583 h 65779"/>
                      <a:gd name="connsiteX3" fmla="*/ 724 w 117367"/>
                      <a:gd name="connsiteY3" fmla="*/ 3963 h 65779"/>
                      <a:gd name="connsiteX4" fmla="*/ 10344 w 117367"/>
                      <a:gd name="connsiteY4" fmla="*/ 724 h 65779"/>
                      <a:gd name="connsiteX5" fmla="*/ 113405 w 117367"/>
                      <a:gd name="connsiteY5" fmla="*/ 52254 h 65779"/>
                      <a:gd name="connsiteX6" fmla="*/ 116643 w 117367"/>
                      <a:gd name="connsiteY6" fmla="*/ 61875 h 65779"/>
                      <a:gd name="connsiteX7" fmla="*/ 110262 w 117367"/>
                      <a:gd name="connsiteY7" fmla="*/ 65780 h 65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779">
                        <a:moveTo>
                          <a:pt x="110262" y="65780"/>
                        </a:moveTo>
                        <a:cubicBezTo>
                          <a:pt x="109214" y="65780"/>
                          <a:pt x="108071" y="65494"/>
                          <a:pt x="107118" y="65018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405" y="64351"/>
                          <a:pt x="112833" y="65780"/>
                          <a:pt x="110262" y="6578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6" name="Grafik 2">
                    <a:extLst>
                      <a:ext uri="{FF2B5EF4-FFF2-40B4-BE49-F238E27FC236}">
                        <a16:creationId xmlns:a16="http://schemas.microsoft.com/office/drawing/2014/main" id="{E8E1757E-DA06-2296-888D-A3178BBF541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7" name="Grafik 2">
                    <a:extLst>
                      <a:ext uri="{FF2B5EF4-FFF2-40B4-BE49-F238E27FC236}">
                        <a16:creationId xmlns:a16="http://schemas.microsoft.com/office/drawing/2014/main" id="{B311FB16-843E-BEA4-9909-EA4F3BBC6AD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83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69" name="Grafik 2">
                <a:extLst>
                  <a:ext uri="{FF2B5EF4-FFF2-40B4-BE49-F238E27FC236}">
                    <a16:creationId xmlns:a16="http://schemas.microsoft.com/office/drawing/2014/main" id="{C17D78A2-65CB-E0B2-812F-F4306079461F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0" name="Grafik 2">
                <a:extLst>
                  <a:ext uri="{FF2B5EF4-FFF2-40B4-BE49-F238E27FC236}">
                    <a16:creationId xmlns:a16="http://schemas.microsoft.com/office/drawing/2014/main" id="{267DBE15-1B5D-0D44-C653-F0EFF7FE5821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2" name="Grafik 2">
              <a:extLst>
                <a:ext uri="{FF2B5EF4-FFF2-40B4-BE49-F238E27FC236}">
                  <a16:creationId xmlns:a16="http://schemas.microsoft.com/office/drawing/2014/main" id="{9FC267DC-46A7-869A-9292-7D35CD4CCE50}"/>
                </a:ext>
              </a:extLst>
            </p:cNvPr>
            <p:cNvGrpSpPr/>
            <p:nvPr/>
          </p:nvGrpSpPr>
          <p:grpSpPr bwMode="gray">
            <a:xfrm>
              <a:off x="5973222" y="3483696"/>
              <a:ext cx="243268" cy="129039"/>
              <a:chOff x="5973222" y="3483696"/>
              <a:chExt cx="243268" cy="129039"/>
            </a:xfrm>
            <a:grpFill/>
          </p:grpSpPr>
          <p:sp>
            <p:nvSpPr>
              <p:cNvPr id="63" name="Grafik 2">
                <a:extLst>
                  <a:ext uri="{FF2B5EF4-FFF2-40B4-BE49-F238E27FC236}">
                    <a16:creationId xmlns:a16="http://schemas.microsoft.com/office/drawing/2014/main" id="{A8E18713-90B2-900B-DF2D-351880BBDDD2}"/>
                  </a:ext>
                </a:extLst>
              </p:cNvPr>
              <p:cNvSpPr/>
              <p:nvPr/>
            </p:nvSpPr>
            <p:spPr bwMode="gray">
              <a:xfrm>
                <a:off x="6102667" y="3483696"/>
                <a:ext cx="113823" cy="129039"/>
              </a:xfrm>
              <a:custGeom>
                <a:avLst/>
                <a:gdLst>
                  <a:gd name="connsiteX0" fmla="*/ 7239 w 113823"/>
                  <a:gd name="connsiteY0" fmla="*/ 129040 h 129039"/>
                  <a:gd name="connsiteX1" fmla="*/ 3619 w 113823"/>
                  <a:gd name="connsiteY1" fmla="*/ 128087 h 129039"/>
                  <a:gd name="connsiteX2" fmla="*/ 0 w 113823"/>
                  <a:gd name="connsiteY2" fmla="*/ 121896 h 129039"/>
                  <a:gd name="connsiteX3" fmla="*/ 0 w 113823"/>
                  <a:gd name="connsiteY3" fmla="*/ 7120 h 129039"/>
                  <a:gd name="connsiteX4" fmla="*/ 3619 w 113823"/>
                  <a:gd name="connsiteY4" fmla="*/ 929 h 129039"/>
                  <a:gd name="connsiteX5" fmla="*/ 10763 w 113823"/>
                  <a:gd name="connsiteY5" fmla="*/ 929 h 129039"/>
                  <a:gd name="connsiteX6" fmla="*/ 110204 w 113823"/>
                  <a:gd name="connsiteY6" fmla="*/ 58364 h 129039"/>
                  <a:gd name="connsiteX7" fmla="*/ 113824 w 113823"/>
                  <a:gd name="connsiteY7" fmla="*/ 64556 h 129039"/>
                  <a:gd name="connsiteX8" fmla="*/ 110204 w 113823"/>
                  <a:gd name="connsiteY8" fmla="*/ 70747 h 129039"/>
                  <a:gd name="connsiteX9" fmla="*/ 10763 w 113823"/>
                  <a:gd name="connsiteY9" fmla="*/ 128183 h 129039"/>
                  <a:gd name="connsiteX10" fmla="*/ 7239 w 113823"/>
                  <a:gd name="connsiteY10" fmla="*/ 129040 h 129039"/>
                  <a:gd name="connsiteX11" fmla="*/ 14383 w 113823"/>
                  <a:gd name="connsiteY11" fmla="*/ 19502 h 129039"/>
                  <a:gd name="connsiteX12" fmla="*/ 14383 w 113823"/>
                  <a:gd name="connsiteY12" fmla="*/ 109514 h 129039"/>
                  <a:gd name="connsiteX13" fmla="*/ 92393 w 113823"/>
                  <a:gd name="connsiteY13" fmla="*/ 64460 h 129039"/>
                  <a:gd name="connsiteX14" fmla="*/ 14383 w 113823"/>
                  <a:gd name="connsiteY14" fmla="*/ 19502 h 1290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3823" h="129039">
                    <a:moveTo>
                      <a:pt x="7239" y="129040"/>
                    </a:moveTo>
                    <a:cubicBezTo>
                      <a:pt x="6001" y="129040"/>
                      <a:pt x="4763" y="128754"/>
                      <a:pt x="3619" y="128087"/>
                    </a:cubicBezTo>
                    <a:cubicBezTo>
                      <a:pt x="1429" y="126849"/>
                      <a:pt x="0" y="124468"/>
                      <a:pt x="0" y="121896"/>
                    </a:cubicBezTo>
                    <a:lnTo>
                      <a:pt x="0" y="7120"/>
                    </a:lnTo>
                    <a:cubicBezTo>
                      <a:pt x="0" y="4548"/>
                      <a:pt x="1333" y="2167"/>
                      <a:pt x="3619" y="929"/>
                    </a:cubicBezTo>
                    <a:cubicBezTo>
                      <a:pt x="5810" y="-310"/>
                      <a:pt x="8572" y="-310"/>
                      <a:pt x="10763" y="929"/>
                    </a:cubicBezTo>
                    <a:lnTo>
                      <a:pt x="110204" y="58364"/>
                    </a:lnTo>
                    <a:cubicBezTo>
                      <a:pt x="112395" y="59603"/>
                      <a:pt x="113824" y="61984"/>
                      <a:pt x="113824" y="64556"/>
                    </a:cubicBezTo>
                    <a:cubicBezTo>
                      <a:pt x="113824" y="67127"/>
                      <a:pt x="112490" y="69509"/>
                      <a:pt x="110204" y="70747"/>
                    </a:cubicBezTo>
                    <a:lnTo>
                      <a:pt x="10763" y="128183"/>
                    </a:lnTo>
                    <a:cubicBezTo>
                      <a:pt x="9715" y="128754"/>
                      <a:pt x="8477" y="129040"/>
                      <a:pt x="7239" y="129040"/>
                    </a:cubicBezTo>
                    <a:close/>
                    <a:moveTo>
                      <a:pt x="14383" y="19502"/>
                    </a:moveTo>
                    <a:lnTo>
                      <a:pt x="14383" y="109514"/>
                    </a:lnTo>
                    <a:lnTo>
                      <a:pt x="92393" y="64460"/>
                    </a:lnTo>
                    <a:lnTo>
                      <a:pt x="14383" y="19502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64" name="Grafik 2">
                <a:extLst>
                  <a:ext uri="{FF2B5EF4-FFF2-40B4-BE49-F238E27FC236}">
                    <a16:creationId xmlns:a16="http://schemas.microsoft.com/office/drawing/2014/main" id="{97CF7EC8-C4B9-7655-DA3D-E196365340E1}"/>
                  </a:ext>
                </a:extLst>
              </p:cNvPr>
              <p:cNvGrpSpPr/>
              <p:nvPr/>
            </p:nvGrpSpPr>
            <p:grpSpPr bwMode="gray">
              <a:xfrm>
                <a:off x="5973222" y="3508723"/>
                <a:ext cx="111442" cy="79057"/>
                <a:chOff x="5973222" y="3508723"/>
                <a:chExt cx="111442" cy="79057"/>
              </a:xfrm>
              <a:grpFill/>
            </p:grpSpPr>
            <p:sp>
              <p:nvSpPr>
                <p:cNvPr id="65" name="Grafik 2">
                  <a:extLst>
                    <a:ext uri="{FF2B5EF4-FFF2-40B4-BE49-F238E27FC236}">
                      <a16:creationId xmlns:a16="http://schemas.microsoft.com/office/drawing/2014/main" id="{61BC472F-D55A-F8E2-C1D9-D4C8A99C0554}"/>
                    </a:ext>
                  </a:extLst>
                </p:cNvPr>
                <p:cNvSpPr/>
                <p:nvPr/>
              </p:nvSpPr>
              <p:spPr bwMode="gray">
                <a:xfrm>
                  <a:off x="5973222" y="3508723"/>
                  <a:ext cx="111442" cy="14287"/>
                </a:xfrm>
                <a:custGeom>
                  <a:avLst/>
                  <a:gdLst>
                    <a:gd name="connsiteX0" fmla="*/ 104299 w 111442"/>
                    <a:gd name="connsiteY0" fmla="*/ 14288 h 14287"/>
                    <a:gd name="connsiteX1" fmla="*/ 7144 w 111442"/>
                    <a:gd name="connsiteY1" fmla="*/ 14288 h 14287"/>
                    <a:gd name="connsiteX2" fmla="*/ 0 w 111442"/>
                    <a:gd name="connsiteY2" fmla="*/ 7144 h 14287"/>
                    <a:gd name="connsiteX3" fmla="*/ 7144 w 111442"/>
                    <a:gd name="connsiteY3" fmla="*/ 0 h 14287"/>
                    <a:gd name="connsiteX4" fmla="*/ 104299 w 111442"/>
                    <a:gd name="connsiteY4" fmla="*/ 0 h 14287"/>
                    <a:gd name="connsiteX5" fmla="*/ 111443 w 111442"/>
                    <a:gd name="connsiteY5" fmla="*/ 7144 h 14287"/>
                    <a:gd name="connsiteX6" fmla="*/ 104299 w 111442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1442" h="14287">
                      <a:moveTo>
                        <a:pt x="104299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4299" y="0"/>
                      </a:lnTo>
                      <a:cubicBezTo>
                        <a:pt x="108204" y="0"/>
                        <a:pt x="111443" y="3239"/>
                        <a:pt x="111443" y="7144"/>
                      </a:cubicBezTo>
                      <a:cubicBezTo>
                        <a:pt x="111443" y="11049"/>
                        <a:pt x="108204" y="14288"/>
                        <a:pt x="10429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" name="Grafik 2">
                  <a:extLst>
                    <a:ext uri="{FF2B5EF4-FFF2-40B4-BE49-F238E27FC236}">
                      <a16:creationId xmlns:a16="http://schemas.microsoft.com/office/drawing/2014/main" id="{2E75F273-399C-55FB-D7DB-F54A2941C245}"/>
                    </a:ext>
                  </a:extLst>
                </p:cNvPr>
                <p:cNvSpPr/>
                <p:nvPr/>
              </p:nvSpPr>
              <p:spPr bwMode="gray">
                <a:xfrm>
                  <a:off x="5973222" y="3541108"/>
                  <a:ext cx="111442" cy="14287"/>
                </a:xfrm>
                <a:custGeom>
                  <a:avLst/>
                  <a:gdLst>
                    <a:gd name="connsiteX0" fmla="*/ 104299 w 111442"/>
                    <a:gd name="connsiteY0" fmla="*/ 14288 h 14287"/>
                    <a:gd name="connsiteX1" fmla="*/ 7144 w 111442"/>
                    <a:gd name="connsiteY1" fmla="*/ 14288 h 14287"/>
                    <a:gd name="connsiteX2" fmla="*/ 0 w 111442"/>
                    <a:gd name="connsiteY2" fmla="*/ 7144 h 14287"/>
                    <a:gd name="connsiteX3" fmla="*/ 7144 w 111442"/>
                    <a:gd name="connsiteY3" fmla="*/ 0 h 14287"/>
                    <a:gd name="connsiteX4" fmla="*/ 104299 w 111442"/>
                    <a:gd name="connsiteY4" fmla="*/ 0 h 14287"/>
                    <a:gd name="connsiteX5" fmla="*/ 111443 w 111442"/>
                    <a:gd name="connsiteY5" fmla="*/ 7144 h 14287"/>
                    <a:gd name="connsiteX6" fmla="*/ 104299 w 111442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1442" h="14287">
                      <a:moveTo>
                        <a:pt x="104299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4299" y="0"/>
                      </a:lnTo>
                      <a:cubicBezTo>
                        <a:pt x="108204" y="0"/>
                        <a:pt x="111443" y="3239"/>
                        <a:pt x="111443" y="7144"/>
                      </a:cubicBezTo>
                      <a:cubicBezTo>
                        <a:pt x="111443" y="11049"/>
                        <a:pt x="108204" y="14288"/>
                        <a:pt x="10429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7" name="Grafik 2">
                  <a:extLst>
                    <a:ext uri="{FF2B5EF4-FFF2-40B4-BE49-F238E27FC236}">
                      <a16:creationId xmlns:a16="http://schemas.microsoft.com/office/drawing/2014/main" id="{A7AFF3B9-0C03-7E97-42A9-6764F20F508F}"/>
                    </a:ext>
                  </a:extLst>
                </p:cNvPr>
                <p:cNvSpPr/>
                <p:nvPr/>
              </p:nvSpPr>
              <p:spPr bwMode="gray">
                <a:xfrm>
                  <a:off x="5973222" y="3573493"/>
                  <a:ext cx="111442" cy="14287"/>
                </a:xfrm>
                <a:custGeom>
                  <a:avLst/>
                  <a:gdLst>
                    <a:gd name="connsiteX0" fmla="*/ 104299 w 111442"/>
                    <a:gd name="connsiteY0" fmla="*/ 14288 h 14287"/>
                    <a:gd name="connsiteX1" fmla="*/ 7144 w 111442"/>
                    <a:gd name="connsiteY1" fmla="*/ 14288 h 14287"/>
                    <a:gd name="connsiteX2" fmla="*/ 0 w 111442"/>
                    <a:gd name="connsiteY2" fmla="*/ 7144 h 14287"/>
                    <a:gd name="connsiteX3" fmla="*/ 7144 w 111442"/>
                    <a:gd name="connsiteY3" fmla="*/ 0 h 14287"/>
                    <a:gd name="connsiteX4" fmla="*/ 104299 w 111442"/>
                    <a:gd name="connsiteY4" fmla="*/ 0 h 14287"/>
                    <a:gd name="connsiteX5" fmla="*/ 111443 w 111442"/>
                    <a:gd name="connsiteY5" fmla="*/ 7144 h 14287"/>
                    <a:gd name="connsiteX6" fmla="*/ 104299 w 111442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1442" h="14287">
                      <a:moveTo>
                        <a:pt x="104299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4299" y="0"/>
                      </a:lnTo>
                      <a:cubicBezTo>
                        <a:pt x="108204" y="0"/>
                        <a:pt x="111443" y="3239"/>
                        <a:pt x="111443" y="7144"/>
                      </a:cubicBezTo>
                      <a:cubicBezTo>
                        <a:pt x="111443" y="11049"/>
                        <a:pt x="108204" y="14288"/>
                        <a:pt x="10429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87" name="Grafik 5">
            <a:extLst>
              <a:ext uri="{FF2B5EF4-FFF2-40B4-BE49-F238E27FC236}">
                <a16:creationId xmlns:a16="http://schemas.microsoft.com/office/drawing/2014/main" id="{E288D326-32E7-BAA1-2AA2-5C4204BD4441}"/>
              </a:ext>
            </a:extLst>
          </p:cNvPr>
          <p:cNvGrpSpPr/>
          <p:nvPr/>
        </p:nvGrpSpPr>
        <p:grpSpPr bwMode="gray">
          <a:xfrm>
            <a:off x="318344" y="2402528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88" name="Grafik 5">
              <a:extLst>
                <a:ext uri="{FF2B5EF4-FFF2-40B4-BE49-F238E27FC236}">
                  <a16:creationId xmlns:a16="http://schemas.microsoft.com/office/drawing/2014/main" id="{B04031BA-8DA6-96D2-7463-F71371B48171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97" name="Grafik 5">
                <a:extLst>
                  <a:ext uri="{FF2B5EF4-FFF2-40B4-BE49-F238E27FC236}">
                    <a16:creationId xmlns:a16="http://schemas.microsoft.com/office/drawing/2014/main" id="{43ADF3C4-C065-95EF-EDF2-560EA7BFC997}"/>
                  </a:ext>
                </a:extLst>
              </p:cNvPr>
              <p:cNvGrpSpPr/>
              <p:nvPr/>
            </p:nvGrpSpPr>
            <p:grpSpPr bwMode="gray">
              <a:xfrm>
                <a:off x="5951066" y="3230233"/>
                <a:ext cx="285352" cy="149902"/>
                <a:chOff x="5951066" y="3230233"/>
                <a:chExt cx="285352" cy="149902"/>
              </a:xfrm>
              <a:grpFill/>
            </p:grpSpPr>
            <p:grpSp>
              <p:nvGrpSpPr>
                <p:cNvPr id="100" name="Grafik 5">
                  <a:extLst>
                    <a:ext uri="{FF2B5EF4-FFF2-40B4-BE49-F238E27FC236}">
                      <a16:creationId xmlns:a16="http://schemas.microsoft.com/office/drawing/2014/main" id="{377E0961-24DA-2951-74C2-17F0C404EE3B}"/>
                    </a:ext>
                  </a:extLst>
                </p:cNvPr>
                <p:cNvGrpSpPr/>
                <p:nvPr/>
              </p:nvGrpSpPr>
              <p:grpSpPr bwMode="gray">
                <a:xfrm>
                  <a:off x="6118933" y="3230233"/>
                  <a:ext cx="117485" cy="65892"/>
                  <a:chOff x="6118933" y="3230233"/>
                  <a:chExt cx="117485" cy="65892"/>
                </a:xfrm>
                <a:grpFill/>
              </p:grpSpPr>
              <p:sp>
                <p:nvSpPr>
                  <p:cNvPr id="113" name="Grafik 5">
                    <a:extLst>
                      <a:ext uri="{FF2B5EF4-FFF2-40B4-BE49-F238E27FC236}">
                        <a16:creationId xmlns:a16="http://schemas.microsoft.com/office/drawing/2014/main" id="{0C386654-8C68-B56C-FDA1-D56014D037E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33" y="3230233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225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225"/>
                        </a:lnTo>
                        <a:cubicBezTo>
                          <a:pt x="9356" y="65702"/>
                          <a:pt x="8308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4" name="Grafik 5">
                    <a:extLst>
                      <a:ext uri="{FF2B5EF4-FFF2-40B4-BE49-F238E27FC236}">
                        <a16:creationId xmlns:a16="http://schemas.microsoft.com/office/drawing/2014/main" id="{4D859ED5-04AB-544D-4D2D-0C45D76817B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307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9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5" name="Grafik 5">
                    <a:extLst>
                      <a:ext uri="{FF2B5EF4-FFF2-40B4-BE49-F238E27FC236}">
                        <a16:creationId xmlns:a16="http://schemas.microsoft.com/office/drawing/2014/main" id="{421588DC-BAD7-5B7E-A51D-F09A5C21223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01" name="Grafik 5">
                  <a:extLst>
                    <a:ext uri="{FF2B5EF4-FFF2-40B4-BE49-F238E27FC236}">
                      <a16:creationId xmlns:a16="http://schemas.microsoft.com/office/drawing/2014/main" id="{928A6DA1-B60D-14FE-8840-97B881710A3D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44"/>
                  <a:ext cx="117485" cy="65892"/>
                  <a:chOff x="5951103" y="3314244"/>
                  <a:chExt cx="117485" cy="65892"/>
                </a:xfrm>
                <a:grpFill/>
              </p:grpSpPr>
              <p:sp>
                <p:nvSpPr>
                  <p:cNvPr id="110" name="Grafik 5">
                    <a:extLst>
                      <a:ext uri="{FF2B5EF4-FFF2-40B4-BE49-F238E27FC236}">
                        <a16:creationId xmlns:a16="http://schemas.microsoft.com/office/drawing/2014/main" id="{E017FF06-6386-6ED1-F92C-BB3AEE57F4A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44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130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130"/>
                        </a:lnTo>
                        <a:cubicBezTo>
                          <a:pt x="9356" y="65606"/>
                          <a:pt x="8213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1" name="Grafik 5">
                    <a:extLst>
                      <a:ext uri="{FF2B5EF4-FFF2-40B4-BE49-F238E27FC236}">
                        <a16:creationId xmlns:a16="http://schemas.microsoft.com/office/drawing/2014/main" id="{6FDB637F-3CDB-4841-D1FB-C8FAB802D7C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2" name="Grafik 5">
                    <a:extLst>
                      <a:ext uri="{FF2B5EF4-FFF2-40B4-BE49-F238E27FC236}">
                        <a16:creationId xmlns:a16="http://schemas.microsoft.com/office/drawing/2014/main" id="{5FF9F768-A127-A54A-D8CF-4623FD3AA41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02" name="Grafik 5">
                  <a:extLst>
                    <a:ext uri="{FF2B5EF4-FFF2-40B4-BE49-F238E27FC236}">
                      <a16:creationId xmlns:a16="http://schemas.microsoft.com/office/drawing/2014/main" id="{9977BCD0-826B-590A-B074-80992F9F668D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107" name="Grafik 5">
                    <a:extLst>
                      <a:ext uri="{FF2B5EF4-FFF2-40B4-BE49-F238E27FC236}">
                        <a16:creationId xmlns:a16="http://schemas.microsoft.com/office/drawing/2014/main" id="{305EF007-4FE6-EA8E-7787-C9FF5318147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8" name="Grafik 5">
                    <a:extLst>
                      <a:ext uri="{FF2B5EF4-FFF2-40B4-BE49-F238E27FC236}">
                        <a16:creationId xmlns:a16="http://schemas.microsoft.com/office/drawing/2014/main" id="{99172CC1-B107-3A78-DAFA-E23770804A1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9" name="Grafik 5">
                    <a:extLst>
                      <a:ext uri="{FF2B5EF4-FFF2-40B4-BE49-F238E27FC236}">
                        <a16:creationId xmlns:a16="http://schemas.microsoft.com/office/drawing/2014/main" id="{EC78EE04-378C-1D86-E4F3-6443C429DE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03" name="Grafik 5">
                  <a:extLst>
                    <a:ext uri="{FF2B5EF4-FFF2-40B4-BE49-F238E27FC236}">
                      <a16:creationId xmlns:a16="http://schemas.microsoft.com/office/drawing/2014/main" id="{5AF0A2BA-459E-FF62-5FCE-4C31F948A34D}"/>
                    </a:ext>
                  </a:extLst>
                </p:cNvPr>
                <p:cNvGrpSpPr/>
                <p:nvPr/>
              </p:nvGrpSpPr>
              <p:grpSpPr bwMode="gray">
                <a:xfrm>
                  <a:off x="5951066" y="3230345"/>
                  <a:ext cx="117405" cy="65779"/>
                  <a:chOff x="5951066" y="3230345"/>
                  <a:chExt cx="117405" cy="65779"/>
                </a:xfrm>
                <a:grpFill/>
              </p:grpSpPr>
              <p:sp>
                <p:nvSpPr>
                  <p:cNvPr id="104" name="Grafik 5">
                    <a:extLst>
                      <a:ext uri="{FF2B5EF4-FFF2-40B4-BE49-F238E27FC236}">
                        <a16:creationId xmlns:a16="http://schemas.microsoft.com/office/drawing/2014/main" id="{322BD09E-2567-926D-86C0-92DDFA9ED4E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066" y="3230345"/>
                    <a:ext cx="117367" cy="65779"/>
                  </a:xfrm>
                  <a:custGeom>
                    <a:avLst/>
                    <a:gdLst>
                      <a:gd name="connsiteX0" fmla="*/ 110262 w 117367"/>
                      <a:gd name="connsiteY0" fmla="*/ 65780 h 65779"/>
                      <a:gd name="connsiteX1" fmla="*/ 107118 w 117367"/>
                      <a:gd name="connsiteY1" fmla="*/ 65018 h 65779"/>
                      <a:gd name="connsiteX2" fmla="*/ 3963 w 117367"/>
                      <a:gd name="connsiteY2" fmla="*/ 13583 h 65779"/>
                      <a:gd name="connsiteX3" fmla="*/ 724 w 117367"/>
                      <a:gd name="connsiteY3" fmla="*/ 3963 h 65779"/>
                      <a:gd name="connsiteX4" fmla="*/ 10344 w 117367"/>
                      <a:gd name="connsiteY4" fmla="*/ 724 h 65779"/>
                      <a:gd name="connsiteX5" fmla="*/ 113405 w 117367"/>
                      <a:gd name="connsiteY5" fmla="*/ 52254 h 65779"/>
                      <a:gd name="connsiteX6" fmla="*/ 116643 w 117367"/>
                      <a:gd name="connsiteY6" fmla="*/ 61875 h 65779"/>
                      <a:gd name="connsiteX7" fmla="*/ 110262 w 117367"/>
                      <a:gd name="connsiteY7" fmla="*/ 65780 h 65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779">
                        <a:moveTo>
                          <a:pt x="110262" y="65780"/>
                        </a:moveTo>
                        <a:cubicBezTo>
                          <a:pt x="109214" y="65780"/>
                          <a:pt x="108071" y="65494"/>
                          <a:pt x="107118" y="65018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405" y="64351"/>
                          <a:pt x="112833" y="65780"/>
                          <a:pt x="110262" y="6578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5" name="Grafik 5">
                    <a:extLst>
                      <a:ext uri="{FF2B5EF4-FFF2-40B4-BE49-F238E27FC236}">
                        <a16:creationId xmlns:a16="http://schemas.microsoft.com/office/drawing/2014/main" id="{29F93257-0E16-B684-F7C0-232A47BD4D4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6" name="Grafik 5">
                    <a:extLst>
                      <a:ext uri="{FF2B5EF4-FFF2-40B4-BE49-F238E27FC236}">
                        <a16:creationId xmlns:a16="http://schemas.microsoft.com/office/drawing/2014/main" id="{D14EA2CC-7FFF-70DA-599F-DF44D7C5837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83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98" name="Grafik 5">
                <a:extLst>
                  <a:ext uri="{FF2B5EF4-FFF2-40B4-BE49-F238E27FC236}">
                    <a16:creationId xmlns:a16="http://schemas.microsoft.com/office/drawing/2014/main" id="{D6C0670B-B242-0F5D-E116-1B1775B2BE1F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9" name="Grafik 5">
                <a:extLst>
                  <a:ext uri="{FF2B5EF4-FFF2-40B4-BE49-F238E27FC236}">
                    <a16:creationId xmlns:a16="http://schemas.microsoft.com/office/drawing/2014/main" id="{F08BB7E6-92B5-1FB2-0E77-14371BE694CE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9" name="Grafik 5">
              <a:extLst>
                <a:ext uri="{FF2B5EF4-FFF2-40B4-BE49-F238E27FC236}">
                  <a16:creationId xmlns:a16="http://schemas.microsoft.com/office/drawing/2014/main" id="{4A3D7FA4-D108-5559-F82E-7521C962FA21}"/>
                </a:ext>
              </a:extLst>
            </p:cNvPr>
            <p:cNvGrpSpPr/>
            <p:nvPr/>
          </p:nvGrpSpPr>
          <p:grpSpPr bwMode="gray">
            <a:xfrm>
              <a:off x="5965126" y="3492531"/>
              <a:ext cx="257270" cy="111442"/>
              <a:chOff x="5965126" y="3492531"/>
              <a:chExt cx="257270" cy="111442"/>
            </a:xfrm>
            <a:grpFill/>
          </p:grpSpPr>
          <p:sp>
            <p:nvSpPr>
              <p:cNvPr id="90" name="Grafik 5">
                <a:extLst>
                  <a:ext uri="{FF2B5EF4-FFF2-40B4-BE49-F238E27FC236}">
                    <a16:creationId xmlns:a16="http://schemas.microsoft.com/office/drawing/2014/main" id="{13A03B72-155E-BBF1-9775-8A2DE5C62640}"/>
                  </a:ext>
                </a:extLst>
              </p:cNvPr>
              <p:cNvSpPr/>
              <p:nvPr/>
            </p:nvSpPr>
            <p:spPr bwMode="gray">
              <a:xfrm>
                <a:off x="6159531" y="3492531"/>
                <a:ext cx="62865" cy="111442"/>
              </a:xfrm>
              <a:custGeom>
                <a:avLst/>
                <a:gdLst>
                  <a:gd name="connsiteX0" fmla="*/ 55721 w 62865"/>
                  <a:gd name="connsiteY0" fmla="*/ 111443 h 111442"/>
                  <a:gd name="connsiteX1" fmla="*/ 7144 w 62865"/>
                  <a:gd name="connsiteY1" fmla="*/ 111443 h 111442"/>
                  <a:gd name="connsiteX2" fmla="*/ 0 w 62865"/>
                  <a:gd name="connsiteY2" fmla="*/ 104299 h 111442"/>
                  <a:gd name="connsiteX3" fmla="*/ 0 w 62865"/>
                  <a:gd name="connsiteY3" fmla="*/ 7144 h 111442"/>
                  <a:gd name="connsiteX4" fmla="*/ 7144 w 62865"/>
                  <a:gd name="connsiteY4" fmla="*/ 0 h 111442"/>
                  <a:gd name="connsiteX5" fmla="*/ 55721 w 62865"/>
                  <a:gd name="connsiteY5" fmla="*/ 0 h 111442"/>
                  <a:gd name="connsiteX6" fmla="*/ 62865 w 62865"/>
                  <a:gd name="connsiteY6" fmla="*/ 7144 h 111442"/>
                  <a:gd name="connsiteX7" fmla="*/ 62865 w 62865"/>
                  <a:gd name="connsiteY7" fmla="*/ 104394 h 111442"/>
                  <a:gd name="connsiteX8" fmla="*/ 55721 w 62865"/>
                  <a:gd name="connsiteY8" fmla="*/ 111443 h 111442"/>
                  <a:gd name="connsiteX9" fmla="*/ 14288 w 62865"/>
                  <a:gd name="connsiteY9" fmla="*/ 97155 h 111442"/>
                  <a:gd name="connsiteX10" fmla="*/ 48578 w 62865"/>
                  <a:gd name="connsiteY10" fmla="*/ 97155 h 111442"/>
                  <a:gd name="connsiteX11" fmla="*/ 48578 w 62865"/>
                  <a:gd name="connsiteY11" fmla="*/ 14192 h 111442"/>
                  <a:gd name="connsiteX12" fmla="*/ 14288 w 62865"/>
                  <a:gd name="connsiteY12" fmla="*/ 14192 h 111442"/>
                  <a:gd name="connsiteX13" fmla="*/ 14288 w 62865"/>
                  <a:gd name="connsiteY13" fmla="*/ 97155 h 111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865" h="111442">
                    <a:moveTo>
                      <a:pt x="55721" y="111443"/>
                    </a:moveTo>
                    <a:lnTo>
                      <a:pt x="7144" y="111443"/>
                    </a:lnTo>
                    <a:cubicBezTo>
                      <a:pt x="3239" y="111443"/>
                      <a:pt x="0" y="108204"/>
                      <a:pt x="0" y="10429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9"/>
                      <a:pt x="62865" y="7144"/>
                    </a:cubicBezTo>
                    <a:lnTo>
                      <a:pt x="62865" y="104394"/>
                    </a:lnTo>
                    <a:cubicBezTo>
                      <a:pt x="62865" y="108204"/>
                      <a:pt x="59627" y="111443"/>
                      <a:pt x="55721" y="111443"/>
                    </a:cubicBezTo>
                    <a:close/>
                    <a:moveTo>
                      <a:pt x="14288" y="97155"/>
                    </a:moveTo>
                    <a:lnTo>
                      <a:pt x="48578" y="97155"/>
                    </a:lnTo>
                    <a:lnTo>
                      <a:pt x="48578" y="14192"/>
                    </a:lnTo>
                    <a:lnTo>
                      <a:pt x="14288" y="14192"/>
                    </a:lnTo>
                    <a:lnTo>
                      <a:pt x="14288" y="9715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1" name="Grafik 5">
                <a:extLst>
                  <a:ext uri="{FF2B5EF4-FFF2-40B4-BE49-F238E27FC236}">
                    <a16:creationId xmlns:a16="http://schemas.microsoft.com/office/drawing/2014/main" id="{530AA3EB-B2C7-7E4E-58F2-E93E0C6E1359}"/>
                  </a:ext>
                </a:extLst>
              </p:cNvPr>
              <p:cNvSpPr/>
              <p:nvPr/>
            </p:nvSpPr>
            <p:spPr bwMode="gray">
              <a:xfrm>
                <a:off x="6110953" y="3492531"/>
                <a:ext cx="62864" cy="62865"/>
              </a:xfrm>
              <a:custGeom>
                <a:avLst/>
                <a:gdLst>
                  <a:gd name="connsiteX0" fmla="*/ 55721 w 62864"/>
                  <a:gd name="connsiteY0" fmla="*/ 62865 h 62865"/>
                  <a:gd name="connsiteX1" fmla="*/ 7144 w 62864"/>
                  <a:gd name="connsiteY1" fmla="*/ 62865 h 62865"/>
                  <a:gd name="connsiteX2" fmla="*/ 0 w 62864"/>
                  <a:gd name="connsiteY2" fmla="*/ 55721 h 62865"/>
                  <a:gd name="connsiteX3" fmla="*/ 0 w 62864"/>
                  <a:gd name="connsiteY3" fmla="*/ 7144 h 62865"/>
                  <a:gd name="connsiteX4" fmla="*/ 7144 w 62864"/>
                  <a:gd name="connsiteY4" fmla="*/ 0 h 62865"/>
                  <a:gd name="connsiteX5" fmla="*/ 55721 w 62864"/>
                  <a:gd name="connsiteY5" fmla="*/ 0 h 62865"/>
                  <a:gd name="connsiteX6" fmla="*/ 62865 w 62864"/>
                  <a:gd name="connsiteY6" fmla="*/ 7144 h 62865"/>
                  <a:gd name="connsiteX7" fmla="*/ 62865 w 62864"/>
                  <a:gd name="connsiteY7" fmla="*/ 55721 h 62865"/>
                  <a:gd name="connsiteX8" fmla="*/ 55721 w 62864"/>
                  <a:gd name="connsiteY8" fmla="*/ 62865 h 62865"/>
                  <a:gd name="connsiteX9" fmla="*/ 14192 w 62864"/>
                  <a:gd name="connsiteY9" fmla="*/ 48578 h 62865"/>
                  <a:gd name="connsiteX10" fmla="*/ 48482 w 62864"/>
                  <a:gd name="connsiteY10" fmla="*/ 48578 h 62865"/>
                  <a:gd name="connsiteX11" fmla="*/ 48482 w 62864"/>
                  <a:gd name="connsiteY11" fmla="*/ 14288 h 62865"/>
                  <a:gd name="connsiteX12" fmla="*/ 14192 w 62864"/>
                  <a:gd name="connsiteY12" fmla="*/ 14288 h 62865"/>
                  <a:gd name="connsiteX13" fmla="*/ 14192 w 62864"/>
                  <a:gd name="connsiteY13" fmla="*/ 48578 h 62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864" h="62865">
                    <a:moveTo>
                      <a:pt x="55721" y="62865"/>
                    </a:moveTo>
                    <a:lnTo>
                      <a:pt x="7144" y="62865"/>
                    </a:lnTo>
                    <a:cubicBezTo>
                      <a:pt x="3239" y="62865"/>
                      <a:pt x="0" y="59627"/>
                      <a:pt x="0" y="55721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9"/>
                      <a:pt x="62865" y="7144"/>
                    </a:cubicBezTo>
                    <a:lnTo>
                      <a:pt x="62865" y="55721"/>
                    </a:lnTo>
                    <a:cubicBezTo>
                      <a:pt x="62865" y="59627"/>
                      <a:pt x="59627" y="62865"/>
                      <a:pt x="55721" y="62865"/>
                    </a:cubicBezTo>
                    <a:close/>
                    <a:moveTo>
                      <a:pt x="14192" y="48578"/>
                    </a:moveTo>
                    <a:lnTo>
                      <a:pt x="48482" y="48578"/>
                    </a:lnTo>
                    <a:lnTo>
                      <a:pt x="48482" y="14288"/>
                    </a:lnTo>
                    <a:lnTo>
                      <a:pt x="14192" y="14288"/>
                    </a:lnTo>
                    <a:lnTo>
                      <a:pt x="14192" y="4857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2" name="Grafik 5">
                <a:extLst>
                  <a:ext uri="{FF2B5EF4-FFF2-40B4-BE49-F238E27FC236}">
                    <a16:creationId xmlns:a16="http://schemas.microsoft.com/office/drawing/2014/main" id="{06B6C692-1F6E-0837-24E1-4EE6810A93AF}"/>
                  </a:ext>
                </a:extLst>
              </p:cNvPr>
              <p:cNvSpPr/>
              <p:nvPr/>
            </p:nvSpPr>
            <p:spPr bwMode="gray">
              <a:xfrm>
                <a:off x="6062280" y="3492531"/>
                <a:ext cx="62865" cy="111442"/>
              </a:xfrm>
              <a:custGeom>
                <a:avLst/>
                <a:gdLst>
                  <a:gd name="connsiteX0" fmla="*/ 55721 w 62865"/>
                  <a:gd name="connsiteY0" fmla="*/ 111443 h 111442"/>
                  <a:gd name="connsiteX1" fmla="*/ 7144 w 62865"/>
                  <a:gd name="connsiteY1" fmla="*/ 111443 h 111442"/>
                  <a:gd name="connsiteX2" fmla="*/ 0 w 62865"/>
                  <a:gd name="connsiteY2" fmla="*/ 104299 h 111442"/>
                  <a:gd name="connsiteX3" fmla="*/ 0 w 62865"/>
                  <a:gd name="connsiteY3" fmla="*/ 7144 h 111442"/>
                  <a:gd name="connsiteX4" fmla="*/ 7144 w 62865"/>
                  <a:gd name="connsiteY4" fmla="*/ 0 h 111442"/>
                  <a:gd name="connsiteX5" fmla="*/ 55721 w 62865"/>
                  <a:gd name="connsiteY5" fmla="*/ 0 h 111442"/>
                  <a:gd name="connsiteX6" fmla="*/ 62865 w 62865"/>
                  <a:gd name="connsiteY6" fmla="*/ 7144 h 111442"/>
                  <a:gd name="connsiteX7" fmla="*/ 62865 w 62865"/>
                  <a:gd name="connsiteY7" fmla="*/ 104394 h 111442"/>
                  <a:gd name="connsiteX8" fmla="*/ 55721 w 62865"/>
                  <a:gd name="connsiteY8" fmla="*/ 111443 h 111442"/>
                  <a:gd name="connsiteX9" fmla="*/ 14288 w 62865"/>
                  <a:gd name="connsiteY9" fmla="*/ 97155 h 111442"/>
                  <a:gd name="connsiteX10" fmla="*/ 48578 w 62865"/>
                  <a:gd name="connsiteY10" fmla="*/ 97155 h 111442"/>
                  <a:gd name="connsiteX11" fmla="*/ 48578 w 62865"/>
                  <a:gd name="connsiteY11" fmla="*/ 14192 h 111442"/>
                  <a:gd name="connsiteX12" fmla="*/ 14288 w 62865"/>
                  <a:gd name="connsiteY12" fmla="*/ 14192 h 111442"/>
                  <a:gd name="connsiteX13" fmla="*/ 14288 w 62865"/>
                  <a:gd name="connsiteY13" fmla="*/ 97155 h 111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865" h="111442">
                    <a:moveTo>
                      <a:pt x="55721" y="111443"/>
                    </a:moveTo>
                    <a:lnTo>
                      <a:pt x="7144" y="111443"/>
                    </a:lnTo>
                    <a:cubicBezTo>
                      <a:pt x="3239" y="111443"/>
                      <a:pt x="0" y="108204"/>
                      <a:pt x="0" y="10429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9"/>
                      <a:pt x="62865" y="7144"/>
                    </a:cubicBezTo>
                    <a:lnTo>
                      <a:pt x="62865" y="104394"/>
                    </a:lnTo>
                    <a:cubicBezTo>
                      <a:pt x="62865" y="108204"/>
                      <a:pt x="59722" y="111443"/>
                      <a:pt x="55721" y="111443"/>
                    </a:cubicBezTo>
                    <a:close/>
                    <a:moveTo>
                      <a:pt x="14288" y="97155"/>
                    </a:moveTo>
                    <a:lnTo>
                      <a:pt x="48578" y="97155"/>
                    </a:lnTo>
                    <a:lnTo>
                      <a:pt x="48578" y="14192"/>
                    </a:lnTo>
                    <a:lnTo>
                      <a:pt x="14288" y="14192"/>
                    </a:lnTo>
                    <a:lnTo>
                      <a:pt x="14288" y="9715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3" name="Grafik 5">
                <a:extLst>
                  <a:ext uri="{FF2B5EF4-FFF2-40B4-BE49-F238E27FC236}">
                    <a16:creationId xmlns:a16="http://schemas.microsoft.com/office/drawing/2014/main" id="{2E441AC7-F87D-C1EF-E192-B4B08BE7FD89}"/>
                  </a:ext>
                </a:extLst>
              </p:cNvPr>
              <p:cNvSpPr/>
              <p:nvPr/>
            </p:nvSpPr>
            <p:spPr bwMode="gray">
              <a:xfrm>
                <a:off x="6013703" y="3492531"/>
                <a:ext cx="62864" cy="62865"/>
              </a:xfrm>
              <a:custGeom>
                <a:avLst/>
                <a:gdLst>
                  <a:gd name="connsiteX0" fmla="*/ 55721 w 62864"/>
                  <a:gd name="connsiteY0" fmla="*/ 62865 h 62865"/>
                  <a:gd name="connsiteX1" fmla="*/ 7144 w 62864"/>
                  <a:gd name="connsiteY1" fmla="*/ 62865 h 62865"/>
                  <a:gd name="connsiteX2" fmla="*/ 0 w 62864"/>
                  <a:gd name="connsiteY2" fmla="*/ 55721 h 62865"/>
                  <a:gd name="connsiteX3" fmla="*/ 0 w 62864"/>
                  <a:gd name="connsiteY3" fmla="*/ 7144 h 62865"/>
                  <a:gd name="connsiteX4" fmla="*/ 7144 w 62864"/>
                  <a:gd name="connsiteY4" fmla="*/ 0 h 62865"/>
                  <a:gd name="connsiteX5" fmla="*/ 55721 w 62864"/>
                  <a:gd name="connsiteY5" fmla="*/ 0 h 62865"/>
                  <a:gd name="connsiteX6" fmla="*/ 62865 w 62864"/>
                  <a:gd name="connsiteY6" fmla="*/ 7144 h 62865"/>
                  <a:gd name="connsiteX7" fmla="*/ 62865 w 62864"/>
                  <a:gd name="connsiteY7" fmla="*/ 55721 h 62865"/>
                  <a:gd name="connsiteX8" fmla="*/ 55721 w 62864"/>
                  <a:gd name="connsiteY8" fmla="*/ 62865 h 62865"/>
                  <a:gd name="connsiteX9" fmla="*/ 14288 w 62864"/>
                  <a:gd name="connsiteY9" fmla="*/ 48578 h 62865"/>
                  <a:gd name="connsiteX10" fmla="*/ 48577 w 62864"/>
                  <a:gd name="connsiteY10" fmla="*/ 48578 h 62865"/>
                  <a:gd name="connsiteX11" fmla="*/ 48577 w 62864"/>
                  <a:gd name="connsiteY11" fmla="*/ 14288 h 62865"/>
                  <a:gd name="connsiteX12" fmla="*/ 14288 w 62864"/>
                  <a:gd name="connsiteY12" fmla="*/ 14288 h 62865"/>
                  <a:gd name="connsiteX13" fmla="*/ 14288 w 62864"/>
                  <a:gd name="connsiteY13" fmla="*/ 48578 h 62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864" h="62865">
                    <a:moveTo>
                      <a:pt x="55721" y="62865"/>
                    </a:moveTo>
                    <a:lnTo>
                      <a:pt x="7144" y="62865"/>
                    </a:lnTo>
                    <a:cubicBezTo>
                      <a:pt x="3239" y="62865"/>
                      <a:pt x="0" y="59627"/>
                      <a:pt x="0" y="55721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9"/>
                      <a:pt x="62865" y="7144"/>
                    </a:cubicBezTo>
                    <a:lnTo>
                      <a:pt x="62865" y="55721"/>
                    </a:lnTo>
                    <a:cubicBezTo>
                      <a:pt x="62865" y="59627"/>
                      <a:pt x="59627" y="62865"/>
                      <a:pt x="55721" y="62865"/>
                    </a:cubicBezTo>
                    <a:close/>
                    <a:moveTo>
                      <a:pt x="14288" y="48578"/>
                    </a:moveTo>
                    <a:lnTo>
                      <a:pt x="48577" y="48578"/>
                    </a:lnTo>
                    <a:lnTo>
                      <a:pt x="48577" y="14288"/>
                    </a:lnTo>
                    <a:lnTo>
                      <a:pt x="14288" y="14288"/>
                    </a:lnTo>
                    <a:lnTo>
                      <a:pt x="14288" y="4857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4" name="Grafik 5">
                <a:extLst>
                  <a:ext uri="{FF2B5EF4-FFF2-40B4-BE49-F238E27FC236}">
                    <a16:creationId xmlns:a16="http://schemas.microsoft.com/office/drawing/2014/main" id="{2C39B06C-D6E1-B568-6658-D17F67C6F9BA}"/>
                  </a:ext>
                </a:extLst>
              </p:cNvPr>
              <p:cNvSpPr/>
              <p:nvPr/>
            </p:nvSpPr>
            <p:spPr bwMode="gray">
              <a:xfrm>
                <a:off x="6110953" y="3541108"/>
                <a:ext cx="62864" cy="62864"/>
              </a:xfrm>
              <a:custGeom>
                <a:avLst/>
                <a:gdLst>
                  <a:gd name="connsiteX0" fmla="*/ 55721 w 62864"/>
                  <a:gd name="connsiteY0" fmla="*/ 62865 h 62864"/>
                  <a:gd name="connsiteX1" fmla="*/ 7144 w 62864"/>
                  <a:gd name="connsiteY1" fmla="*/ 62865 h 62864"/>
                  <a:gd name="connsiteX2" fmla="*/ 0 w 62864"/>
                  <a:gd name="connsiteY2" fmla="*/ 55721 h 62864"/>
                  <a:gd name="connsiteX3" fmla="*/ 0 w 62864"/>
                  <a:gd name="connsiteY3" fmla="*/ 7144 h 62864"/>
                  <a:gd name="connsiteX4" fmla="*/ 7144 w 62864"/>
                  <a:gd name="connsiteY4" fmla="*/ 0 h 62864"/>
                  <a:gd name="connsiteX5" fmla="*/ 55721 w 62864"/>
                  <a:gd name="connsiteY5" fmla="*/ 0 h 62864"/>
                  <a:gd name="connsiteX6" fmla="*/ 62865 w 62864"/>
                  <a:gd name="connsiteY6" fmla="*/ 7144 h 62864"/>
                  <a:gd name="connsiteX7" fmla="*/ 62865 w 62864"/>
                  <a:gd name="connsiteY7" fmla="*/ 55721 h 62864"/>
                  <a:gd name="connsiteX8" fmla="*/ 55721 w 62864"/>
                  <a:gd name="connsiteY8" fmla="*/ 62865 h 62864"/>
                  <a:gd name="connsiteX9" fmla="*/ 14192 w 62864"/>
                  <a:gd name="connsiteY9" fmla="*/ 48577 h 62864"/>
                  <a:gd name="connsiteX10" fmla="*/ 48482 w 62864"/>
                  <a:gd name="connsiteY10" fmla="*/ 48577 h 62864"/>
                  <a:gd name="connsiteX11" fmla="*/ 48482 w 62864"/>
                  <a:gd name="connsiteY11" fmla="*/ 14288 h 62864"/>
                  <a:gd name="connsiteX12" fmla="*/ 14192 w 62864"/>
                  <a:gd name="connsiteY12" fmla="*/ 14288 h 62864"/>
                  <a:gd name="connsiteX13" fmla="*/ 14192 w 62864"/>
                  <a:gd name="connsiteY13" fmla="*/ 48577 h 62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864" h="62864">
                    <a:moveTo>
                      <a:pt x="55721" y="62865"/>
                    </a:moveTo>
                    <a:lnTo>
                      <a:pt x="7144" y="62865"/>
                    </a:lnTo>
                    <a:cubicBezTo>
                      <a:pt x="3239" y="62865"/>
                      <a:pt x="0" y="59626"/>
                      <a:pt x="0" y="55721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9"/>
                      <a:pt x="62865" y="7144"/>
                    </a:cubicBezTo>
                    <a:lnTo>
                      <a:pt x="62865" y="55721"/>
                    </a:lnTo>
                    <a:cubicBezTo>
                      <a:pt x="62865" y="59626"/>
                      <a:pt x="59627" y="62865"/>
                      <a:pt x="55721" y="62865"/>
                    </a:cubicBezTo>
                    <a:close/>
                    <a:moveTo>
                      <a:pt x="14192" y="48577"/>
                    </a:moveTo>
                    <a:lnTo>
                      <a:pt x="48482" y="48577"/>
                    </a:lnTo>
                    <a:lnTo>
                      <a:pt x="48482" y="14288"/>
                    </a:lnTo>
                    <a:lnTo>
                      <a:pt x="14192" y="14288"/>
                    </a:lnTo>
                    <a:lnTo>
                      <a:pt x="14192" y="4857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5" name="Grafik 5">
                <a:extLst>
                  <a:ext uri="{FF2B5EF4-FFF2-40B4-BE49-F238E27FC236}">
                    <a16:creationId xmlns:a16="http://schemas.microsoft.com/office/drawing/2014/main" id="{15F7FF39-E148-0428-9F65-AC9DECA1A12B}"/>
                  </a:ext>
                </a:extLst>
              </p:cNvPr>
              <p:cNvSpPr/>
              <p:nvPr/>
            </p:nvSpPr>
            <p:spPr bwMode="gray">
              <a:xfrm>
                <a:off x="6013703" y="3541108"/>
                <a:ext cx="62864" cy="62864"/>
              </a:xfrm>
              <a:custGeom>
                <a:avLst/>
                <a:gdLst>
                  <a:gd name="connsiteX0" fmla="*/ 55721 w 62864"/>
                  <a:gd name="connsiteY0" fmla="*/ 62865 h 62864"/>
                  <a:gd name="connsiteX1" fmla="*/ 7144 w 62864"/>
                  <a:gd name="connsiteY1" fmla="*/ 62865 h 62864"/>
                  <a:gd name="connsiteX2" fmla="*/ 0 w 62864"/>
                  <a:gd name="connsiteY2" fmla="*/ 55721 h 62864"/>
                  <a:gd name="connsiteX3" fmla="*/ 0 w 62864"/>
                  <a:gd name="connsiteY3" fmla="*/ 7144 h 62864"/>
                  <a:gd name="connsiteX4" fmla="*/ 7144 w 62864"/>
                  <a:gd name="connsiteY4" fmla="*/ 0 h 62864"/>
                  <a:gd name="connsiteX5" fmla="*/ 55721 w 62864"/>
                  <a:gd name="connsiteY5" fmla="*/ 0 h 62864"/>
                  <a:gd name="connsiteX6" fmla="*/ 62865 w 62864"/>
                  <a:gd name="connsiteY6" fmla="*/ 7144 h 62864"/>
                  <a:gd name="connsiteX7" fmla="*/ 62865 w 62864"/>
                  <a:gd name="connsiteY7" fmla="*/ 55721 h 62864"/>
                  <a:gd name="connsiteX8" fmla="*/ 55721 w 62864"/>
                  <a:gd name="connsiteY8" fmla="*/ 62865 h 62864"/>
                  <a:gd name="connsiteX9" fmla="*/ 14288 w 62864"/>
                  <a:gd name="connsiteY9" fmla="*/ 48577 h 62864"/>
                  <a:gd name="connsiteX10" fmla="*/ 48577 w 62864"/>
                  <a:gd name="connsiteY10" fmla="*/ 48577 h 62864"/>
                  <a:gd name="connsiteX11" fmla="*/ 48577 w 62864"/>
                  <a:gd name="connsiteY11" fmla="*/ 14288 h 62864"/>
                  <a:gd name="connsiteX12" fmla="*/ 14288 w 62864"/>
                  <a:gd name="connsiteY12" fmla="*/ 14288 h 62864"/>
                  <a:gd name="connsiteX13" fmla="*/ 14288 w 62864"/>
                  <a:gd name="connsiteY13" fmla="*/ 48577 h 62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864" h="62864">
                    <a:moveTo>
                      <a:pt x="55721" y="62865"/>
                    </a:moveTo>
                    <a:lnTo>
                      <a:pt x="7144" y="62865"/>
                    </a:lnTo>
                    <a:cubicBezTo>
                      <a:pt x="3239" y="62865"/>
                      <a:pt x="0" y="59626"/>
                      <a:pt x="0" y="55721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9"/>
                      <a:pt x="62865" y="7144"/>
                    </a:cubicBezTo>
                    <a:lnTo>
                      <a:pt x="62865" y="55721"/>
                    </a:lnTo>
                    <a:cubicBezTo>
                      <a:pt x="62865" y="59626"/>
                      <a:pt x="59627" y="62865"/>
                      <a:pt x="55721" y="62865"/>
                    </a:cubicBezTo>
                    <a:close/>
                    <a:moveTo>
                      <a:pt x="14288" y="48577"/>
                    </a:moveTo>
                    <a:lnTo>
                      <a:pt x="48577" y="48577"/>
                    </a:lnTo>
                    <a:lnTo>
                      <a:pt x="48577" y="14288"/>
                    </a:lnTo>
                    <a:lnTo>
                      <a:pt x="14288" y="14288"/>
                    </a:lnTo>
                    <a:lnTo>
                      <a:pt x="14288" y="4857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6" name="Grafik 5">
                <a:extLst>
                  <a:ext uri="{FF2B5EF4-FFF2-40B4-BE49-F238E27FC236}">
                    <a16:creationId xmlns:a16="http://schemas.microsoft.com/office/drawing/2014/main" id="{03CA9512-63F6-F411-0CB1-3FF736C70B4A}"/>
                  </a:ext>
                </a:extLst>
              </p:cNvPr>
              <p:cNvSpPr/>
              <p:nvPr/>
            </p:nvSpPr>
            <p:spPr bwMode="gray">
              <a:xfrm>
                <a:off x="5965126" y="3492531"/>
                <a:ext cx="62865" cy="111442"/>
              </a:xfrm>
              <a:custGeom>
                <a:avLst/>
                <a:gdLst>
                  <a:gd name="connsiteX0" fmla="*/ 55721 w 62865"/>
                  <a:gd name="connsiteY0" fmla="*/ 111443 h 111442"/>
                  <a:gd name="connsiteX1" fmla="*/ 7144 w 62865"/>
                  <a:gd name="connsiteY1" fmla="*/ 111443 h 111442"/>
                  <a:gd name="connsiteX2" fmla="*/ 0 w 62865"/>
                  <a:gd name="connsiteY2" fmla="*/ 104299 h 111442"/>
                  <a:gd name="connsiteX3" fmla="*/ 0 w 62865"/>
                  <a:gd name="connsiteY3" fmla="*/ 7144 h 111442"/>
                  <a:gd name="connsiteX4" fmla="*/ 7144 w 62865"/>
                  <a:gd name="connsiteY4" fmla="*/ 0 h 111442"/>
                  <a:gd name="connsiteX5" fmla="*/ 55721 w 62865"/>
                  <a:gd name="connsiteY5" fmla="*/ 0 h 111442"/>
                  <a:gd name="connsiteX6" fmla="*/ 62865 w 62865"/>
                  <a:gd name="connsiteY6" fmla="*/ 7144 h 111442"/>
                  <a:gd name="connsiteX7" fmla="*/ 62865 w 62865"/>
                  <a:gd name="connsiteY7" fmla="*/ 104394 h 111442"/>
                  <a:gd name="connsiteX8" fmla="*/ 55721 w 62865"/>
                  <a:gd name="connsiteY8" fmla="*/ 111443 h 111442"/>
                  <a:gd name="connsiteX9" fmla="*/ 14288 w 62865"/>
                  <a:gd name="connsiteY9" fmla="*/ 97155 h 111442"/>
                  <a:gd name="connsiteX10" fmla="*/ 48578 w 62865"/>
                  <a:gd name="connsiteY10" fmla="*/ 97155 h 111442"/>
                  <a:gd name="connsiteX11" fmla="*/ 48578 w 62865"/>
                  <a:gd name="connsiteY11" fmla="*/ 14192 h 111442"/>
                  <a:gd name="connsiteX12" fmla="*/ 14288 w 62865"/>
                  <a:gd name="connsiteY12" fmla="*/ 14192 h 111442"/>
                  <a:gd name="connsiteX13" fmla="*/ 14288 w 62865"/>
                  <a:gd name="connsiteY13" fmla="*/ 97155 h 111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865" h="111442">
                    <a:moveTo>
                      <a:pt x="55721" y="111443"/>
                    </a:moveTo>
                    <a:lnTo>
                      <a:pt x="7144" y="111443"/>
                    </a:lnTo>
                    <a:cubicBezTo>
                      <a:pt x="3239" y="111443"/>
                      <a:pt x="0" y="108204"/>
                      <a:pt x="0" y="10429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9"/>
                      <a:pt x="62865" y="7144"/>
                    </a:cubicBezTo>
                    <a:lnTo>
                      <a:pt x="62865" y="104394"/>
                    </a:lnTo>
                    <a:cubicBezTo>
                      <a:pt x="62865" y="108204"/>
                      <a:pt x="59627" y="111443"/>
                      <a:pt x="55721" y="111443"/>
                    </a:cubicBezTo>
                    <a:close/>
                    <a:moveTo>
                      <a:pt x="14288" y="97155"/>
                    </a:moveTo>
                    <a:lnTo>
                      <a:pt x="48578" y="97155"/>
                    </a:lnTo>
                    <a:lnTo>
                      <a:pt x="48578" y="14192"/>
                    </a:lnTo>
                    <a:lnTo>
                      <a:pt x="14288" y="14192"/>
                    </a:lnTo>
                    <a:lnTo>
                      <a:pt x="14288" y="9715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116" name="Grafik 7">
            <a:extLst>
              <a:ext uri="{FF2B5EF4-FFF2-40B4-BE49-F238E27FC236}">
                <a16:creationId xmlns:a16="http://schemas.microsoft.com/office/drawing/2014/main" id="{C88B2D79-4259-1B15-A20F-061B09510842}"/>
              </a:ext>
            </a:extLst>
          </p:cNvPr>
          <p:cNvGrpSpPr/>
          <p:nvPr/>
        </p:nvGrpSpPr>
        <p:grpSpPr bwMode="gray">
          <a:xfrm>
            <a:off x="318344" y="3477302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17" name="Grafik 7">
              <a:extLst>
                <a:ext uri="{FF2B5EF4-FFF2-40B4-BE49-F238E27FC236}">
                  <a16:creationId xmlns:a16="http://schemas.microsoft.com/office/drawing/2014/main" id="{C6B53817-65C1-A4A8-7B45-7B878DFFF42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136" name="Grafik 7">
                <a:extLst>
                  <a:ext uri="{FF2B5EF4-FFF2-40B4-BE49-F238E27FC236}">
                    <a16:creationId xmlns:a16="http://schemas.microsoft.com/office/drawing/2014/main" id="{B29204C7-3C7B-1742-2761-082614679C05}"/>
                  </a:ext>
                </a:extLst>
              </p:cNvPr>
              <p:cNvGrpSpPr/>
              <p:nvPr/>
            </p:nvGrpSpPr>
            <p:grpSpPr bwMode="gray">
              <a:xfrm>
                <a:off x="5951066" y="3230233"/>
                <a:ext cx="285352" cy="149902"/>
                <a:chOff x="5951066" y="3230233"/>
                <a:chExt cx="285352" cy="149902"/>
              </a:xfrm>
              <a:grpFill/>
            </p:grpSpPr>
            <p:grpSp>
              <p:nvGrpSpPr>
                <p:cNvPr id="139" name="Grafik 7">
                  <a:extLst>
                    <a:ext uri="{FF2B5EF4-FFF2-40B4-BE49-F238E27FC236}">
                      <a16:creationId xmlns:a16="http://schemas.microsoft.com/office/drawing/2014/main" id="{292DA715-5CF0-F424-FFCE-FC6896F10880}"/>
                    </a:ext>
                  </a:extLst>
                </p:cNvPr>
                <p:cNvGrpSpPr/>
                <p:nvPr/>
              </p:nvGrpSpPr>
              <p:grpSpPr bwMode="gray">
                <a:xfrm>
                  <a:off x="6118933" y="3230233"/>
                  <a:ext cx="117485" cy="65892"/>
                  <a:chOff x="6118933" y="3230233"/>
                  <a:chExt cx="117485" cy="65892"/>
                </a:xfrm>
                <a:grpFill/>
              </p:grpSpPr>
              <p:sp>
                <p:nvSpPr>
                  <p:cNvPr id="152" name="Grafik 7">
                    <a:extLst>
                      <a:ext uri="{FF2B5EF4-FFF2-40B4-BE49-F238E27FC236}">
                        <a16:creationId xmlns:a16="http://schemas.microsoft.com/office/drawing/2014/main" id="{026C83C9-B603-E6A6-7DED-3AF47657C23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33" y="3230233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225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225"/>
                        </a:lnTo>
                        <a:cubicBezTo>
                          <a:pt x="9356" y="65702"/>
                          <a:pt x="8308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53" name="Grafik 7">
                    <a:extLst>
                      <a:ext uri="{FF2B5EF4-FFF2-40B4-BE49-F238E27FC236}">
                        <a16:creationId xmlns:a16="http://schemas.microsoft.com/office/drawing/2014/main" id="{5F4B767C-901F-4497-0F60-3DEC63C8B80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307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9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54" name="Grafik 7">
                    <a:extLst>
                      <a:ext uri="{FF2B5EF4-FFF2-40B4-BE49-F238E27FC236}">
                        <a16:creationId xmlns:a16="http://schemas.microsoft.com/office/drawing/2014/main" id="{63E35356-92AD-8BB9-783C-C1C6B5808E8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40" name="Grafik 7">
                  <a:extLst>
                    <a:ext uri="{FF2B5EF4-FFF2-40B4-BE49-F238E27FC236}">
                      <a16:creationId xmlns:a16="http://schemas.microsoft.com/office/drawing/2014/main" id="{8A232615-0AA5-D339-7AC9-A5CD88343103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44"/>
                  <a:ext cx="117485" cy="65892"/>
                  <a:chOff x="5951103" y="3314244"/>
                  <a:chExt cx="117485" cy="65892"/>
                </a:xfrm>
                <a:grpFill/>
              </p:grpSpPr>
              <p:sp>
                <p:nvSpPr>
                  <p:cNvPr id="149" name="Grafik 7">
                    <a:extLst>
                      <a:ext uri="{FF2B5EF4-FFF2-40B4-BE49-F238E27FC236}">
                        <a16:creationId xmlns:a16="http://schemas.microsoft.com/office/drawing/2014/main" id="{B98DA88D-4895-1540-2860-6544C37EC14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44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130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130"/>
                        </a:lnTo>
                        <a:cubicBezTo>
                          <a:pt x="9356" y="65606"/>
                          <a:pt x="8213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50" name="Grafik 7">
                    <a:extLst>
                      <a:ext uri="{FF2B5EF4-FFF2-40B4-BE49-F238E27FC236}">
                        <a16:creationId xmlns:a16="http://schemas.microsoft.com/office/drawing/2014/main" id="{CFBBF87B-EFDE-8314-2CB4-26A7A9D67D0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51" name="Grafik 7">
                    <a:extLst>
                      <a:ext uri="{FF2B5EF4-FFF2-40B4-BE49-F238E27FC236}">
                        <a16:creationId xmlns:a16="http://schemas.microsoft.com/office/drawing/2014/main" id="{61579216-8527-2AC8-5FA5-F763CAF3A8E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41" name="Grafik 7">
                  <a:extLst>
                    <a:ext uri="{FF2B5EF4-FFF2-40B4-BE49-F238E27FC236}">
                      <a16:creationId xmlns:a16="http://schemas.microsoft.com/office/drawing/2014/main" id="{A4ED85C2-1DD7-5B6F-8FAD-0F933B76DDD1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146" name="Grafik 7">
                    <a:extLst>
                      <a:ext uri="{FF2B5EF4-FFF2-40B4-BE49-F238E27FC236}">
                        <a16:creationId xmlns:a16="http://schemas.microsoft.com/office/drawing/2014/main" id="{70D13061-AC1E-8927-8428-B0F785CF886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47" name="Grafik 7">
                    <a:extLst>
                      <a:ext uri="{FF2B5EF4-FFF2-40B4-BE49-F238E27FC236}">
                        <a16:creationId xmlns:a16="http://schemas.microsoft.com/office/drawing/2014/main" id="{AC0E0C29-0958-64EF-3380-C9FCA7062C4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48" name="Grafik 7">
                    <a:extLst>
                      <a:ext uri="{FF2B5EF4-FFF2-40B4-BE49-F238E27FC236}">
                        <a16:creationId xmlns:a16="http://schemas.microsoft.com/office/drawing/2014/main" id="{C0B9EDC2-20CD-81CE-A5C3-FC12F6DF2EC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42" name="Grafik 7">
                  <a:extLst>
                    <a:ext uri="{FF2B5EF4-FFF2-40B4-BE49-F238E27FC236}">
                      <a16:creationId xmlns:a16="http://schemas.microsoft.com/office/drawing/2014/main" id="{DBF49DE0-D9AA-D895-00D7-18564F16CBA0}"/>
                    </a:ext>
                  </a:extLst>
                </p:cNvPr>
                <p:cNvGrpSpPr/>
                <p:nvPr/>
              </p:nvGrpSpPr>
              <p:grpSpPr bwMode="gray">
                <a:xfrm>
                  <a:off x="5951066" y="3230345"/>
                  <a:ext cx="117405" cy="65779"/>
                  <a:chOff x="5951066" y="3230345"/>
                  <a:chExt cx="117405" cy="65779"/>
                </a:xfrm>
                <a:grpFill/>
              </p:grpSpPr>
              <p:sp>
                <p:nvSpPr>
                  <p:cNvPr id="143" name="Grafik 7">
                    <a:extLst>
                      <a:ext uri="{FF2B5EF4-FFF2-40B4-BE49-F238E27FC236}">
                        <a16:creationId xmlns:a16="http://schemas.microsoft.com/office/drawing/2014/main" id="{0A3B9343-C48D-12F1-DAA9-22785A5BCC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066" y="3230345"/>
                    <a:ext cx="117367" cy="65779"/>
                  </a:xfrm>
                  <a:custGeom>
                    <a:avLst/>
                    <a:gdLst>
                      <a:gd name="connsiteX0" fmla="*/ 110262 w 117367"/>
                      <a:gd name="connsiteY0" fmla="*/ 65780 h 65779"/>
                      <a:gd name="connsiteX1" fmla="*/ 107118 w 117367"/>
                      <a:gd name="connsiteY1" fmla="*/ 65018 h 65779"/>
                      <a:gd name="connsiteX2" fmla="*/ 3963 w 117367"/>
                      <a:gd name="connsiteY2" fmla="*/ 13583 h 65779"/>
                      <a:gd name="connsiteX3" fmla="*/ 724 w 117367"/>
                      <a:gd name="connsiteY3" fmla="*/ 3963 h 65779"/>
                      <a:gd name="connsiteX4" fmla="*/ 10344 w 117367"/>
                      <a:gd name="connsiteY4" fmla="*/ 724 h 65779"/>
                      <a:gd name="connsiteX5" fmla="*/ 113405 w 117367"/>
                      <a:gd name="connsiteY5" fmla="*/ 52254 h 65779"/>
                      <a:gd name="connsiteX6" fmla="*/ 116643 w 117367"/>
                      <a:gd name="connsiteY6" fmla="*/ 61875 h 65779"/>
                      <a:gd name="connsiteX7" fmla="*/ 110262 w 117367"/>
                      <a:gd name="connsiteY7" fmla="*/ 65780 h 65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779">
                        <a:moveTo>
                          <a:pt x="110262" y="65780"/>
                        </a:moveTo>
                        <a:cubicBezTo>
                          <a:pt x="109214" y="65780"/>
                          <a:pt x="108071" y="65494"/>
                          <a:pt x="107118" y="65018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405" y="64351"/>
                          <a:pt x="112833" y="65780"/>
                          <a:pt x="110262" y="6578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44" name="Grafik 7">
                    <a:extLst>
                      <a:ext uri="{FF2B5EF4-FFF2-40B4-BE49-F238E27FC236}">
                        <a16:creationId xmlns:a16="http://schemas.microsoft.com/office/drawing/2014/main" id="{16AABE6B-26FE-0874-38D8-3BC3BABE4A2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45" name="Grafik 7">
                    <a:extLst>
                      <a:ext uri="{FF2B5EF4-FFF2-40B4-BE49-F238E27FC236}">
                        <a16:creationId xmlns:a16="http://schemas.microsoft.com/office/drawing/2014/main" id="{08A2F3F1-2200-148F-3C1B-6444241B399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83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137" name="Grafik 7">
                <a:extLst>
                  <a:ext uri="{FF2B5EF4-FFF2-40B4-BE49-F238E27FC236}">
                    <a16:creationId xmlns:a16="http://schemas.microsoft.com/office/drawing/2014/main" id="{6D715C7A-1B6A-6E99-5AFA-B21720C4002D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8" name="Grafik 7">
                <a:extLst>
                  <a:ext uri="{FF2B5EF4-FFF2-40B4-BE49-F238E27FC236}">
                    <a16:creationId xmlns:a16="http://schemas.microsoft.com/office/drawing/2014/main" id="{3A81F545-E294-76C9-F7E1-ABD06544290E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18" name="Grafik 7">
              <a:extLst>
                <a:ext uri="{FF2B5EF4-FFF2-40B4-BE49-F238E27FC236}">
                  <a16:creationId xmlns:a16="http://schemas.microsoft.com/office/drawing/2014/main" id="{41765F04-A23B-26F8-8D95-B00E0AB8DB91}"/>
                </a:ext>
              </a:extLst>
            </p:cNvPr>
            <p:cNvGrpSpPr/>
            <p:nvPr/>
          </p:nvGrpSpPr>
          <p:grpSpPr bwMode="gray">
            <a:xfrm>
              <a:off x="5980770" y="3457479"/>
              <a:ext cx="224742" cy="172593"/>
              <a:chOff x="5980770" y="3457479"/>
              <a:chExt cx="224742" cy="172593"/>
            </a:xfrm>
            <a:grpFill/>
          </p:grpSpPr>
          <p:grpSp>
            <p:nvGrpSpPr>
              <p:cNvPr id="119" name="Grafik 7">
                <a:extLst>
                  <a:ext uri="{FF2B5EF4-FFF2-40B4-BE49-F238E27FC236}">
                    <a16:creationId xmlns:a16="http://schemas.microsoft.com/office/drawing/2014/main" id="{6AB42770-5289-5114-688E-D2342DFA8720}"/>
                  </a:ext>
                </a:extLst>
              </p:cNvPr>
              <p:cNvGrpSpPr/>
              <p:nvPr/>
            </p:nvGrpSpPr>
            <p:grpSpPr bwMode="gray">
              <a:xfrm>
                <a:off x="5986271" y="3457479"/>
                <a:ext cx="201548" cy="85915"/>
                <a:chOff x="5986271" y="3457479"/>
                <a:chExt cx="201548" cy="85915"/>
              </a:xfrm>
              <a:grpFill/>
            </p:grpSpPr>
            <p:sp>
              <p:nvSpPr>
                <p:cNvPr id="128" name="Grafik 7">
                  <a:extLst>
                    <a:ext uri="{FF2B5EF4-FFF2-40B4-BE49-F238E27FC236}">
                      <a16:creationId xmlns:a16="http://schemas.microsoft.com/office/drawing/2014/main" id="{0B4604CC-2A12-17DC-247A-43E63911B259}"/>
                    </a:ext>
                  </a:extLst>
                </p:cNvPr>
                <p:cNvSpPr/>
                <p:nvPr/>
              </p:nvSpPr>
              <p:spPr bwMode="gray">
                <a:xfrm>
                  <a:off x="6015608" y="3462718"/>
                  <a:ext cx="14287" cy="80676"/>
                </a:xfrm>
                <a:custGeom>
                  <a:avLst/>
                  <a:gdLst>
                    <a:gd name="connsiteX0" fmla="*/ 7144 w 14287"/>
                    <a:gd name="connsiteY0" fmla="*/ 80677 h 80676"/>
                    <a:gd name="connsiteX1" fmla="*/ 0 w 14287"/>
                    <a:gd name="connsiteY1" fmla="*/ 73533 h 80676"/>
                    <a:gd name="connsiteX2" fmla="*/ 0 w 14287"/>
                    <a:gd name="connsiteY2" fmla="*/ 7144 h 80676"/>
                    <a:gd name="connsiteX3" fmla="*/ 7144 w 14287"/>
                    <a:gd name="connsiteY3" fmla="*/ 0 h 80676"/>
                    <a:gd name="connsiteX4" fmla="*/ 14288 w 14287"/>
                    <a:gd name="connsiteY4" fmla="*/ 7144 h 80676"/>
                    <a:gd name="connsiteX5" fmla="*/ 14288 w 14287"/>
                    <a:gd name="connsiteY5" fmla="*/ 73533 h 80676"/>
                    <a:gd name="connsiteX6" fmla="*/ 7144 w 14287"/>
                    <a:gd name="connsiteY6" fmla="*/ 80677 h 806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80676">
                      <a:moveTo>
                        <a:pt x="7144" y="80677"/>
                      </a:moveTo>
                      <a:cubicBezTo>
                        <a:pt x="3239" y="80677"/>
                        <a:pt x="0" y="77438"/>
                        <a:pt x="0" y="73533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73533"/>
                      </a:lnTo>
                      <a:cubicBezTo>
                        <a:pt x="14288" y="77438"/>
                        <a:pt x="11049" y="80677"/>
                        <a:pt x="7144" y="8067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129" name="Grafik 7">
                  <a:extLst>
                    <a:ext uri="{FF2B5EF4-FFF2-40B4-BE49-F238E27FC236}">
                      <a16:creationId xmlns:a16="http://schemas.microsoft.com/office/drawing/2014/main" id="{7BBA2CB1-3954-CEB0-D41F-92E3FB64CA59}"/>
                    </a:ext>
                  </a:extLst>
                </p:cNvPr>
                <p:cNvGrpSpPr/>
                <p:nvPr/>
              </p:nvGrpSpPr>
              <p:grpSpPr bwMode="gray">
                <a:xfrm>
                  <a:off x="6118764" y="3457479"/>
                  <a:ext cx="69056" cy="85915"/>
                  <a:chOff x="6118764" y="3457479"/>
                  <a:chExt cx="69056" cy="85915"/>
                </a:xfrm>
                <a:grpFill/>
              </p:grpSpPr>
              <p:sp>
                <p:nvSpPr>
                  <p:cNvPr id="132" name="Grafik 7">
                    <a:extLst>
                      <a:ext uri="{FF2B5EF4-FFF2-40B4-BE49-F238E27FC236}">
                        <a16:creationId xmlns:a16="http://schemas.microsoft.com/office/drawing/2014/main" id="{9720C2BC-070B-60A1-61EB-39D56F6388E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764" y="3457479"/>
                    <a:ext cx="14287" cy="85915"/>
                  </a:xfrm>
                  <a:custGeom>
                    <a:avLst/>
                    <a:gdLst>
                      <a:gd name="connsiteX0" fmla="*/ 7144 w 14287"/>
                      <a:gd name="connsiteY0" fmla="*/ 85915 h 85915"/>
                      <a:gd name="connsiteX1" fmla="*/ 0 w 14287"/>
                      <a:gd name="connsiteY1" fmla="*/ 78772 h 85915"/>
                      <a:gd name="connsiteX2" fmla="*/ 0 w 14287"/>
                      <a:gd name="connsiteY2" fmla="*/ 7144 h 85915"/>
                      <a:gd name="connsiteX3" fmla="*/ 7144 w 14287"/>
                      <a:gd name="connsiteY3" fmla="*/ 0 h 85915"/>
                      <a:gd name="connsiteX4" fmla="*/ 14288 w 14287"/>
                      <a:gd name="connsiteY4" fmla="*/ 7144 h 85915"/>
                      <a:gd name="connsiteX5" fmla="*/ 14288 w 14287"/>
                      <a:gd name="connsiteY5" fmla="*/ 78772 h 85915"/>
                      <a:gd name="connsiteX6" fmla="*/ 7144 w 14287"/>
                      <a:gd name="connsiteY6" fmla="*/ 85915 h 859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85915">
                        <a:moveTo>
                          <a:pt x="7144" y="85915"/>
                        </a:moveTo>
                        <a:cubicBezTo>
                          <a:pt x="3239" y="85915"/>
                          <a:pt x="0" y="82677"/>
                          <a:pt x="0" y="78772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78772"/>
                        </a:lnTo>
                        <a:cubicBezTo>
                          <a:pt x="14288" y="82677"/>
                          <a:pt x="11049" y="85915"/>
                          <a:pt x="7144" y="8591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33" name="Grafik 7">
                    <a:extLst>
                      <a:ext uri="{FF2B5EF4-FFF2-40B4-BE49-F238E27FC236}">
                        <a16:creationId xmlns:a16="http://schemas.microsoft.com/office/drawing/2014/main" id="{958CB3B2-6558-3034-4B35-9B978A3EE00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3532" y="3457479"/>
                    <a:ext cx="14287" cy="85915"/>
                  </a:xfrm>
                  <a:custGeom>
                    <a:avLst/>
                    <a:gdLst>
                      <a:gd name="connsiteX0" fmla="*/ 7144 w 14287"/>
                      <a:gd name="connsiteY0" fmla="*/ 85915 h 85915"/>
                      <a:gd name="connsiteX1" fmla="*/ 0 w 14287"/>
                      <a:gd name="connsiteY1" fmla="*/ 78772 h 85915"/>
                      <a:gd name="connsiteX2" fmla="*/ 0 w 14287"/>
                      <a:gd name="connsiteY2" fmla="*/ 7144 h 85915"/>
                      <a:gd name="connsiteX3" fmla="*/ 7144 w 14287"/>
                      <a:gd name="connsiteY3" fmla="*/ 0 h 85915"/>
                      <a:gd name="connsiteX4" fmla="*/ 14288 w 14287"/>
                      <a:gd name="connsiteY4" fmla="*/ 7144 h 85915"/>
                      <a:gd name="connsiteX5" fmla="*/ 14288 w 14287"/>
                      <a:gd name="connsiteY5" fmla="*/ 78772 h 85915"/>
                      <a:gd name="connsiteX6" fmla="*/ 7144 w 14287"/>
                      <a:gd name="connsiteY6" fmla="*/ 85915 h 859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85915">
                        <a:moveTo>
                          <a:pt x="7144" y="85915"/>
                        </a:moveTo>
                        <a:cubicBezTo>
                          <a:pt x="3239" y="85915"/>
                          <a:pt x="0" y="82677"/>
                          <a:pt x="0" y="78772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78772"/>
                        </a:lnTo>
                        <a:cubicBezTo>
                          <a:pt x="14288" y="82677"/>
                          <a:pt x="11049" y="85915"/>
                          <a:pt x="7144" y="8591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34" name="Grafik 7">
                    <a:extLst>
                      <a:ext uri="{FF2B5EF4-FFF2-40B4-BE49-F238E27FC236}">
                        <a16:creationId xmlns:a16="http://schemas.microsoft.com/office/drawing/2014/main" id="{309F7A08-6CFD-1A90-FF54-3E60734E72C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20606" y="3457511"/>
                    <a:ext cx="39654" cy="45306"/>
                  </a:xfrm>
                  <a:custGeom>
                    <a:avLst/>
                    <a:gdLst>
                      <a:gd name="connsiteX0" fmla="*/ 32448 w 39654"/>
                      <a:gd name="connsiteY0" fmla="*/ 45307 h 45306"/>
                      <a:gd name="connsiteX1" fmla="*/ 26924 w 39654"/>
                      <a:gd name="connsiteY1" fmla="*/ 42640 h 45306"/>
                      <a:gd name="connsiteX2" fmla="*/ 1587 w 39654"/>
                      <a:gd name="connsiteY2" fmla="*/ 11588 h 45306"/>
                      <a:gd name="connsiteX3" fmla="*/ 2635 w 39654"/>
                      <a:gd name="connsiteY3" fmla="*/ 1587 h 45306"/>
                      <a:gd name="connsiteX4" fmla="*/ 12731 w 39654"/>
                      <a:gd name="connsiteY4" fmla="*/ 2635 h 45306"/>
                      <a:gd name="connsiteX5" fmla="*/ 38068 w 39654"/>
                      <a:gd name="connsiteY5" fmla="*/ 33686 h 45306"/>
                      <a:gd name="connsiteX6" fmla="*/ 37020 w 39654"/>
                      <a:gd name="connsiteY6" fmla="*/ 43688 h 45306"/>
                      <a:gd name="connsiteX7" fmla="*/ 32448 w 39654"/>
                      <a:gd name="connsiteY7" fmla="*/ 45307 h 453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9654" h="45306">
                        <a:moveTo>
                          <a:pt x="32448" y="45307"/>
                        </a:moveTo>
                        <a:cubicBezTo>
                          <a:pt x="30353" y="45307"/>
                          <a:pt x="28352" y="44450"/>
                          <a:pt x="26924" y="42640"/>
                        </a:cubicBezTo>
                        <a:lnTo>
                          <a:pt x="1587" y="11588"/>
                        </a:lnTo>
                        <a:cubicBezTo>
                          <a:pt x="-889" y="8540"/>
                          <a:pt x="-413" y="4064"/>
                          <a:pt x="2635" y="1587"/>
                        </a:cubicBezTo>
                        <a:cubicBezTo>
                          <a:pt x="5683" y="-889"/>
                          <a:pt x="10160" y="-413"/>
                          <a:pt x="12731" y="2635"/>
                        </a:cubicBezTo>
                        <a:lnTo>
                          <a:pt x="38068" y="33686"/>
                        </a:lnTo>
                        <a:cubicBezTo>
                          <a:pt x="40544" y="36734"/>
                          <a:pt x="40068" y="41211"/>
                          <a:pt x="37020" y="43688"/>
                        </a:cubicBezTo>
                        <a:cubicBezTo>
                          <a:pt x="35591" y="44831"/>
                          <a:pt x="33972" y="45307"/>
                          <a:pt x="32448" y="4530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35" name="Grafik 7">
                    <a:extLst>
                      <a:ext uri="{FF2B5EF4-FFF2-40B4-BE49-F238E27FC236}">
                        <a16:creationId xmlns:a16="http://schemas.microsoft.com/office/drawing/2014/main" id="{FF214EF9-A6F2-FC72-EAAC-CAFB4FF85E7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47180" y="3457511"/>
                    <a:ext cx="39654" cy="45306"/>
                  </a:xfrm>
                  <a:custGeom>
                    <a:avLst/>
                    <a:gdLst>
                      <a:gd name="connsiteX0" fmla="*/ 7112 w 39654"/>
                      <a:gd name="connsiteY0" fmla="*/ 45307 h 45306"/>
                      <a:gd name="connsiteX1" fmla="*/ 2635 w 39654"/>
                      <a:gd name="connsiteY1" fmla="*/ 43688 h 45306"/>
                      <a:gd name="connsiteX2" fmla="*/ 1587 w 39654"/>
                      <a:gd name="connsiteY2" fmla="*/ 33686 h 45306"/>
                      <a:gd name="connsiteX3" fmla="*/ 26924 w 39654"/>
                      <a:gd name="connsiteY3" fmla="*/ 2635 h 45306"/>
                      <a:gd name="connsiteX4" fmla="*/ 37020 w 39654"/>
                      <a:gd name="connsiteY4" fmla="*/ 1587 h 45306"/>
                      <a:gd name="connsiteX5" fmla="*/ 38068 w 39654"/>
                      <a:gd name="connsiteY5" fmla="*/ 11588 h 45306"/>
                      <a:gd name="connsiteX6" fmla="*/ 12731 w 39654"/>
                      <a:gd name="connsiteY6" fmla="*/ 42640 h 45306"/>
                      <a:gd name="connsiteX7" fmla="*/ 7112 w 39654"/>
                      <a:gd name="connsiteY7" fmla="*/ 45307 h 453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9654" h="45306">
                        <a:moveTo>
                          <a:pt x="7112" y="45307"/>
                        </a:moveTo>
                        <a:cubicBezTo>
                          <a:pt x="5492" y="45307"/>
                          <a:pt x="3968" y="44831"/>
                          <a:pt x="2635" y="43688"/>
                        </a:cubicBezTo>
                        <a:cubicBezTo>
                          <a:pt x="-413" y="41211"/>
                          <a:pt x="-889" y="36734"/>
                          <a:pt x="1587" y="33686"/>
                        </a:cubicBezTo>
                        <a:lnTo>
                          <a:pt x="26924" y="2635"/>
                        </a:lnTo>
                        <a:cubicBezTo>
                          <a:pt x="29400" y="-413"/>
                          <a:pt x="33877" y="-889"/>
                          <a:pt x="37020" y="1587"/>
                        </a:cubicBezTo>
                        <a:cubicBezTo>
                          <a:pt x="40068" y="4064"/>
                          <a:pt x="40544" y="8540"/>
                          <a:pt x="38068" y="11588"/>
                        </a:cubicBezTo>
                        <a:lnTo>
                          <a:pt x="12731" y="42640"/>
                        </a:lnTo>
                        <a:cubicBezTo>
                          <a:pt x="11303" y="44450"/>
                          <a:pt x="9207" y="45307"/>
                          <a:pt x="7112" y="4530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30" name="Grafik 7">
                  <a:extLst>
                    <a:ext uri="{FF2B5EF4-FFF2-40B4-BE49-F238E27FC236}">
                      <a16:creationId xmlns:a16="http://schemas.microsoft.com/office/drawing/2014/main" id="{1F6F7345-0022-0105-DB87-635D5CF5578E}"/>
                    </a:ext>
                  </a:extLst>
                </p:cNvPr>
                <p:cNvSpPr/>
                <p:nvPr/>
              </p:nvSpPr>
              <p:spPr bwMode="gray">
                <a:xfrm>
                  <a:off x="5986271" y="3457479"/>
                  <a:ext cx="71246" cy="14287"/>
                </a:xfrm>
                <a:custGeom>
                  <a:avLst/>
                  <a:gdLst>
                    <a:gd name="connsiteX0" fmla="*/ 64103 w 71246"/>
                    <a:gd name="connsiteY0" fmla="*/ 14288 h 14287"/>
                    <a:gd name="connsiteX1" fmla="*/ 7144 w 71246"/>
                    <a:gd name="connsiteY1" fmla="*/ 14288 h 14287"/>
                    <a:gd name="connsiteX2" fmla="*/ 0 w 71246"/>
                    <a:gd name="connsiteY2" fmla="*/ 7144 h 14287"/>
                    <a:gd name="connsiteX3" fmla="*/ 7144 w 71246"/>
                    <a:gd name="connsiteY3" fmla="*/ 0 h 14287"/>
                    <a:gd name="connsiteX4" fmla="*/ 64103 w 71246"/>
                    <a:gd name="connsiteY4" fmla="*/ 0 h 14287"/>
                    <a:gd name="connsiteX5" fmla="*/ 71247 w 71246"/>
                    <a:gd name="connsiteY5" fmla="*/ 7144 h 14287"/>
                    <a:gd name="connsiteX6" fmla="*/ 64103 w 712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1246" h="14287">
                      <a:moveTo>
                        <a:pt x="641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64103" y="0"/>
                      </a:lnTo>
                      <a:cubicBezTo>
                        <a:pt x="68009" y="0"/>
                        <a:pt x="71247" y="3239"/>
                        <a:pt x="71247" y="7144"/>
                      </a:cubicBezTo>
                      <a:cubicBezTo>
                        <a:pt x="71247" y="11049"/>
                        <a:pt x="68009" y="14288"/>
                        <a:pt x="64103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1" name="Grafik 7">
                  <a:extLst>
                    <a:ext uri="{FF2B5EF4-FFF2-40B4-BE49-F238E27FC236}">
                      <a16:creationId xmlns:a16="http://schemas.microsoft.com/office/drawing/2014/main" id="{D5EA6243-9F06-F8CE-B29F-A8512B09EAE0}"/>
                    </a:ext>
                  </a:extLst>
                </p:cNvPr>
                <p:cNvSpPr/>
                <p:nvPr/>
              </p:nvSpPr>
              <p:spPr bwMode="gray">
                <a:xfrm>
                  <a:off x="6059899" y="3457479"/>
                  <a:ext cx="54006" cy="85915"/>
                </a:xfrm>
                <a:custGeom>
                  <a:avLst/>
                  <a:gdLst>
                    <a:gd name="connsiteX0" fmla="*/ 7144 w 54006"/>
                    <a:gd name="connsiteY0" fmla="*/ 85915 h 85915"/>
                    <a:gd name="connsiteX1" fmla="*/ 0 w 54006"/>
                    <a:gd name="connsiteY1" fmla="*/ 78772 h 85915"/>
                    <a:gd name="connsiteX2" fmla="*/ 0 w 54006"/>
                    <a:gd name="connsiteY2" fmla="*/ 7144 h 85915"/>
                    <a:gd name="connsiteX3" fmla="*/ 7144 w 54006"/>
                    <a:gd name="connsiteY3" fmla="*/ 0 h 85915"/>
                    <a:gd name="connsiteX4" fmla="*/ 54007 w 54006"/>
                    <a:gd name="connsiteY4" fmla="*/ 42958 h 85915"/>
                    <a:gd name="connsiteX5" fmla="*/ 7144 w 54006"/>
                    <a:gd name="connsiteY5" fmla="*/ 85915 h 85915"/>
                    <a:gd name="connsiteX6" fmla="*/ 14288 w 54006"/>
                    <a:gd name="connsiteY6" fmla="*/ 14573 h 85915"/>
                    <a:gd name="connsiteX7" fmla="*/ 14288 w 54006"/>
                    <a:gd name="connsiteY7" fmla="*/ 71247 h 85915"/>
                    <a:gd name="connsiteX8" fmla="*/ 39719 w 54006"/>
                    <a:gd name="connsiteY8" fmla="*/ 42958 h 85915"/>
                    <a:gd name="connsiteX9" fmla="*/ 14288 w 54006"/>
                    <a:gd name="connsiteY9" fmla="*/ 14573 h 859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54006" h="85915">
                      <a:moveTo>
                        <a:pt x="7144" y="85915"/>
                      </a:moveTo>
                      <a:cubicBezTo>
                        <a:pt x="3239" y="85915"/>
                        <a:pt x="0" y="82677"/>
                        <a:pt x="0" y="78772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45815" y="0"/>
                        <a:pt x="54007" y="23336"/>
                        <a:pt x="54007" y="42958"/>
                      </a:cubicBezTo>
                      <a:cubicBezTo>
                        <a:pt x="54007" y="70199"/>
                        <a:pt x="36957" y="85915"/>
                        <a:pt x="7144" y="85915"/>
                      </a:cubicBezTo>
                      <a:close/>
                      <a:moveTo>
                        <a:pt x="14288" y="14573"/>
                      </a:moveTo>
                      <a:lnTo>
                        <a:pt x="14288" y="71247"/>
                      </a:lnTo>
                      <a:cubicBezTo>
                        <a:pt x="36862" y="68770"/>
                        <a:pt x="39719" y="54197"/>
                        <a:pt x="39719" y="42958"/>
                      </a:cubicBezTo>
                      <a:cubicBezTo>
                        <a:pt x="39719" y="24860"/>
                        <a:pt x="32195" y="16288"/>
                        <a:pt x="14288" y="145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20" name="Grafik 7">
                <a:extLst>
                  <a:ext uri="{FF2B5EF4-FFF2-40B4-BE49-F238E27FC236}">
                    <a16:creationId xmlns:a16="http://schemas.microsoft.com/office/drawing/2014/main" id="{882B6E14-E988-6EAF-70B0-A5A8DF986C03}"/>
                  </a:ext>
                </a:extLst>
              </p:cNvPr>
              <p:cNvSpPr/>
              <p:nvPr/>
            </p:nvSpPr>
            <p:spPr bwMode="gray">
              <a:xfrm>
                <a:off x="5984557" y="3571493"/>
                <a:ext cx="220503" cy="14287"/>
              </a:xfrm>
              <a:custGeom>
                <a:avLst/>
                <a:gdLst>
                  <a:gd name="connsiteX0" fmla="*/ 213360 w 220503"/>
                  <a:gd name="connsiteY0" fmla="*/ 14288 h 14287"/>
                  <a:gd name="connsiteX1" fmla="*/ 7144 w 220503"/>
                  <a:gd name="connsiteY1" fmla="*/ 14288 h 14287"/>
                  <a:gd name="connsiteX2" fmla="*/ 0 w 220503"/>
                  <a:gd name="connsiteY2" fmla="*/ 7144 h 14287"/>
                  <a:gd name="connsiteX3" fmla="*/ 7144 w 220503"/>
                  <a:gd name="connsiteY3" fmla="*/ 0 h 14287"/>
                  <a:gd name="connsiteX4" fmla="*/ 213360 w 220503"/>
                  <a:gd name="connsiteY4" fmla="*/ 0 h 14287"/>
                  <a:gd name="connsiteX5" fmla="*/ 220504 w 220503"/>
                  <a:gd name="connsiteY5" fmla="*/ 7144 h 14287"/>
                  <a:gd name="connsiteX6" fmla="*/ 213360 w 220503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0503" h="14287">
                    <a:moveTo>
                      <a:pt x="213360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213360" y="0"/>
                    </a:lnTo>
                    <a:cubicBezTo>
                      <a:pt x="217265" y="0"/>
                      <a:pt x="220504" y="3239"/>
                      <a:pt x="220504" y="7144"/>
                    </a:cubicBezTo>
                    <a:cubicBezTo>
                      <a:pt x="220504" y="11049"/>
                      <a:pt x="217265" y="14288"/>
                      <a:pt x="213360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1" name="Grafik 7">
                <a:extLst>
                  <a:ext uri="{FF2B5EF4-FFF2-40B4-BE49-F238E27FC236}">
                    <a16:creationId xmlns:a16="http://schemas.microsoft.com/office/drawing/2014/main" id="{17ADE5D4-703D-49F7-E34E-4B8AB2CCFB4F}"/>
                  </a:ext>
                </a:extLst>
              </p:cNvPr>
              <p:cNvSpPr/>
              <p:nvPr/>
            </p:nvSpPr>
            <p:spPr bwMode="gray">
              <a:xfrm>
                <a:off x="6174318" y="3554562"/>
                <a:ext cx="31194" cy="31218"/>
              </a:xfrm>
              <a:custGeom>
                <a:avLst/>
                <a:gdLst>
                  <a:gd name="connsiteX0" fmla="*/ 24074 w 31194"/>
                  <a:gd name="connsiteY0" fmla="*/ 31218 h 31218"/>
                  <a:gd name="connsiteX1" fmla="*/ 19026 w 31194"/>
                  <a:gd name="connsiteY1" fmla="*/ 29123 h 31218"/>
                  <a:gd name="connsiteX2" fmla="*/ 2072 w 31194"/>
                  <a:gd name="connsiteY2" fmla="*/ 12168 h 31218"/>
                  <a:gd name="connsiteX3" fmla="*/ 2072 w 31194"/>
                  <a:gd name="connsiteY3" fmla="*/ 2072 h 31218"/>
                  <a:gd name="connsiteX4" fmla="*/ 12168 w 31194"/>
                  <a:gd name="connsiteY4" fmla="*/ 2072 h 31218"/>
                  <a:gd name="connsiteX5" fmla="*/ 29123 w 31194"/>
                  <a:gd name="connsiteY5" fmla="*/ 19026 h 31218"/>
                  <a:gd name="connsiteX6" fmla="*/ 29123 w 31194"/>
                  <a:gd name="connsiteY6" fmla="*/ 29123 h 31218"/>
                  <a:gd name="connsiteX7" fmla="*/ 24074 w 31194"/>
                  <a:gd name="connsiteY7" fmla="*/ 31218 h 31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194" h="31218">
                    <a:moveTo>
                      <a:pt x="24074" y="31218"/>
                    </a:moveTo>
                    <a:cubicBezTo>
                      <a:pt x="22265" y="31218"/>
                      <a:pt x="20455" y="30551"/>
                      <a:pt x="19026" y="291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9123" y="19026"/>
                    </a:lnTo>
                    <a:cubicBezTo>
                      <a:pt x="31885" y="21788"/>
                      <a:pt x="31885" y="26360"/>
                      <a:pt x="29123" y="29123"/>
                    </a:cubicBezTo>
                    <a:cubicBezTo>
                      <a:pt x="27694" y="30551"/>
                      <a:pt x="25884" y="31218"/>
                      <a:pt x="24074" y="3121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2" name="Grafik 7">
                <a:extLst>
                  <a:ext uri="{FF2B5EF4-FFF2-40B4-BE49-F238E27FC236}">
                    <a16:creationId xmlns:a16="http://schemas.microsoft.com/office/drawing/2014/main" id="{73FBED08-AD0E-7382-857F-9A0062C995FF}"/>
                  </a:ext>
                </a:extLst>
              </p:cNvPr>
              <p:cNvSpPr/>
              <p:nvPr/>
            </p:nvSpPr>
            <p:spPr bwMode="gray">
              <a:xfrm>
                <a:off x="6174318" y="3573136"/>
                <a:ext cx="31194" cy="31218"/>
              </a:xfrm>
              <a:custGeom>
                <a:avLst/>
                <a:gdLst>
                  <a:gd name="connsiteX0" fmla="*/ 7120 w 31194"/>
                  <a:gd name="connsiteY0" fmla="*/ 31218 h 31218"/>
                  <a:gd name="connsiteX1" fmla="*/ 2072 w 31194"/>
                  <a:gd name="connsiteY1" fmla="*/ 29123 h 31218"/>
                  <a:gd name="connsiteX2" fmla="*/ 2072 w 31194"/>
                  <a:gd name="connsiteY2" fmla="*/ 19026 h 31218"/>
                  <a:gd name="connsiteX3" fmla="*/ 19026 w 31194"/>
                  <a:gd name="connsiteY3" fmla="*/ 2072 h 31218"/>
                  <a:gd name="connsiteX4" fmla="*/ 29123 w 31194"/>
                  <a:gd name="connsiteY4" fmla="*/ 2072 h 31218"/>
                  <a:gd name="connsiteX5" fmla="*/ 29123 w 31194"/>
                  <a:gd name="connsiteY5" fmla="*/ 12168 h 31218"/>
                  <a:gd name="connsiteX6" fmla="*/ 12168 w 31194"/>
                  <a:gd name="connsiteY6" fmla="*/ 29123 h 31218"/>
                  <a:gd name="connsiteX7" fmla="*/ 7120 w 31194"/>
                  <a:gd name="connsiteY7" fmla="*/ 31218 h 31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194" h="31218">
                    <a:moveTo>
                      <a:pt x="7120" y="31218"/>
                    </a:moveTo>
                    <a:cubicBezTo>
                      <a:pt x="5310" y="31218"/>
                      <a:pt x="3500" y="30551"/>
                      <a:pt x="2072" y="29123"/>
                    </a:cubicBezTo>
                    <a:cubicBezTo>
                      <a:pt x="-691" y="26360"/>
                      <a:pt x="-691" y="21788"/>
                      <a:pt x="2072" y="19026"/>
                    </a:cubicBezTo>
                    <a:lnTo>
                      <a:pt x="19026" y="2072"/>
                    </a:lnTo>
                    <a:cubicBezTo>
                      <a:pt x="21788" y="-691"/>
                      <a:pt x="26360" y="-691"/>
                      <a:pt x="29123" y="2072"/>
                    </a:cubicBezTo>
                    <a:cubicBezTo>
                      <a:pt x="31885" y="4834"/>
                      <a:pt x="31885" y="9406"/>
                      <a:pt x="29123" y="12168"/>
                    </a:cubicBezTo>
                    <a:lnTo>
                      <a:pt x="12168" y="29123"/>
                    </a:lnTo>
                    <a:cubicBezTo>
                      <a:pt x="10739" y="30551"/>
                      <a:pt x="8930" y="31218"/>
                      <a:pt x="7120" y="3121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3" name="Grafik 7">
                <a:extLst>
                  <a:ext uri="{FF2B5EF4-FFF2-40B4-BE49-F238E27FC236}">
                    <a16:creationId xmlns:a16="http://schemas.microsoft.com/office/drawing/2014/main" id="{514DADA0-0AC0-DCE7-4714-9568064B524F}"/>
                  </a:ext>
                </a:extLst>
              </p:cNvPr>
              <p:cNvSpPr/>
              <p:nvPr/>
            </p:nvSpPr>
            <p:spPr bwMode="gray">
              <a:xfrm>
                <a:off x="6087736" y="3598854"/>
                <a:ext cx="31194" cy="31218"/>
              </a:xfrm>
              <a:custGeom>
                <a:avLst/>
                <a:gdLst>
                  <a:gd name="connsiteX0" fmla="*/ 7120 w 31194"/>
                  <a:gd name="connsiteY0" fmla="*/ 31218 h 31218"/>
                  <a:gd name="connsiteX1" fmla="*/ 2072 w 31194"/>
                  <a:gd name="connsiteY1" fmla="*/ 29123 h 31218"/>
                  <a:gd name="connsiteX2" fmla="*/ 2072 w 31194"/>
                  <a:gd name="connsiteY2" fmla="*/ 19026 h 31218"/>
                  <a:gd name="connsiteX3" fmla="*/ 19026 w 31194"/>
                  <a:gd name="connsiteY3" fmla="*/ 2072 h 31218"/>
                  <a:gd name="connsiteX4" fmla="*/ 29123 w 31194"/>
                  <a:gd name="connsiteY4" fmla="*/ 2072 h 31218"/>
                  <a:gd name="connsiteX5" fmla="*/ 29123 w 31194"/>
                  <a:gd name="connsiteY5" fmla="*/ 12168 h 31218"/>
                  <a:gd name="connsiteX6" fmla="*/ 12168 w 31194"/>
                  <a:gd name="connsiteY6" fmla="*/ 29123 h 31218"/>
                  <a:gd name="connsiteX7" fmla="*/ 7120 w 31194"/>
                  <a:gd name="connsiteY7" fmla="*/ 31218 h 31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194" h="31218">
                    <a:moveTo>
                      <a:pt x="7120" y="31218"/>
                    </a:moveTo>
                    <a:cubicBezTo>
                      <a:pt x="5310" y="31218"/>
                      <a:pt x="3500" y="30551"/>
                      <a:pt x="2072" y="29123"/>
                    </a:cubicBezTo>
                    <a:cubicBezTo>
                      <a:pt x="-691" y="26360"/>
                      <a:pt x="-691" y="21788"/>
                      <a:pt x="2072" y="19026"/>
                    </a:cubicBezTo>
                    <a:lnTo>
                      <a:pt x="19026" y="2072"/>
                    </a:lnTo>
                    <a:cubicBezTo>
                      <a:pt x="21788" y="-691"/>
                      <a:pt x="26360" y="-691"/>
                      <a:pt x="29123" y="2072"/>
                    </a:cubicBezTo>
                    <a:cubicBezTo>
                      <a:pt x="31885" y="4834"/>
                      <a:pt x="31885" y="9406"/>
                      <a:pt x="29123" y="12168"/>
                    </a:cubicBezTo>
                    <a:lnTo>
                      <a:pt x="12168" y="29123"/>
                    </a:lnTo>
                    <a:cubicBezTo>
                      <a:pt x="10739" y="30456"/>
                      <a:pt x="8930" y="31218"/>
                      <a:pt x="7120" y="3121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4" name="Grafik 7">
                <a:extLst>
                  <a:ext uri="{FF2B5EF4-FFF2-40B4-BE49-F238E27FC236}">
                    <a16:creationId xmlns:a16="http://schemas.microsoft.com/office/drawing/2014/main" id="{2E347B33-1BD4-F2E6-084D-B7B581746A49}"/>
                  </a:ext>
                </a:extLst>
              </p:cNvPr>
              <p:cNvSpPr/>
              <p:nvPr/>
            </p:nvSpPr>
            <p:spPr bwMode="gray">
              <a:xfrm>
                <a:off x="5980770" y="3554562"/>
                <a:ext cx="31194" cy="31218"/>
              </a:xfrm>
              <a:custGeom>
                <a:avLst/>
                <a:gdLst>
                  <a:gd name="connsiteX0" fmla="*/ 7120 w 31194"/>
                  <a:gd name="connsiteY0" fmla="*/ 31218 h 31218"/>
                  <a:gd name="connsiteX1" fmla="*/ 2072 w 31194"/>
                  <a:gd name="connsiteY1" fmla="*/ 29123 h 31218"/>
                  <a:gd name="connsiteX2" fmla="*/ 2072 w 31194"/>
                  <a:gd name="connsiteY2" fmla="*/ 19026 h 31218"/>
                  <a:gd name="connsiteX3" fmla="*/ 19026 w 31194"/>
                  <a:gd name="connsiteY3" fmla="*/ 2072 h 31218"/>
                  <a:gd name="connsiteX4" fmla="*/ 29123 w 31194"/>
                  <a:gd name="connsiteY4" fmla="*/ 2072 h 31218"/>
                  <a:gd name="connsiteX5" fmla="*/ 29123 w 31194"/>
                  <a:gd name="connsiteY5" fmla="*/ 12168 h 31218"/>
                  <a:gd name="connsiteX6" fmla="*/ 12168 w 31194"/>
                  <a:gd name="connsiteY6" fmla="*/ 29123 h 31218"/>
                  <a:gd name="connsiteX7" fmla="*/ 7120 w 31194"/>
                  <a:gd name="connsiteY7" fmla="*/ 31218 h 31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194" h="31218">
                    <a:moveTo>
                      <a:pt x="7120" y="31218"/>
                    </a:moveTo>
                    <a:cubicBezTo>
                      <a:pt x="5310" y="31218"/>
                      <a:pt x="3500" y="30551"/>
                      <a:pt x="2072" y="29123"/>
                    </a:cubicBezTo>
                    <a:cubicBezTo>
                      <a:pt x="-691" y="26360"/>
                      <a:pt x="-691" y="21788"/>
                      <a:pt x="2072" y="19026"/>
                    </a:cubicBezTo>
                    <a:lnTo>
                      <a:pt x="19026" y="2072"/>
                    </a:lnTo>
                    <a:cubicBezTo>
                      <a:pt x="21788" y="-691"/>
                      <a:pt x="26360" y="-691"/>
                      <a:pt x="29123" y="2072"/>
                    </a:cubicBezTo>
                    <a:cubicBezTo>
                      <a:pt x="31885" y="4834"/>
                      <a:pt x="31885" y="9406"/>
                      <a:pt x="29123" y="12168"/>
                    </a:cubicBezTo>
                    <a:lnTo>
                      <a:pt x="12168" y="29123"/>
                    </a:lnTo>
                    <a:cubicBezTo>
                      <a:pt x="10739" y="30551"/>
                      <a:pt x="8930" y="31218"/>
                      <a:pt x="7120" y="3121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5" name="Grafik 7">
                <a:extLst>
                  <a:ext uri="{FF2B5EF4-FFF2-40B4-BE49-F238E27FC236}">
                    <a16:creationId xmlns:a16="http://schemas.microsoft.com/office/drawing/2014/main" id="{D1C8BBAB-F209-2D89-6C01-72A65FA25607}"/>
                  </a:ext>
                </a:extLst>
              </p:cNvPr>
              <p:cNvSpPr/>
              <p:nvPr/>
            </p:nvSpPr>
            <p:spPr bwMode="gray">
              <a:xfrm>
                <a:off x="5980770" y="3573136"/>
                <a:ext cx="31194" cy="31218"/>
              </a:xfrm>
              <a:custGeom>
                <a:avLst/>
                <a:gdLst>
                  <a:gd name="connsiteX0" fmla="*/ 24074 w 31194"/>
                  <a:gd name="connsiteY0" fmla="*/ 31218 h 31218"/>
                  <a:gd name="connsiteX1" fmla="*/ 19026 w 31194"/>
                  <a:gd name="connsiteY1" fmla="*/ 29123 h 31218"/>
                  <a:gd name="connsiteX2" fmla="*/ 2072 w 31194"/>
                  <a:gd name="connsiteY2" fmla="*/ 12168 h 31218"/>
                  <a:gd name="connsiteX3" fmla="*/ 2072 w 31194"/>
                  <a:gd name="connsiteY3" fmla="*/ 2072 h 31218"/>
                  <a:gd name="connsiteX4" fmla="*/ 12168 w 31194"/>
                  <a:gd name="connsiteY4" fmla="*/ 2072 h 31218"/>
                  <a:gd name="connsiteX5" fmla="*/ 29123 w 31194"/>
                  <a:gd name="connsiteY5" fmla="*/ 19026 h 31218"/>
                  <a:gd name="connsiteX6" fmla="*/ 29123 w 31194"/>
                  <a:gd name="connsiteY6" fmla="*/ 29123 h 31218"/>
                  <a:gd name="connsiteX7" fmla="*/ 24074 w 31194"/>
                  <a:gd name="connsiteY7" fmla="*/ 31218 h 31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194" h="31218">
                    <a:moveTo>
                      <a:pt x="24074" y="31218"/>
                    </a:moveTo>
                    <a:cubicBezTo>
                      <a:pt x="22265" y="31218"/>
                      <a:pt x="20455" y="30551"/>
                      <a:pt x="19026" y="291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9123" y="19026"/>
                    </a:lnTo>
                    <a:cubicBezTo>
                      <a:pt x="31885" y="21788"/>
                      <a:pt x="31885" y="26360"/>
                      <a:pt x="29123" y="29123"/>
                    </a:cubicBezTo>
                    <a:cubicBezTo>
                      <a:pt x="27694" y="30551"/>
                      <a:pt x="25884" y="31218"/>
                      <a:pt x="24074" y="3121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6" name="Grafik 7">
                <a:extLst>
                  <a:ext uri="{FF2B5EF4-FFF2-40B4-BE49-F238E27FC236}">
                    <a16:creationId xmlns:a16="http://schemas.microsoft.com/office/drawing/2014/main" id="{E3C0128C-68E2-9350-E088-053202C948A3}"/>
                  </a:ext>
                </a:extLst>
              </p:cNvPr>
              <p:cNvSpPr/>
              <p:nvPr/>
            </p:nvSpPr>
            <p:spPr bwMode="gray">
              <a:xfrm>
                <a:off x="6069639" y="3598854"/>
                <a:ext cx="31194" cy="31218"/>
              </a:xfrm>
              <a:custGeom>
                <a:avLst/>
                <a:gdLst>
                  <a:gd name="connsiteX0" fmla="*/ 24074 w 31194"/>
                  <a:gd name="connsiteY0" fmla="*/ 31218 h 31218"/>
                  <a:gd name="connsiteX1" fmla="*/ 19026 w 31194"/>
                  <a:gd name="connsiteY1" fmla="*/ 29123 h 31218"/>
                  <a:gd name="connsiteX2" fmla="*/ 2072 w 31194"/>
                  <a:gd name="connsiteY2" fmla="*/ 12168 h 31218"/>
                  <a:gd name="connsiteX3" fmla="*/ 2072 w 31194"/>
                  <a:gd name="connsiteY3" fmla="*/ 2072 h 31218"/>
                  <a:gd name="connsiteX4" fmla="*/ 12168 w 31194"/>
                  <a:gd name="connsiteY4" fmla="*/ 2072 h 31218"/>
                  <a:gd name="connsiteX5" fmla="*/ 29123 w 31194"/>
                  <a:gd name="connsiteY5" fmla="*/ 19026 h 31218"/>
                  <a:gd name="connsiteX6" fmla="*/ 29123 w 31194"/>
                  <a:gd name="connsiteY6" fmla="*/ 29123 h 31218"/>
                  <a:gd name="connsiteX7" fmla="*/ 24074 w 31194"/>
                  <a:gd name="connsiteY7" fmla="*/ 31218 h 31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194" h="31218">
                    <a:moveTo>
                      <a:pt x="24074" y="31218"/>
                    </a:moveTo>
                    <a:cubicBezTo>
                      <a:pt x="22265" y="31218"/>
                      <a:pt x="20455" y="30551"/>
                      <a:pt x="19026" y="291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9123" y="19026"/>
                    </a:lnTo>
                    <a:cubicBezTo>
                      <a:pt x="31885" y="21788"/>
                      <a:pt x="31885" y="26360"/>
                      <a:pt x="29123" y="29123"/>
                    </a:cubicBezTo>
                    <a:cubicBezTo>
                      <a:pt x="27789" y="30456"/>
                      <a:pt x="25884" y="31218"/>
                      <a:pt x="24074" y="3121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7" name="Grafik 7">
                <a:extLst>
                  <a:ext uri="{FF2B5EF4-FFF2-40B4-BE49-F238E27FC236}">
                    <a16:creationId xmlns:a16="http://schemas.microsoft.com/office/drawing/2014/main" id="{E03E9749-A30D-F5AB-90CE-7643038EC349}"/>
                  </a:ext>
                </a:extLst>
              </p:cNvPr>
              <p:cNvSpPr/>
              <p:nvPr/>
            </p:nvSpPr>
            <p:spPr bwMode="gray">
              <a:xfrm>
                <a:off x="6087712" y="3571493"/>
                <a:ext cx="14287" cy="58578"/>
              </a:xfrm>
              <a:custGeom>
                <a:avLst/>
                <a:gdLst>
                  <a:gd name="connsiteX0" fmla="*/ 7144 w 14287"/>
                  <a:gd name="connsiteY0" fmla="*/ 58579 h 58578"/>
                  <a:gd name="connsiteX1" fmla="*/ 0 w 14287"/>
                  <a:gd name="connsiteY1" fmla="*/ 51435 h 58578"/>
                  <a:gd name="connsiteX2" fmla="*/ 0 w 14287"/>
                  <a:gd name="connsiteY2" fmla="*/ 7144 h 58578"/>
                  <a:gd name="connsiteX3" fmla="*/ 7144 w 14287"/>
                  <a:gd name="connsiteY3" fmla="*/ 0 h 58578"/>
                  <a:gd name="connsiteX4" fmla="*/ 14288 w 14287"/>
                  <a:gd name="connsiteY4" fmla="*/ 7144 h 58578"/>
                  <a:gd name="connsiteX5" fmla="*/ 14288 w 14287"/>
                  <a:gd name="connsiteY5" fmla="*/ 51435 h 58578"/>
                  <a:gd name="connsiteX6" fmla="*/ 7144 w 14287"/>
                  <a:gd name="connsiteY6" fmla="*/ 58579 h 58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58578">
                    <a:moveTo>
                      <a:pt x="7144" y="58579"/>
                    </a:moveTo>
                    <a:cubicBezTo>
                      <a:pt x="3239" y="58579"/>
                      <a:pt x="0" y="55340"/>
                      <a:pt x="0" y="51435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51435"/>
                    </a:lnTo>
                    <a:cubicBezTo>
                      <a:pt x="14192" y="55340"/>
                      <a:pt x="11049" y="58579"/>
                      <a:pt x="7144" y="5857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155" name="Grafik 9">
            <a:extLst>
              <a:ext uri="{FF2B5EF4-FFF2-40B4-BE49-F238E27FC236}">
                <a16:creationId xmlns:a16="http://schemas.microsoft.com/office/drawing/2014/main" id="{CAEF8EA4-2E5A-F1D2-B1EF-E1F24EC15891}"/>
              </a:ext>
            </a:extLst>
          </p:cNvPr>
          <p:cNvGrpSpPr/>
          <p:nvPr/>
        </p:nvGrpSpPr>
        <p:grpSpPr bwMode="gray">
          <a:xfrm>
            <a:off x="318344" y="4014689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56" name="Grafik 9">
              <a:extLst>
                <a:ext uri="{FF2B5EF4-FFF2-40B4-BE49-F238E27FC236}">
                  <a16:creationId xmlns:a16="http://schemas.microsoft.com/office/drawing/2014/main" id="{674FD3A8-EFAA-D20E-F5C7-D3A24C9D7348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174" name="Grafik 9">
                <a:extLst>
                  <a:ext uri="{FF2B5EF4-FFF2-40B4-BE49-F238E27FC236}">
                    <a16:creationId xmlns:a16="http://schemas.microsoft.com/office/drawing/2014/main" id="{56085429-6E4F-96ED-4190-246230AA5BE9}"/>
                  </a:ext>
                </a:extLst>
              </p:cNvPr>
              <p:cNvGrpSpPr/>
              <p:nvPr/>
            </p:nvGrpSpPr>
            <p:grpSpPr bwMode="gray">
              <a:xfrm>
                <a:off x="5951066" y="3230233"/>
                <a:ext cx="285352" cy="149902"/>
                <a:chOff x="5951066" y="3230233"/>
                <a:chExt cx="285352" cy="149902"/>
              </a:xfrm>
              <a:grpFill/>
            </p:grpSpPr>
            <p:grpSp>
              <p:nvGrpSpPr>
                <p:cNvPr id="177" name="Grafik 9">
                  <a:extLst>
                    <a:ext uri="{FF2B5EF4-FFF2-40B4-BE49-F238E27FC236}">
                      <a16:creationId xmlns:a16="http://schemas.microsoft.com/office/drawing/2014/main" id="{3E688045-E73F-E7C5-510A-8FAA53771242}"/>
                    </a:ext>
                  </a:extLst>
                </p:cNvPr>
                <p:cNvGrpSpPr/>
                <p:nvPr/>
              </p:nvGrpSpPr>
              <p:grpSpPr bwMode="gray">
                <a:xfrm>
                  <a:off x="6118933" y="3230233"/>
                  <a:ext cx="117485" cy="65892"/>
                  <a:chOff x="6118933" y="3230233"/>
                  <a:chExt cx="117485" cy="65892"/>
                </a:xfrm>
                <a:grpFill/>
              </p:grpSpPr>
              <p:sp>
                <p:nvSpPr>
                  <p:cNvPr id="190" name="Grafik 9">
                    <a:extLst>
                      <a:ext uri="{FF2B5EF4-FFF2-40B4-BE49-F238E27FC236}">
                        <a16:creationId xmlns:a16="http://schemas.microsoft.com/office/drawing/2014/main" id="{F89A3E5A-1C39-A6C8-45A3-B073B23693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33" y="3230233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225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225"/>
                        </a:lnTo>
                        <a:cubicBezTo>
                          <a:pt x="9356" y="65702"/>
                          <a:pt x="8308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91" name="Grafik 9">
                    <a:extLst>
                      <a:ext uri="{FF2B5EF4-FFF2-40B4-BE49-F238E27FC236}">
                        <a16:creationId xmlns:a16="http://schemas.microsoft.com/office/drawing/2014/main" id="{A2AFB7E9-D8BB-8D98-D789-20FCF71998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307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9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92" name="Grafik 9">
                    <a:extLst>
                      <a:ext uri="{FF2B5EF4-FFF2-40B4-BE49-F238E27FC236}">
                        <a16:creationId xmlns:a16="http://schemas.microsoft.com/office/drawing/2014/main" id="{B36A327E-7BF0-1B32-EEFF-7CC0D53B59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78" name="Grafik 9">
                  <a:extLst>
                    <a:ext uri="{FF2B5EF4-FFF2-40B4-BE49-F238E27FC236}">
                      <a16:creationId xmlns:a16="http://schemas.microsoft.com/office/drawing/2014/main" id="{52C01A0E-EFED-AF8F-ED48-C481E15D0DE1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44"/>
                  <a:ext cx="117485" cy="65892"/>
                  <a:chOff x="5951103" y="3314244"/>
                  <a:chExt cx="117485" cy="65892"/>
                </a:xfrm>
                <a:grpFill/>
              </p:grpSpPr>
              <p:sp>
                <p:nvSpPr>
                  <p:cNvPr id="187" name="Grafik 9">
                    <a:extLst>
                      <a:ext uri="{FF2B5EF4-FFF2-40B4-BE49-F238E27FC236}">
                        <a16:creationId xmlns:a16="http://schemas.microsoft.com/office/drawing/2014/main" id="{EB2E75C5-EB43-E882-4D70-C028BA90A7C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44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130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130"/>
                        </a:lnTo>
                        <a:cubicBezTo>
                          <a:pt x="9356" y="65606"/>
                          <a:pt x="8213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88" name="Grafik 9">
                    <a:extLst>
                      <a:ext uri="{FF2B5EF4-FFF2-40B4-BE49-F238E27FC236}">
                        <a16:creationId xmlns:a16="http://schemas.microsoft.com/office/drawing/2014/main" id="{09F9C168-D10D-17DA-2608-7F213D165F8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89" name="Grafik 9">
                    <a:extLst>
                      <a:ext uri="{FF2B5EF4-FFF2-40B4-BE49-F238E27FC236}">
                        <a16:creationId xmlns:a16="http://schemas.microsoft.com/office/drawing/2014/main" id="{92C62B37-407F-CB3B-F0A0-1ABCA588D6E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79" name="Grafik 9">
                  <a:extLst>
                    <a:ext uri="{FF2B5EF4-FFF2-40B4-BE49-F238E27FC236}">
                      <a16:creationId xmlns:a16="http://schemas.microsoft.com/office/drawing/2014/main" id="{8A788F42-B1A6-383A-1D64-E2C1075964F6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184" name="Grafik 9">
                    <a:extLst>
                      <a:ext uri="{FF2B5EF4-FFF2-40B4-BE49-F238E27FC236}">
                        <a16:creationId xmlns:a16="http://schemas.microsoft.com/office/drawing/2014/main" id="{1B56FE2D-232D-B704-2BC0-82EECB288E7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85" name="Grafik 9">
                    <a:extLst>
                      <a:ext uri="{FF2B5EF4-FFF2-40B4-BE49-F238E27FC236}">
                        <a16:creationId xmlns:a16="http://schemas.microsoft.com/office/drawing/2014/main" id="{2658A197-68E7-06E5-1068-A57154690AE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86" name="Grafik 9">
                    <a:extLst>
                      <a:ext uri="{FF2B5EF4-FFF2-40B4-BE49-F238E27FC236}">
                        <a16:creationId xmlns:a16="http://schemas.microsoft.com/office/drawing/2014/main" id="{E2DAE7A0-DEE7-AB02-19C8-1AC4B62213C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80" name="Grafik 9">
                  <a:extLst>
                    <a:ext uri="{FF2B5EF4-FFF2-40B4-BE49-F238E27FC236}">
                      <a16:creationId xmlns:a16="http://schemas.microsoft.com/office/drawing/2014/main" id="{429F12A4-D910-0A06-BF28-69723C13B848}"/>
                    </a:ext>
                  </a:extLst>
                </p:cNvPr>
                <p:cNvGrpSpPr/>
                <p:nvPr/>
              </p:nvGrpSpPr>
              <p:grpSpPr bwMode="gray">
                <a:xfrm>
                  <a:off x="5951066" y="3230345"/>
                  <a:ext cx="117405" cy="65779"/>
                  <a:chOff x="5951066" y="3230345"/>
                  <a:chExt cx="117405" cy="65779"/>
                </a:xfrm>
                <a:grpFill/>
              </p:grpSpPr>
              <p:sp>
                <p:nvSpPr>
                  <p:cNvPr id="181" name="Grafik 9">
                    <a:extLst>
                      <a:ext uri="{FF2B5EF4-FFF2-40B4-BE49-F238E27FC236}">
                        <a16:creationId xmlns:a16="http://schemas.microsoft.com/office/drawing/2014/main" id="{53FB5F70-00CF-1B0B-C516-F475EFD0E5C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066" y="3230345"/>
                    <a:ext cx="117367" cy="65779"/>
                  </a:xfrm>
                  <a:custGeom>
                    <a:avLst/>
                    <a:gdLst>
                      <a:gd name="connsiteX0" fmla="*/ 110262 w 117367"/>
                      <a:gd name="connsiteY0" fmla="*/ 65780 h 65779"/>
                      <a:gd name="connsiteX1" fmla="*/ 107118 w 117367"/>
                      <a:gd name="connsiteY1" fmla="*/ 65018 h 65779"/>
                      <a:gd name="connsiteX2" fmla="*/ 3963 w 117367"/>
                      <a:gd name="connsiteY2" fmla="*/ 13583 h 65779"/>
                      <a:gd name="connsiteX3" fmla="*/ 724 w 117367"/>
                      <a:gd name="connsiteY3" fmla="*/ 3963 h 65779"/>
                      <a:gd name="connsiteX4" fmla="*/ 10344 w 117367"/>
                      <a:gd name="connsiteY4" fmla="*/ 724 h 65779"/>
                      <a:gd name="connsiteX5" fmla="*/ 113405 w 117367"/>
                      <a:gd name="connsiteY5" fmla="*/ 52254 h 65779"/>
                      <a:gd name="connsiteX6" fmla="*/ 116643 w 117367"/>
                      <a:gd name="connsiteY6" fmla="*/ 61875 h 65779"/>
                      <a:gd name="connsiteX7" fmla="*/ 110262 w 117367"/>
                      <a:gd name="connsiteY7" fmla="*/ 65780 h 65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779">
                        <a:moveTo>
                          <a:pt x="110262" y="65780"/>
                        </a:moveTo>
                        <a:cubicBezTo>
                          <a:pt x="109214" y="65780"/>
                          <a:pt x="108071" y="65494"/>
                          <a:pt x="107118" y="65018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405" y="64351"/>
                          <a:pt x="112833" y="65780"/>
                          <a:pt x="110262" y="6578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82" name="Grafik 9">
                    <a:extLst>
                      <a:ext uri="{FF2B5EF4-FFF2-40B4-BE49-F238E27FC236}">
                        <a16:creationId xmlns:a16="http://schemas.microsoft.com/office/drawing/2014/main" id="{FB437AC7-396D-55BB-EB32-5B076BDD5A2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83" name="Grafik 9">
                    <a:extLst>
                      <a:ext uri="{FF2B5EF4-FFF2-40B4-BE49-F238E27FC236}">
                        <a16:creationId xmlns:a16="http://schemas.microsoft.com/office/drawing/2014/main" id="{E5C82C6F-13F6-A959-0B18-27333502514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83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175" name="Grafik 9">
                <a:extLst>
                  <a:ext uri="{FF2B5EF4-FFF2-40B4-BE49-F238E27FC236}">
                    <a16:creationId xmlns:a16="http://schemas.microsoft.com/office/drawing/2014/main" id="{DE41E569-9F1D-4F3D-4CBE-35078BF44FBE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" name="Grafik 9">
                <a:extLst>
                  <a:ext uri="{FF2B5EF4-FFF2-40B4-BE49-F238E27FC236}">
                    <a16:creationId xmlns:a16="http://schemas.microsoft.com/office/drawing/2014/main" id="{6292A4E2-7CD6-DE8E-0443-E2B3548A10A0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7" name="Grafik 9">
              <a:extLst>
                <a:ext uri="{FF2B5EF4-FFF2-40B4-BE49-F238E27FC236}">
                  <a16:creationId xmlns:a16="http://schemas.microsoft.com/office/drawing/2014/main" id="{15488A44-8A4A-CEB8-E61E-F163B45AC0CE}"/>
                </a:ext>
              </a:extLst>
            </p:cNvPr>
            <p:cNvGrpSpPr/>
            <p:nvPr/>
          </p:nvGrpSpPr>
          <p:grpSpPr bwMode="gray">
            <a:xfrm>
              <a:off x="5955601" y="3467150"/>
              <a:ext cx="276195" cy="162254"/>
              <a:chOff x="5955601" y="3467150"/>
              <a:chExt cx="276195" cy="162254"/>
            </a:xfrm>
            <a:grpFill/>
          </p:grpSpPr>
          <p:grpSp>
            <p:nvGrpSpPr>
              <p:cNvPr id="158" name="Grafik 9">
                <a:extLst>
                  <a:ext uri="{FF2B5EF4-FFF2-40B4-BE49-F238E27FC236}">
                    <a16:creationId xmlns:a16="http://schemas.microsoft.com/office/drawing/2014/main" id="{4C881774-0749-0139-A6AE-36ECD459FD07}"/>
                  </a:ext>
                </a:extLst>
              </p:cNvPr>
              <p:cNvGrpSpPr/>
              <p:nvPr/>
            </p:nvGrpSpPr>
            <p:grpSpPr bwMode="gray">
              <a:xfrm>
                <a:off x="5955601" y="3522273"/>
                <a:ext cx="147994" cy="52268"/>
                <a:chOff x="5955601" y="3522273"/>
                <a:chExt cx="147994" cy="52268"/>
              </a:xfrm>
              <a:grpFill/>
            </p:grpSpPr>
            <p:sp>
              <p:nvSpPr>
                <p:cNvPr id="171" name="Grafik 9">
                  <a:extLst>
                    <a:ext uri="{FF2B5EF4-FFF2-40B4-BE49-F238E27FC236}">
                      <a16:creationId xmlns:a16="http://schemas.microsoft.com/office/drawing/2014/main" id="{D5D0FBC2-53B1-AF4A-89C8-C48126304E55}"/>
                    </a:ext>
                  </a:extLst>
                </p:cNvPr>
                <p:cNvSpPr/>
                <p:nvPr/>
              </p:nvSpPr>
              <p:spPr bwMode="gray">
                <a:xfrm>
                  <a:off x="5955601" y="3541108"/>
                  <a:ext cx="136779" cy="14287"/>
                </a:xfrm>
                <a:custGeom>
                  <a:avLst/>
                  <a:gdLst>
                    <a:gd name="connsiteX0" fmla="*/ 129635 w 136779"/>
                    <a:gd name="connsiteY0" fmla="*/ 14288 h 14287"/>
                    <a:gd name="connsiteX1" fmla="*/ 7144 w 136779"/>
                    <a:gd name="connsiteY1" fmla="*/ 14288 h 14287"/>
                    <a:gd name="connsiteX2" fmla="*/ 0 w 136779"/>
                    <a:gd name="connsiteY2" fmla="*/ 7144 h 14287"/>
                    <a:gd name="connsiteX3" fmla="*/ 7144 w 136779"/>
                    <a:gd name="connsiteY3" fmla="*/ 0 h 14287"/>
                    <a:gd name="connsiteX4" fmla="*/ 129635 w 136779"/>
                    <a:gd name="connsiteY4" fmla="*/ 0 h 14287"/>
                    <a:gd name="connsiteX5" fmla="*/ 136779 w 136779"/>
                    <a:gd name="connsiteY5" fmla="*/ 7144 h 14287"/>
                    <a:gd name="connsiteX6" fmla="*/ 129635 w 13677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6779" h="14287">
                      <a:moveTo>
                        <a:pt x="129635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29635" y="0"/>
                      </a:lnTo>
                      <a:cubicBezTo>
                        <a:pt x="133541" y="0"/>
                        <a:pt x="136779" y="3239"/>
                        <a:pt x="136779" y="7144"/>
                      </a:cubicBezTo>
                      <a:cubicBezTo>
                        <a:pt x="136779" y="11049"/>
                        <a:pt x="133636" y="14288"/>
                        <a:pt x="129635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2" name="Grafik 9">
                  <a:extLst>
                    <a:ext uri="{FF2B5EF4-FFF2-40B4-BE49-F238E27FC236}">
                      <a16:creationId xmlns:a16="http://schemas.microsoft.com/office/drawing/2014/main" id="{5BBC6E97-C067-4EFA-7903-1493316D1B2C}"/>
                    </a:ext>
                  </a:extLst>
                </p:cNvPr>
                <p:cNvSpPr/>
                <p:nvPr/>
              </p:nvSpPr>
              <p:spPr bwMode="gray">
                <a:xfrm>
                  <a:off x="6070115" y="3522273"/>
                  <a:ext cx="33385" cy="33408"/>
                </a:xfrm>
                <a:custGeom>
                  <a:avLst/>
                  <a:gdLst>
                    <a:gd name="connsiteX0" fmla="*/ 26265 w 33385"/>
                    <a:gd name="connsiteY0" fmla="*/ 33409 h 33408"/>
                    <a:gd name="connsiteX1" fmla="*/ 21217 w 33385"/>
                    <a:gd name="connsiteY1" fmla="*/ 31313 h 33408"/>
                    <a:gd name="connsiteX2" fmla="*/ 2072 w 33385"/>
                    <a:gd name="connsiteY2" fmla="*/ 12168 h 33408"/>
                    <a:gd name="connsiteX3" fmla="*/ 2072 w 33385"/>
                    <a:gd name="connsiteY3" fmla="*/ 2072 h 33408"/>
                    <a:gd name="connsiteX4" fmla="*/ 12168 w 33385"/>
                    <a:gd name="connsiteY4" fmla="*/ 2072 h 33408"/>
                    <a:gd name="connsiteX5" fmla="*/ 31313 w 33385"/>
                    <a:gd name="connsiteY5" fmla="*/ 21217 h 33408"/>
                    <a:gd name="connsiteX6" fmla="*/ 31313 w 33385"/>
                    <a:gd name="connsiteY6" fmla="*/ 31313 h 33408"/>
                    <a:gd name="connsiteX7" fmla="*/ 26265 w 33385"/>
                    <a:gd name="connsiteY7" fmla="*/ 33409 h 33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385" h="33408">
                      <a:moveTo>
                        <a:pt x="26265" y="33409"/>
                      </a:moveTo>
                      <a:cubicBezTo>
                        <a:pt x="24455" y="33409"/>
                        <a:pt x="22646" y="32742"/>
                        <a:pt x="21217" y="31313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1313" y="21217"/>
                      </a:lnTo>
                      <a:cubicBezTo>
                        <a:pt x="34076" y="23979"/>
                        <a:pt x="34076" y="28551"/>
                        <a:pt x="31313" y="31313"/>
                      </a:cubicBezTo>
                      <a:cubicBezTo>
                        <a:pt x="29980" y="32647"/>
                        <a:pt x="28170" y="33409"/>
                        <a:pt x="26265" y="334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" name="Grafik 9">
                  <a:extLst>
                    <a:ext uri="{FF2B5EF4-FFF2-40B4-BE49-F238E27FC236}">
                      <a16:creationId xmlns:a16="http://schemas.microsoft.com/office/drawing/2014/main" id="{2AC17006-0E23-1121-93D4-810B8A76F01A}"/>
                    </a:ext>
                  </a:extLst>
                </p:cNvPr>
                <p:cNvSpPr/>
                <p:nvPr/>
              </p:nvSpPr>
              <p:spPr bwMode="gray">
                <a:xfrm>
                  <a:off x="6070210" y="3541132"/>
                  <a:ext cx="33385" cy="33408"/>
                </a:xfrm>
                <a:custGeom>
                  <a:avLst/>
                  <a:gdLst>
                    <a:gd name="connsiteX0" fmla="*/ 7120 w 33385"/>
                    <a:gd name="connsiteY0" fmla="*/ 33409 h 33408"/>
                    <a:gd name="connsiteX1" fmla="*/ 2072 w 33385"/>
                    <a:gd name="connsiteY1" fmla="*/ 31313 h 33408"/>
                    <a:gd name="connsiteX2" fmla="*/ 2072 w 33385"/>
                    <a:gd name="connsiteY2" fmla="*/ 21217 h 33408"/>
                    <a:gd name="connsiteX3" fmla="*/ 21217 w 33385"/>
                    <a:gd name="connsiteY3" fmla="*/ 2072 h 33408"/>
                    <a:gd name="connsiteX4" fmla="*/ 31313 w 33385"/>
                    <a:gd name="connsiteY4" fmla="*/ 2072 h 33408"/>
                    <a:gd name="connsiteX5" fmla="*/ 31313 w 33385"/>
                    <a:gd name="connsiteY5" fmla="*/ 12168 h 33408"/>
                    <a:gd name="connsiteX6" fmla="*/ 12168 w 33385"/>
                    <a:gd name="connsiteY6" fmla="*/ 31313 h 33408"/>
                    <a:gd name="connsiteX7" fmla="*/ 7120 w 33385"/>
                    <a:gd name="connsiteY7" fmla="*/ 33409 h 33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385" h="33408">
                      <a:moveTo>
                        <a:pt x="7120" y="33409"/>
                      </a:moveTo>
                      <a:cubicBezTo>
                        <a:pt x="5310" y="33409"/>
                        <a:pt x="3500" y="32742"/>
                        <a:pt x="2072" y="31313"/>
                      </a:cubicBezTo>
                      <a:cubicBezTo>
                        <a:pt x="-691" y="28551"/>
                        <a:pt x="-691" y="23979"/>
                        <a:pt x="2072" y="21217"/>
                      </a:cubicBezTo>
                      <a:lnTo>
                        <a:pt x="21217" y="2072"/>
                      </a:lnTo>
                      <a:cubicBezTo>
                        <a:pt x="23979" y="-691"/>
                        <a:pt x="28551" y="-691"/>
                        <a:pt x="31313" y="2072"/>
                      </a:cubicBezTo>
                      <a:cubicBezTo>
                        <a:pt x="34076" y="4834"/>
                        <a:pt x="34076" y="9406"/>
                        <a:pt x="31313" y="12168"/>
                      </a:cubicBezTo>
                      <a:lnTo>
                        <a:pt x="12168" y="31313"/>
                      </a:lnTo>
                      <a:cubicBezTo>
                        <a:pt x="10739" y="32647"/>
                        <a:pt x="8930" y="33409"/>
                        <a:pt x="7120" y="334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59" name="Grafik 9">
                <a:extLst>
                  <a:ext uri="{FF2B5EF4-FFF2-40B4-BE49-F238E27FC236}">
                    <a16:creationId xmlns:a16="http://schemas.microsoft.com/office/drawing/2014/main" id="{48BE91AA-CC6D-FE73-1EA0-714FE1EB8B8B}"/>
                  </a:ext>
                </a:extLst>
              </p:cNvPr>
              <p:cNvGrpSpPr/>
              <p:nvPr/>
            </p:nvGrpSpPr>
            <p:grpSpPr bwMode="gray">
              <a:xfrm>
                <a:off x="6114910" y="3467150"/>
                <a:ext cx="116864" cy="64718"/>
                <a:chOff x="6114910" y="3467150"/>
                <a:chExt cx="116864" cy="64718"/>
              </a:xfrm>
              <a:grpFill/>
            </p:grpSpPr>
            <p:sp>
              <p:nvSpPr>
                <p:cNvPr id="168" name="Grafik 9">
                  <a:extLst>
                    <a:ext uri="{FF2B5EF4-FFF2-40B4-BE49-F238E27FC236}">
                      <a16:creationId xmlns:a16="http://schemas.microsoft.com/office/drawing/2014/main" id="{4EF4DB1F-FBE6-0C72-D9AE-1338A2CF08B2}"/>
                    </a:ext>
                  </a:extLst>
                </p:cNvPr>
                <p:cNvSpPr/>
                <p:nvPr/>
              </p:nvSpPr>
              <p:spPr bwMode="gray">
                <a:xfrm>
                  <a:off x="6114910" y="3483914"/>
                  <a:ext cx="106292" cy="47954"/>
                </a:xfrm>
                <a:custGeom>
                  <a:avLst/>
                  <a:gdLst>
                    <a:gd name="connsiteX0" fmla="*/ 7093 w 106292"/>
                    <a:gd name="connsiteY0" fmla="*/ 47955 h 47954"/>
                    <a:gd name="connsiteX1" fmla="*/ 425 w 106292"/>
                    <a:gd name="connsiteY1" fmla="*/ 43288 h 47954"/>
                    <a:gd name="connsiteX2" fmla="*/ 4711 w 106292"/>
                    <a:gd name="connsiteY2" fmla="*/ 34144 h 47954"/>
                    <a:gd name="connsiteX3" fmla="*/ 96723 w 106292"/>
                    <a:gd name="connsiteY3" fmla="*/ 425 h 47954"/>
                    <a:gd name="connsiteX4" fmla="*/ 105867 w 106292"/>
                    <a:gd name="connsiteY4" fmla="*/ 4711 h 47954"/>
                    <a:gd name="connsiteX5" fmla="*/ 101581 w 106292"/>
                    <a:gd name="connsiteY5" fmla="*/ 13855 h 47954"/>
                    <a:gd name="connsiteX6" fmla="*/ 9569 w 106292"/>
                    <a:gd name="connsiteY6" fmla="*/ 47574 h 47954"/>
                    <a:gd name="connsiteX7" fmla="*/ 7093 w 106292"/>
                    <a:gd name="connsiteY7" fmla="*/ 47955 h 479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6292" h="47954">
                      <a:moveTo>
                        <a:pt x="7093" y="47955"/>
                      </a:moveTo>
                      <a:cubicBezTo>
                        <a:pt x="4140" y="47955"/>
                        <a:pt x="1473" y="46145"/>
                        <a:pt x="425" y="43288"/>
                      </a:cubicBezTo>
                      <a:cubicBezTo>
                        <a:pt x="-908" y="39573"/>
                        <a:pt x="997" y="35477"/>
                        <a:pt x="4711" y="34144"/>
                      </a:cubicBezTo>
                      <a:lnTo>
                        <a:pt x="96723" y="425"/>
                      </a:lnTo>
                      <a:cubicBezTo>
                        <a:pt x="100438" y="-908"/>
                        <a:pt x="104533" y="997"/>
                        <a:pt x="105867" y="4711"/>
                      </a:cubicBezTo>
                      <a:cubicBezTo>
                        <a:pt x="107200" y="8426"/>
                        <a:pt x="105295" y="12522"/>
                        <a:pt x="101581" y="13855"/>
                      </a:cubicBezTo>
                      <a:lnTo>
                        <a:pt x="9569" y="47574"/>
                      </a:lnTo>
                      <a:cubicBezTo>
                        <a:pt x="8712" y="47860"/>
                        <a:pt x="7855" y="47955"/>
                        <a:pt x="7093" y="4795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9" name="Grafik 9">
                  <a:extLst>
                    <a:ext uri="{FF2B5EF4-FFF2-40B4-BE49-F238E27FC236}">
                      <a16:creationId xmlns:a16="http://schemas.microsoft.com/office/drawing/2014/main" id="{47656716-BCD8-B020-AF78-9B30674BB75A}"/>
                    </a:ext>
                  </a:extLst>
                </p:cNvPr>
                <p:cNvSpPr/>
                <p:nvPr/>
              </p:nvSpPr>
              <p:spPr bwMode="gray">
                <a:xfrm>
                  <a:off x="6192062" y="3467150"/>
                  <a:ext cx="39711" cy="27475"/>
                </a:xfrm>
                <a:custGeom>
                  <a:avLst/>
                  <a:gdLst>
                    <a:gd name="connsiteX0" fmla="*/ 32619 w 39711"/>
                    <a:gd name="connsiteY0" fmla="*/ 27476 h 27475"/>
                    <a:gd name="connsiteX1" fmla="*/ 29286 w 39711"/>
                    <a:gd name="connsiteY1" fmla="*/ 26714 h 27475"/>
                    <a:gd name="connsiteX2" fmla="*/ 3854 w 39711"/>
                    <a:gd name="connsiteY2" fmla="*/ 13474 h 27475"/>
                    <a:gd name="connsiteX3" fmla="*/ 806 w 39711"/>
                    <a:gd name="connsiteY3" fmla="*/ 3854 h 27475"/>
                    <a:gd name="connsiteX4" fmla="*/ 10426 w 39711"/>
                    <a:gd name="connsiteY4" fmla="*/ 806 h 27475"/>
                    <a:gd name="connsiteX5" fmla="*/ 35858 w 39711"/>
                    <a:gd name="connsiteY5" fmla="*/ 14046 h 27475"/>
                    <a:gd name="connsiteX6" fmla="*/ 38906 w 39711"/>
                    <a:gd name="connsiteY6" fmla="*/ 23666 h 27475"/>
                    <a:gd name="connsiteX7" fmla="*/ 32619 w 39711"/>
                    <a:gd name="connsiteY7" fmla="*/ 27476 h 274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711" h="27475">
                      <a:moveTo>
                        <a:pt x="32619" y="27476"/>
                      </a:moveTo>
                      <a:cubicBezTo>
                        <a:pt x="31476" y="27476"/>
                        <a:pt x="30429" y="27190"/>
                        <a:pt x="29286" y="26714"/>
                      </a:cubicBezTo>
                      <a:lnTo>
                        <a:pt x="3854" y="13474"/>
                      </a:lnTo>
                      <a:cubicBezTo>
                        <a:pt x="330" y="11664"/>
                        <a:pt x="-1004" y="7378"/>
                        <a:pt x="806" y="3854"/>
                      </a:cubicBezTo>
                      <a:cubicBezTo>
                        <a:pt x="2616" y="330"/>
                        <a:pt x="6902" y="-1004"/>
                        <a:pt x="10426" y="806"/>
                      </a:cubicBezTo>
                      <a:lnTo>
                        <a:pt x="35858" y="14046"/>
                      </a:lnTo>
                      <a:cubicBezTo>
                        <a:pt x="39382" y="15855"/>
                        <a:pt x="40716" y="20142"/>
                        <a:pt x="38906" y="23666"/>
                      </a:cubicBezTo>
                      <a:cubicBezTo>
                        <a:pt x="37668" y="26047"/>
                        <a:pt x="35191" y="27476"/>
                        <a:pt x="32619" y="2747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0" name="Grafik 9">
                  <a:extLst>
                    <a:ext uri="{FF2B5EF4-FFF2-40B4-BE49-F238E27FC236}">
                      <a16:creationId xmlns:a16="http://schemas.microsoft.com/office/drawing/2014/main" id="{A2B1A6E7-C0DF-AE90-7B95-7F084B05774C}"/>
                    </a:ext>
                  </a:extLst>
                </p:cNvPr>
                <p:cNvSpPr/>
                <p:nvPr/>
              </p:nvSpPr>
              <p:spPr bwMode="gray">
                <a:xfrm>
                  <a:off x="6206518" y="3479987"/>
                  <a:ext cx="25182" cy="40833"/>
                </a:xfrm>
                <a:custGeom>
                  <a:avLst/>
                  <a:gdLst>
                    <a:gd name="connsiteX0" fmla="*/ 7115 w 25182"/>
                    <a:gd name="connsiteY0" fmla="*/ 40833 h 40833"/>
                    <a:gd name="connsiteX1" fmla="*/ 4448 w 25182"/>
                    <a:gd name="connsiteY1" fmla="*/ 40262 h 40833"/>
                    <a:gd name="connsiteX2" fmla="*/ 542 w 25182"/>
                    <a:gd name="connsiteY2" fmla="*/ 30927 h 40833"/>
                    <a:gd name="connsiteX3" fmla="*/ 11401 w 25182"/>
                    <a:gd name="connsiteY3" fmla="*/ 4448 h 40833"/>
                    <a:gd name="connsiteX4" fmla="*/ 20735 w 25182"/>
                    <a:gd name="connsiteY4" fmla="*/ 542 h 40833"/>
                    <a:gd name="connsiteX5" fmla="*/ 24641 w 25182"/>
                    <a:gd name="connsiteY5" fmla="*/ 9877 h 40833"/>
                    <a:gd name="connsiteX6" fmla="*/ 13782 w 25182"/>
                    <a:gd name="connsiteY6" fmla="*/ 36356 h 40833"/>
                    <a:gd name="connsiteX7" fmla="*/ 7115 w 25182"/>
                    <a:gd name="connsiteY7" fmla="*/ 40833 h 408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182" h="40833">
                      <a:moveTo>
                        <a:pt x="7115" y="40833"/>
                      </a:moveTo>
                      <a:cubicBezTo>
                        <a:pt x="6257" y="40833"/>
                        <a:pt x="5305" y="40643"/>
                        <a:pt x="4448" y="40262"/>
                      </a:cubicBezTo>
                      <a:cubicBezTo>
                        <a:pt x="828" y="38738"/>
                        <a:pt x="-982" y="34547"/>
                        <a:pt x="542" y="30927"/>
                      </a:cubicBezTo>
                      <a:lnTo>
                        <a:pt x="11401" y="4448"/>
                      </a:lnTo>
                      <a:cubicBezTo>
                        <a:pt x="12925" y="828"/>
                        <a:pt x="17021" y="-982"/>
                        <a:pt x="20735" y="542"/>
                      </a:cubicBezTo>
                      <a:cubicBezTo>
                        <a:pt x="24355" y="2066"/>
                        <a:pt x="26165" y="6257"/>
                        <a:pt x="24641" y="9877"/>
                      </a:cubicBezTo>
                      <a:lnTo>
                        <a:pt x="13782" y="36356"/>
                      </a:lnTo>
                      <a:cubicBezTo>
                        <a:pt x="12639" y="39119"/>
                        <a:pt x="9972" y="40833"/>
                        <a:pt x="7115" y="4083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60" name="Grafik 9">
                <a:extLst>
                  <a:ext uri="{FF2B5EF4-FFF2-40B4-BE49-F238E27FC236}">
                    <a16:creationId xmlns:a16="http://schemas.microsoft.com/office/drawing/2014/main" id="{6BE0D724-DD44-644A-3A5E-751F4C7736BA}"/>
                  </a:ext>
                </a:extLst>
              </p:cNvPr>
              <p:cNvGrpSpPr/>
              <p:nvPr/>
            </p:nvGrpSpPr>
            <p:grpSpPr bwMode="gray">
              <a:xfrm>
                <a:off x="6114814" y="3564496"/>
                <a:ext cx="116982" cy="64909"/>
                <a:chOff x="6114814" y="3564496"/>
                <a:chExt cx="116982" cy="64909"/>
              </a:xfrm>
              <a:grpFill/>
            </p:grpSpPr>
            <p:sp>
              <p:nvSpPr>
                <p:cNvPr id="165" name="Grafik 9">
                  <a:extLst>
                    <a:ext uri="{FF2B5EF4-FFF2-40B4-BE49-F238E27FC236}">
                      <a16:creationId xmlns:a16="http://schemas.microsoft.com/office/drawing/2014/main" id="{739F9884-AEFE-5848-90E9-95CB30D507E3}"/>
                    </a:ext>
                  </a:extLst>
                </p:cNvPr>
                <p:cNvSpPr/>
                <p:nvPr/>
              </p:nvSpPr>
              <p:spPr bwMode="gray">
                <a:xfrm>
                  <a:off x="6114814" y="3564496"/>
                  <a:ext cx="106292" cy="48050"/>
                </a:xfrm>
                <a:custGeom>
                  <a:avLst/>
                  <a:gdLst>
                    <a:gd name="connsiteX0" fmla="*/ 99199 w 106292"/>
                    <a:gd name="connsiteY0" fmla="*/ 48050 h 48050"/>
                    <a:gd name="connsiteX1" fmla="*/ 96723 w 106292"/>
                    <a:gd name="connsiteY1" fmla="*/ 47574 h 48050"/>
                    <a:gd name="connsiteX2" fmla="*/ 4711 w 106292"/>
                    <a:gd name="connsiteY2" fmla="*/ 13855 h 48050"/>
                    <a:gd name="connsiteX3" fmla="*/ 425 w 106292"/>
                    <a:gd name="connsiteY3" fmla="*/ 4711 h 48050"/>
                    <a:gd name="connsiteX4" fmla="*/ 9569 w 106292"/>
                    <a:gd name="connsiteY4" fmla="*/ 425 h 48050"/>
                    <a:gd name="connsiteX5" fmla="*/ 101581 w 106292"/>
                    <a:gd name="connsiteY5" fmla="*/ 34144 h 48050"/>
                    <a:gd name="connsiteX6" fmla="*/ 105867 w 106292"/>
                    <a:gd name="connsiteY6" fmla="*/ 43288 h 48050"/>
                    <a:gd name="connsiteX7" fmla="*/ 99199 w 106292"/>
                    <a:gd name="connsiteY7" fmla="*/ 48050 h 480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6292" h="48050">
                      <a:moveTo>
                        <a:pt x="99199" y="48050"/>
                      </a:moveTo>
                      <a:cubicBezTo>
                        <a:pt x="98342" y="48050"/>
                        <a:pt x="97580" y="47955"/>
                        <a:pt x="96723" y="47574"/>
                      </a:cubicBezTo>
                      <a:lnTo>
                        <a:pt x="4711" y="13855"/>
                      </a:lnTo>
                      <a:cubicBezTo>
                        <a:pt x="997" y="12522"/>
                        <a:pt x="-908" y="8426"/>
                        <a:pt x="425" y="4711"/>
                      </a:cubicBezTo>
                      <a:cubicBezTo>
                        <a:pt x="1759" y="997"/>
                        <a:pt x="5854" y="-908"/>
                        <a:pt x="9569" y="425"/>
                      </a:cubicBezTo>
                      <a:lnTo>
                        <a:pt x="101581" y="34144"/>
                      </a:lnTo>
                      <a:cubicBezTo>
                        <a:pt x="105295" y="35477"/>
                        <a:pt x="107200" y="39573"/>
                        <a:pt x="105867" y="43288"/>
                      </a:cubicBezTo>
                      <a:cubicBezTo>
                        <a:pt x="104819" y="46336"/>
                        <a:pt x="102057" y="48050"/>
                        <a:pt x="99199" y="480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6" name="Grafik 9">
                  <a:extLst>
                    <a:ext uri="{FF2B5EF4-FFF2-40B4-BE49-F238E27FC236}">
                      <a16:creationId xmlns:a16="http://schemas.microsoft.com/office/drawing/2014/main" id="{50A2BF9D-DE06-30F8-F927-C4B07A28FAFA}"/>
                    </a:ext>
                  </a:extLst>
                </p:cNvPr>
                <p:cNvSpPr/>
                <p:nvPr/>
              </p:nvSpPr>
              <p:spPr bwMode="gray">
                <a:xfrm>
                  <a:off x="6192062" y="3601929"/>
                  <a:ext cx="39711" cy="27475"/>
                </a:xfrm>
                <a:custGeom>
                  <a:avLst/>
                  <a:gdLst>
                    <a:gd name="connsiteX0" fmla="*/ 7188 w 39711"/>
                    <a:gd name="connsiteY0" fmla="*/ 27476 h 27475"/>
                    <a:gd name="connsiteX1" fmla="*/ 806 w 39711"/>
                    <a:gd name="connsiteY1" fmla="*/ 23666 h 27475"/>
                    <a:gd name="connsiteX2" fmla="*/ 3854 w 39711"/>
                    <a:gd name="connsiteY2" fmla="*/ 14046 h 27475"/>
                    <a:gd name="connsiteX3" fmla="*/ 29286 w 39711"/>
                    <a:gd name="connsiteY3" fmla="*/ 806 h 27475"/>
                    <a:gd name="connsiteX4" fmla="*/ 38906 w 39711"/>
                    <a:gd name="connsiteY4" fmla="*/ 3854 h 27475"/>
                    <a:gd name="connsiteX5" fmla="*/ 35858 w 39711"/>
                    <a:gd name="connsiteY5" fmla="*/ 13474 h 27475"/>
                    <a:gd name="connsiteX6" fmla="*/ 10426 w 39711"/>
                    <a:gd name="connsiteY6" fmla="*/ 26714 h 27475"/>
                    <a:gd name="connsiteX7" fmla="*/ 7188 w 39711"/>
                    <a:gd name="connsiteY7" fmla="*/ 27476 h 274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711" h="27475">
                      <a:moveTo>
                        <a:pt x="7188" y="27476"/>
                      </a:moveTo>
                      <a:cubicBezTo>
                        <a:pt x="4616" y="27476"/>
                        <a:pt x="2139" y="26047"/>
                        <a:pt x="806" y="23666"/>
                      </a:cubicBezTo>
                      <a:cubicBezTo>
                        <a:pt x="-1004" y="20142"/>
                        <a:pt x="330" y="15855"/>
                        <a:pt x="3854" y="14046"/>
                      </a:cubicBezTo>
                      <a:lnTo>
                        <a:pt x="29286" y="806"/>
                      </a:lnTo>
                      <a:cubicBezTo>
                        <a:pt x="32810" y="-1004"/>
                        <a:pt x="37096" y="330"/>
                        <a:pt x="38906" y="3854"/>
                      </a:cubicBezTo>
                      <a:cubicBezTo>
                        <a:pt x="40716" y="7378"/>
                        <a:pt x="39382" y="11664"/>
                        <a:pt x="35858" y="13474"/>
                      </a:cubicBezTo>
                      <a:lnTo>
                        <a:pt x="10426" y="26714"/>
                      </a:lnTo>
                      <a:cubicBezTo>
                        <a:pt x="9378" y="27190"/>
                        <a:pt x="8331" y="27476"/>
                        <a:pt x="7188" y="2747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7" name="Grafik 9">
                  <a:extLst>
                    <a:ext uri="{FF2B5EF4-FFF2-40B4-BE49-F238E27FC236}">
                      <a16:creationId xmlns:a16="http://schemas.microsoft.com/office/drawing/2014/main" id="{D4D8412C-2B96-EDD9-4BC2-957150472B96}"/>
                    </a:ext>
                  </a:extLst>
                </p:cNvPr>
                <p:cNvSpPr/>
                <p:nvPr/>
              </p:nvSpPr>
              <p:spPr bwMode="gray">
                <a:xfrm>
                  <a:off x="6206613" y="3575523"/>
                  <a:ext cx="25182" cy="40928"/>
                </a:xfrm>
                <a:custGeom>
                  <a:avLst/>
                  <a:gdLst>
                    <a:gd name="connsiteX0" fmla="*/ 17973 w 25182"/>
                    <a:gd name="connsiteY0" fmla="*/ 40928 h 40928"/>
                    <a:gd name="connsiteX1" fmla="*/ 11401 w 25182"/>
                    <a:gd name="connsiteY1" fmla="*/ 36452 h 40928"/>
                    <a:gd name="connsiteX2" fmla="*/ 542 w 25182"/>
                    <a:gd name="connsiteY2" fmla="*/ 9877 h 40928"/>
                    <a:gd name="connsiteX3" fmla="*/ 4448 w 25182"/>
                    <a:gd name="connsiteY3" fmla="*/ 542 h 40928"/>
                    <a:gd name="connsiteX4" fmla="*/ 13782 w 25182"/>
                    <a:gd name="connsiteY4" fmla="*/ 4448 h 40928"/>
                    <a:gd name="connsiteX5" fmla="*/ 24641 w 25182"/>
                    <a:gd name="connsiteY5" fmla="*/ 31022 h 40928"/>
                    <a:gd name="connsiteX6" fmla="*/ 20735 w 25182"/>
                    <a:gd name="connsiteY6" fmla="*/ 40357 h 40928"/>
                    <a:gd name="connsiteX7" fmla="*/ 17973 w 25182"/>
                    <a:gd name="connsiteY7" fmla="*/ 40928 h 409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182" h="40928">
                      <a:moveTo>
                        <a:pt x="17973" y="40928"/>
                      </a:moveTo>
                      <a:cubicBezTo>
                        <a:pt x="15116" y="40928"/>
                        <a:pt x="12449" y="39214"/>
                        <a:pt x="11401" y="36452"/>
                      </a:cubicBezTo>
                      <a:lnTo>
                        <a:pt x="542" y="9877"/>
                      </a:lnTo>
                      <a:cubicBezTo>
                        <a:pt x="-982" y="6257"/>
                        <a:pt x="828" y="2066"/>
                        <a:pt x="4448" y="542"/>
                      </a:cubicBezTo>
                      <a:cubicBezTo>
                        <a:pt x="8162" y="-982"/>
                        <a:pt x="12258" y="828"/>
                        <a:pt x="13782" y="4448"/>
                      </a:cubicBezTo>
                      <a:lnTo>
                        <a:pt x="24641" y="31022"/>
                      </a:lnTo>
                      <a:cubicBezTo>
                        <a:pt x="26165" y="34642"/>
                        <a:pt x="24355" y="38833"/>
                        <a:pt x="20735" y="40357"/>
                      </a:cubicBezTo>
                      <a:cubicBezTo>
                        <a:pt x="19783" y="40738"/>
                        <a:pt x="18830" y="40928"/>
                        <a:pt x="17973" y="4092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61" name="Grafik 9">
                <a:extLst>
                  <a:ext uri="{FF2B5EF4-FFF2-40B4-BE49-F238E27FC236}">
                    <a16:creationId xmlns:a16="http://schemas.microsoft.com/office/drawing/2014/main" id="{FC8B0195-5AF1-F95C-6B53-5F3E04B7B02E}"/>
                  </a:ext>
                </a:extLst>
              </p:cNvPr>
              <p:cNvGrpSpPr/>
              <p:nvPr/>
            </p:nvGrpSpPr>
            <p:grpSpPr bwMode="gray">
              <a:xfrm>
                <a:off x="6114763" y="3522082"/>
                <a:ext cx="115228" cy="52268"/>
                <a:chOff x="6114763" y="3522082"/>
                <a:chExt cx="115228" cy="52268"/>
              </a:xfrm>
              <a:grpFill/>
            </p:grpSpPr>
            <p:sp>
              <p:nvSpPr>
                <p:cNvPr id="162" name="Grafik 9">
                  <a:extLst>
                    <a:ext uri="{FF2B5EF4-FFF2-40B4-BE49-F238E27FC236}">
                      <a16:creationId xmlns:a16="http://schemas.microsoft.com/office/drawing/2014/main" id="{DEFE0795-3D86-D0D0-1801-FD912F5CC1F3}"/>
                    </a:ext>
                  </a:extLst>
                </p:cNvPr>
                <p:cNvSpPr/>
                <p:nvPr/>
              </p:nvSpPr>
              <p:spPr bwMode="gray">
                <a:xfrm>
                  <a:off x="6114763" y="3540918"/>
                  <a:ext cx="104108" cy="14287"/>
                </a:xfrm>
                <a:custGeom>
                  <a:avLst/>
                  <a:gdLst>
                    <a:gd name="connsiteX0" fmla="*/ 96965 w 104108"/>
                    <a:gd name="connsiteY0" fmla="*/ 14288 h 14287"/>
                    <a:gd name="connsiteX1" fmla="*/ 7144 w 104108"/>
                    <a:gd name="connsiteY1" fmla="*/ 14288 h 14287"/>
                    <a:gd name="connsiteX2" fmla="*/ 0 w 104108"/>
                    <a:gd name="connsiteY2" fmla="*/ 7144 h 14287"/>
                    <a:gd name="connsiteX3" fmla="*/ 7144 w 104108"/>
                    <a:gd name="connsiteY3" fmla="*/ 0 h 14287"/>
                    <a:gd name="connsiteX4" fmla="*/ 96965 w 104108"/>
                    <a:gd name="connsiteY4" fmla="*/ 0 h 14287"/>
                    <a:gd name="connsiteX5" fmla="*/ 104108 w 104108"/>
                    <a:gd name="connsiteY5" fmla="*/ 7144 h 14287"/>
                    <a:gd name="connsiteX6" fmla="*/ 96965 w 104108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4108" h="14287">
                      <a:moveTo>
                        <a:pt x="96965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96965" y="0"/>
                      </a:lnTo>
                      <a:cubicBezTo>
                        <a:pt x="100870" y="0"/>
                        <a:pt x="104108" y="3239"/>
                        <a:pt x="104108" y="7144"/>
                      </a:cubicBezTo>
                      <a:cubicBezTo>
                        <a:pt x="104108" y="11049"/>
                        <a:pt x="100965" y="14288"/>
                        <a:pt x="96965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3" name="Grafik 9">
                  <a:extLst>
                    <a:ext uri="{FF2B5EF4-FFF2-40B4-BE49-F238E27FC236}">
                      <a16:creationId xmlns:a16="http://schemas.microsoft.com/office/drawing/2014/main" id="{4BC26A97-75E8-E63A-A9B8-BA0FD39496CD}"/>
                    </a:ext>
                  </a:extLst>
                </p:cNvPr>
                <p:cNvSpPr/>
                <p:nvPr/>
              </p:nvSpPr>
              <p:spPr bwMode="gray">
                <a:xfrm>
                  <a:off x="6196607" y="3522082"/>
                  <a:ext cx="33385" cy="33408"/>
                </a:xfrm>
                <a:custGeom>
                  <a:avLst/>
                  <a:gdLst>
                    <a:gd name="connsiteX0" fmla="*/ 26265 w 33385"/>
                    <a:gd name="connsiteY0" fmla="*/ 33409 h 33408"/>
                    <a:gd name="connsiteX1" fmla="*/ 21217 w 33385"/>
                    <a:gd name="connsiteY1" fmla="*/ 31313 h 33408"/>
                    <a:gd name="connsiteX2" fmla="*/ 2072 w 33385"/>
                    <a:gd name="connsiteY2" fmla="*/ 12168 h 33408"/>
                    <a:gd name="connsiteX3" fmla="*/ 2072 w 33385"/>
                    <a:gd name="connsiteY3" fmla="*/ 2072 h 33408"/>
                    <a:gd name="connsiteX4" fmla="*/ 12168 w 33385"/>
                    <a:gd name="connsiteY4" fmla="*/ 2072 h 33408"/>
                    <a:gd name="connsiteX5" fmla="*/ 31313 w 33385"/>
                    <a:gd name="connsiteY5" fmla="*/ 21217 h 33408"/>
                    <a:gd name="connsiteX6" fmla="*/ 31313 w 33385"/>
                    <a:gd name="connsiteY6" fmla="*/ 31313 h 33408"/>
                    <a:gd name="connsiteX7" fmla="*/ 26265 w 33385"/>
                    <a:gd name="connsiteY7" fmla="*/ 33409 h 33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385" h="33408">
                      <a:moveTo>
                        <a:pt x="26265" y="33409"/>
                      </a:moveTo>
                      <a:cubicBezTo>
                        <a:pt x="24455" y="33409"/>
                        <a:pt x="22646" y="32742"/>
                        <a:pt x="21217" y="31313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1313" y="21217"/>
                      </a:lnTo>
                      <a:cubicBezTo>
                        <a:pt x="34076" y="23979"/>
                        <a:pt x="34076" y="28551"/>
                        <a:pt x="31313" y="31313"/>
                      </a:cubicBezTo>
                      <a:cubicBezTo>
                        <a:pt x="29980" y="32742"/>
                        <a:pt x="28075" y="33409"/>
                        <a:pt x="26265" y="334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4" name="Grafik 9">
                  <a:extLst>
                    <a:ext uri="{FF2B5EF4-FFF2-40B4-BE49-F238E27FC236}">
                      <a16:creationId xmlns:a16="http://schemas.microsoft.com/office/drawing/2014/main" id="{9CE3A992-E501-22CC-0699-D2C0A26AB161}"/>
                    </a:ext>
                  </a:extLst>
                </p:cNvPr>
                <p:cNvSpPr/>
                <p:nvPr/>
              </p:nvSpPr>
              <p:spPr bwMode="gray">
                <a:xfrm>
                  <a:off x="6196607" y="3540942"/>
                  <a:ext cx="33385" cy="33408"/>
                </a:xfrm>
                <a:custGeom>
                  <a:avLst/>
                  <a:gdLst>
                    <a:gd name="connsiteX0" fmla="*/ 7120 w 33385"/>
                    <a:gd name="connsiteY0" fmla="*/ 33409 h 33408"/>
                    <a:gd name="connsiteX1" fmla="*/ 2072 w 33385"/>
                    <a:gd name="connsiteY1" fmla="*/ 31313 h 33408"/>
                    <a:gd name="connsiteX2" fmla="*/ 2072 w 33385"/>
                    <a:gd name="connsiteY2" fmla="*/ 21217 h 33408"/>
                    <a:gd name="connsiteX3" fmla="*/ 21217 w 33385"/>
                    <a:gd name="connsiteY3" fmla="*/ 2072 h 33408"/>
                    <a:gd name="connsiteX4" fmla="*/ 31313 w 33385"/>
                    <a:gd name="connsiteY4" fmla="*/ 2072 h 33408"/>
                    <a:gd name="connsiteX5" fmla="*/ 31313 w 33385"/>
                    <a:gd name="connsiteY5" fmla="*/ 12168 h 33408"/>
                    <a:gd name="connsiteX6" fmla="*/ 12168 w 33385"/>
                    <a:gd name="connsiteY6" fmla="*/ 31313 h 33408"/>
                    <a:gd name="connsiteX7" fmla="*/ 7120 w 33385"/>
                    <a:gd name="connsiteY7" fmla="*/ 33409 h 33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385" h="33408">
                      <a:moveTo>
                        <a:pt x="7120" y="33409"/>
                      </a:moveTo>
                      <a:cubicBezTo>
                        <a:pt x="5310" y="33409"/>
                        <a:pt x="3500" y="32742"/>
                        <a:pt x="2072" y="31313"/>
                      </a:cubicBezTo>
                      <a:cubicBezTo>
                        <a:pt x="-691" y="28551"/>
                        <a:pt x="-691" y="23979"/>
                        <a:pt x="2072" y="21217"/>
                      </a:cubicBezTo>
                      <a:lnTo>
                        <a:pt x="21217" y="2072"/>
                      </a:lnTo>
                      <a:cubicBezTo>
                        <a:pt x="23979" y="-691"/>
                        <a:pt x="28551" y="-691"/>
                        <a:pt x="31313" y="2072"/>
                      </a:cubicBezTo>
                      <a:cubicBezTo>
                        <a:pt x="34076" y="4834"/>
                        <a:pt x="34076" y="9406"/>
                        <a:pt x="31313" y="12168"/>
                      </a:cubicBezTo>
                      <a:lnTo>
                        <a:pt x="12168" y="31313"/>
                      </a:lnTo>
                      <a:cubicBezTo>
                        <a:pt x="10835" y="32742"/>
                        <a:pt x="8930" y="33409"/>
                        <a:pt x="7120" y="334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193" name="Grafik 11">
            <a:extLst>
              <a:ext uri="{FF2B5EF4-FFF2-40B4-BE49-F238E27FC236}">
                <a16:creationId xmlns:a16="http://schemas.microsoft.com/office/drawing/2014/main" id="{82D72E5B-3F1C-BB92-1060-76CAAC28AE3A}"/>
              </a:ext>
            </a:extLst>
          </p:cNvPr>
          <p:cNvGrpSpPr/>
          <p:nvPr/>
        </p:nvGrpSpPr>
        <p:grpSpPr bwMode="gray">
          <a:xfrm>
            <a:off x="318344" y="4552076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94" name="Grafik 11">
              <a:extLst>
                <a:ext uri="{FF2B5EF4-FFF2-40B4-BE49-F238E27FC236}">
                  <a16:creationId xmlns:a16="http://schemas.microsoft.com/office/drawing/2014/main" id="{E431BE5A-6FF5-3A9D-B11D-F6678E6294CB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204" name="Grafik 11">
                <a:extLst>
                  <a:ext uri="{FF2B5EF4-FFF2-40B4-BE49-F238E27FC236}">
                    <a16:creationId xmlns:a16="http://schemas.microsoft.com/office/drawing/2014/main" id="{EB1A6365-48B2-3094-31F8-549F4448CFC0}"/>
                  </a:ext>
                </a:extLst>
              </p:cNvPr>
              <p:cNvGrpSpPr/>
              <p:nvPr/>
            </p:nvGrpSpPr>
            <p:grpSpPr bwMode="gray">
              <a:xfrm>
                <a:off x="5951066" y="3230233"/>
                <a:ext cx="285352" cy="149902"/>
                <a:chOff x="5951066" y="3230233"/>
                <a:chExt cx="285352" cy="149902"/>
              </a:xfrm>
              <a:grpFill/>
            </p:grpSpPr>
            <p:grpSp>
              <p:nvGrpSpPr>
                <p:cNvPr id="207" name="Grafik 11">
                  <a:extLst>
                    <a:ext uri="{FF2B5EF4-FFF2-40B4-BE49-F238E27FC236}">
                      <a16:creationId xmlns:a16="http://schemas.microsoft.com/office/drawing/2014/main" id="{8D7CF14B-0CBC-F40F-265F-0BF6A94FF688}"/>
                    </a:ext>
                  </a:extLst>
                </p:cNvPr>
                <p:cNvGrpSpPr/>
                <p:nvPr/>
              </p:nvGrpSpPr>
              <p:grpSpPr bwMode="gray">
                <a:xfrm>
                  <a:off x="6118933" y="3230233"/>
                  <a:ext cx="117485" cy="65892"/>
                  <a:chOff x="6118933" y="3230233"/>
                  <a:chExt cx="117485" cy="65892"/>
                </a:xfrm>
                <a:grpFill/>
              </p:grpSpPr>
              <p:sp>
                <p:nvSpPr>
                  <p:cNvPr id="220" name="Grafik 11">
                    <a:extLst>
                      <a:ext uri="{FF2B5EF4-FFF2-40B4-BE49-F238E27FC236}">
                        <a16:creationId xmlns:a16="http://schemas.microsoft.com/office/drawing/2014/main" id="{6998797A-DC34-D1D2-D32A-8DC26D41279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33" y="3230233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225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225"/>
                        </a:lnTo>
                        <a:cubicBezTo>
                          <a:pt x="9356" y="65702"/>
                          <a:pt x="8308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1" name="Grafik 11">
                    <a:extLst>
                      <a:ext uri="{FF2B5EF4-FFF2-40B4-BE49-F238E27FC236}">
                        <a16:creationId xmlns:a16="http://schemas.microsoft.com/office/drawing/2014/main" id="{388A2F43-D285-F9E8-128E-CD40DAD076C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307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9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2" name="Grafik 11">
                    <a:extLst>
                      <a:ext uri="{FF2B5EF4-FFF2-40B4-BE49-F238E27FC236}">
                        <a16:creationId xmlns:a16="http://schemas.microsoft.com/office/drawing/2014/main" id="{5970C62C-08C5-E402-86E0-D6071B5E6D4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208" name="Grafik 11">
                  <a:extLst>
                    <a:ext uri="{FF2B5EF4-FFF2-40B4-BE49-F238E27FC236}">
                      <a16:creationId xmlns:a16="http://schemas.microsoft.com/office/drawing/2014/main" id="{AB251900-AA30-9CF8-FD1F-4A4F51A88B20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44"/>
                  <a:ext cx="117485" cy="65892"/>
                  <a:chOff x="5951103" y="3314244"/>
                  <a:chExt cx="117485" cy="65892"/>
                </a:xfrm>
                <a:grpFill/>
              </p:grpSpPr>
              <p:sp>
                <p:nvSpPr>
                  <p:cNvPr id="217" name="Grafik 11">
                    <a:extLst>
                      <a:ext uri="{FF2B5EF4-FFF2-40B4-BE49-F238E27FC236}">
                        <a16:creationId xmlns:a16="http://schemas.microsoft.com/office/drawing/2014/main" id="{1790962B-8BE6-A750-203A-19F62495206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44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130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130"/>
                        </a:lnTo>
                        <a:cubicBezTo>
                          <a:pt x="9356" y="65606"/>
                          <a:pt x="8213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8" name="Grafik 11">
                    <a:extLst>
                      <a:ext uri="{FF2B5EF4-FFF2-40B4-BE49-F238E27FC236}">
                        <a16:creationId xmlns:a16="http://schemas.microsoft.com/office/drawing/2014/main" id="{17F4006D-CFE4-6C30-E182-73F7D440DA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9" name="Grafik 11">
                    <a:extLst>
                      <a:ext uri="{FF2B5EF4-FFF2-40B4-BE49-F238E27FC236}">
                        <a16:creationId xmlns:a16="http://schemas.microsoft.com/office/drawing/2014/main" id="{DB9382CD-B8F8-223A-E854-FAEAC9FA890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209" name="Grafik 11">
                  <a:extLst>
                    <a:ext uri="{FF2B5EF4-FFF2-40B4-BE49-F238E27FC236}">
                      <a16:creationId xmlns:a16="http://schemas.microsoft.com/office/drawing/2014/main" id="{7B705EE1-39DC-4903-AAAA-CDC56B017F2D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214" name="Grafik 11">
                    <a:extLst>
                      <a:ext uri="{FF2B5EF4-FFF2-40B4-BE49-F238E27FC236}">
                        <a16:creationId xmlns:a16="http://schemas.microsoft.com/office/drawing/2014/main" id="{5CFDB5C6-F4D9-901A-D9A6-BB3EF6C55BD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5" name="Grafik 11">
                    <a:extLst>
                      <a:ext uri="{FF2B5EF4-FFF2-40B4-BE49-F238E27FC236}">
                        <a16:creationId xmlns:a16="http://schemas.microsoft.com/office/drawing/2014/main" id="{28A7CA99-E838-EFF9-7E92-828FE6ED09D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6" name="Grafik 11">
                    <a:extLst>
                      <a:ext uri="{FF2B5EF4-FFF2-40B4-BE49-F238E27FC236}">
                        <a16:creationId xmlns:a16="http://schemas.microsoft.com/office/drawing/2014/main" id="{3AAA20A2-862E-3154-7782-D69FBF33571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210" name="Grafik 11">
                  <a:extLst>
                    <a:ext uri="{FF2B5EF4-FFF2-40B4-BE49-F238E27FC236}">
                      <a16:creationId xmlns:a16="http://schemas.microsoft.com/office/drawing/2014/main" id="{B11BC6B0-7397-AA5B-5BE2-9304BE187DA4}"/>
                    </a:ext>
                  </a:extLst>
                </p:cNvPr>
                <p:cNvGrpSpPr/>
                <p:nvPr/>
              </p:nvGrpSpPr>
              <p:grpSpPr bwMode="gray">
                <a:xfrm>
                  <a:off x="5951066" y="3230345"/>
                  <a:ext cx="117405" cy="65779"/>
                  <a:chOff x="5951066" y="3230345"/>
                  <a:chExt cx="117405" cy="65779"/>
                </a:xfrm>
                <a:grpFill/>
              </p:grpSpPr>
              <p:sp>
                <p:nvSpPr>
                  <p:cNvPr id="211" name="Grafik 11">
                    <a:extLst>
                      <a:ext uri="{FF2B5EF4-FFF2-40B4-BE49-F238E27FC236}">
                        <a16:creationId xmlns:a16="http://schemas.microsoft.com/office/drawing/2014/main" id="{891FD08D-959D-6D2B-88BC-C08A7D720A0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066" y="3230345"/>
                    <a:ext cx="117367" cy="65779"/>
                  </a:xfrm>
                  <a:custGeom>
                    <a:avLst/>
                    <a:gdLst>
                      <a:gd name="connsiteX0" fmla="*/ 110262 w 117367"/>
                      <a:gd name="connsiteY0" fmla="*/ 65780 h 65779"/>
                      <a:gd name="connsiteX1" fmla="*/ 107118 w 117367"/>
                      <a:gd name="connsiteY1" fmla="*/ 65018 h 65779"/>
                      <a:gd name="connsiteX2" fmla="*/ 3963 w 117367"/>
                      <a:gd name="connsiteY2" fmla="*/ 13583 h 65779"/>
                      <a:gd name="connsiteX3" fmla="*/ 724 w 117367"/>
                      <a:gd name="connsiteY3" fmla="*/ 3963 h 65779"/>
                      <a:gd name="connsiteX4" fmla="*/ 10344 w 117367"/>
                      <a:gd name="connsiteY4" fmla="*/ 724 h 65779"/>
                      <a:gd name="connsiteX5" fmla="*/ 113405 w 117367"/>
                      <a:gd name="connsiteY5" fmla="*/ 52254 h 65779"/>
                      <a:gd name="connsiteX6" fmla="*/ 116643 w 117367"/>
                      <a:gd name="connsiteY6" fmla="*/ 61875 h 65779"/>
                      <a:gd name="connsiteX7" fmla="*/ 110262 w 117367"/>
                      <a:gd name="connsiteY7" fmla="*/ 65780 h 65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779">
                        <a:moveTo>
                          <a:pt x="110262" y="65780"/>
                        </a:moveTo>
                        <a:cubicBezTo>
                          <a:pt x="109214" y="65780"/>
                          <a:pt x="108071" y="65494"/>
                          <a:pt x="107118" y="65018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405" y="64351"/>
                          <a:pt x="112833" y="65780"/>
                          <a:pt x="110262" y="6578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2" name="Grafik 11">
                    <a:extLst>
                      <a:ext uri="{FF2B5EF4-FFF2-40B4-BE49-F238E27FC236}">
                        <a16:creationId xmlns:a16="http://schemas.microsoft.com/office/drawing/2014/main" id="{CE84985A-D469-60EE-325F-A5D6B9EA3C0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3" name="Grafik 11">
                    <a:extLst>
                      <a:ext uri="{FF2B5EF4-FFF2-40B4-BE49-F238E27FC236}">
                        <a16:creationId xmlns:a16="http://schemas.microsoft.com/office/drawing/2014/main" id="{601E5792-59E2-1409-64EA-F03B0C46D7F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83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205" name="Grafik 11">
                <a:extLst>
                  <a:ext uri="{FF2B5EF4-FFF2-40B4-BE49-F238E27FC236}">
                    <a16:creationId xmlns:a16="http://schemas.microsoft.com/office/drawing/2014/main" id="{B41ADBD2-E0CA-C85C-E72C-B27272030C99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6" name="Grafik 11">
                <a:extLst>
                  <a:ext uri="{FF2B5EF4-FFF2-40B4-BE49-F238E27FC236}">
                    <a16:creationId xmlns:a16="http://schemas.microsoft.com/office/drawing/2014/main" id="{435F9398-FE54-5DA4-DB30-57ACD7ED21FE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95" name="Grafik 11">
              <a:extLst>
                <a:ext uri="{FF2B5EF4-FFF2-40B4-BE49-F238E27FC236}">
                  <a16:creationId xmlns:a16="http://schemas.microsoft.com/office/drawing/2014/main" id="{148B7A72-A6C4-4AF7-66C0-0FECD391AA5E}"/>
                </a:ext>
              </a:extLst>
            </p:cNvPr>
            <p:cNvGrpSpPr/>
            <p:nvPr/>
          </p:nvGrpSpPr>
          <p:grpSpPr bwMode="gray">
            <a:xfrm>
              <a:off x="5996177" y="3475291"/>
              <a:ext cx="195071" cy="143827"/>
              <a:chOff x="5996177" y="3475291"/>
              <a:chExt cx="195071" cy="143827"/>
            </a:xfrm>
            <a:grpFill/>
          </p:grpSpPr>
          <p:sp>
            <p:nvSpPr>
              <p:cNvPr id="196" name="Grafik 11">
                <a:extLst>
                  <a:ext uri="{FF2B5EF4-FFF2-40B4-BE49-F238E27FC236}">
                    <a16:creationId xmlns:a16="http://schemas.microsoft.com/office/drawing/2014/main" id="{20AF395B-DBB1-CD2D-8A7F-BEC70D31804E}"/>
                  </a:ext>
                </a:extLst>
              </p:cNvPr>
              <p:cNvSpPr/>
              <p:nvPr/>
            </p:nvSpPr>
            <p:spPr bwMode="gray">
              <a:xfrm>
                <a:off x="6025347" y="3478553"/>
                <a:ext cx="140636" cy="140565"/>
              </a:xfrm>
              <a:custGeom>
                <a:avLst/>
                <a:gdLst>
                  <a:gd name="connsiteX0" fmla="*/ 133517 w 140636"/>
                  <a:gd name="connsiteY0" fmla="*/ 140565 h 140565"/>
                  <a:gd name="connsiteX1" fmla="*/ 128468 w 140636"/>
                  <a:gd name="connsiteY1" fmla="*/ 138470 h 140565"/>
                  <a:gd name="connsiteX2" fmla="*/ 2072 w 140636"/>
                  <a:gd name="connsiteY2" fmla="*/ 12168 h 140565"/>
                  <a:gd name="connsiteX3" fmla="*/ 2072 w 140636"/>
                  <a:gd name="connsiteY3" fmla="*/ 2072 h 140565"/>
                  <a:gd name="connsiteX4" fmla="*/ 12168 w 140636"/>
                  <a:gd name="connsiteY4" fmla="*/ 2072 h 140565"/>
                  <a:gd name="connsiteX5" fmla="*/ 138565 w 140636"/>
                  <a:gd name="connsiteY5" fmla="*/ 128468 h 140565"/>
                  <a:gd name="connsiteX6" fmla="*/ 138565 w 140636"/>
                  <a:gd name="connsiteY6" fmla="*/ 138565 h 140565"/>
                  <a:gd name="connsiteX7" fmla="*/ 133517 w 140636"/>
                  <a:gd name="connsiteY7" fmla="*/ 140565 h 1405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0636" h="140565">
                    <a:moveTo>
                      <a:pt x="133517" y="140565"/>
                    </a:moveTo>
                    <a:cubicBezTo>
                      <a:pt x="131707" y="140565"/>
                      <a:pt x="129897" y="139898"/>
                      <a:pt x="128468" y="138470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38565" y="128468"/>
                    </a:lnTo>
                    <a:cubicBezTo>
                      <a:pt x="141327" y="131231"/>
                      <a:pt x="141327" y="135803"/>
                      <a:pt x="138565" y="138565"/>
                    </a:cubicBezTo>
                    <a:cubicBezTo>
                      <a:pt x="137136" y="139898"/>
                      <a:pt x="135326" y="140565"/>
                      <a:pt x="133517" y="1405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" name="Grafik 11">
                <a:extLst>
                  <a:ext uri="{FF2B5EF4-FFF2-40B4-BE49-F238E27FC236}">
                    <a16:creationId xmlns:a16="http://schemas.microsoft.com/office/drawing/2014/main" id="{2863786D-7EFF-8A8B-C9E2-E64F1E7E7506}"/>
                  </a:ext>
                </a:extLst>
              </p:cNvPr>
              <p:cNvSpPr/>
              <p:nvPr/>
            </p:nvSpPr>
            <p:spPr bwMode="gray">
              <a:xfrm>
                <a:off x="6025347" y="3478458"/>
                <a:ext cx="140636" cy="140660"/>
              </a:xfrm>
              <a:custGeom>
                <a:avLst/>
                <a:gdLst>
                  <a:gd name="connsiteX0" fmla="*/ 7120 w 140636"/>
                  <a:gd name="connsiteY0" fmla="*/ 140660 h 140660"/>
                  <a:gd name="connsiteX1" fmla="*/ 2072 w 140636"/>
                  <a:gd name="connsiteY1" fmla="*/ 138565 h 140660"/>
                  <a:gd name="connsiteX2" fmla="*/ 2072 w 140636"/>
                  <a:gd name="connsiteY2" fmla="*/ 128468 h 140660"/>
                  <a:gd name="connsiteX3" fmla="*/ 128468 w 140636"/>
                  <a:gd name="connsiteY3" fmla="*/ 2072 h 140660"/>
                  <a:gd name="connsiteX4" fmla="*/ 138565 w 140636"/>
                  <a:gd name="connsiteY4" fmla="*/ 2072 h 140660"/>
                  <a:gd name="connsiteX5" fmla="*/ 138565 w 140636"/>
                  <a:gd name="connsiteY5" fmla="*/ 12168 h 140660"/>
                  <a:gd name="connsiteX6" fmla="*/ 12168 w 140636"/>
                  <a:gd name="connsiteY6" fmla="*/ 138660 h 140660"/>
                  <a:gd name="connsiteX7" fmla="*/ 7120 w 140636"/>
                  <a:gd name="connsiteY7" fmla="*/ 140660 h 140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0636" h="140660">
                    <a:moveTo>
                      <a:pt x="7120" y="140660"/>
                    </a:moveTo>
                    <a:cubicBezTo>
                      <a:pt x="5310" y="140660"/>
                      <a:pt x="3500" y="139994"/>
                      <a:pt x="2072" y="138565"/>
                    </a:cubicBezTo>
                    <a:cubicBezTo>
                      <a:pt x="-691" y="135803"/>
                      <a:pt x="-691" y="131231"/>
                      <a:pt x="2072" y="128468"/>
                    </a:cubicBezTo>
                    <a:lnTo>
                      <a:pt x="128468" y="2072"/>
                    </a:lnTo>
                    <a:cubicBezTo>
                      <a:pt x="131231" y="-691"/>
                      <a:pt x="135803" y="-691"/>
                      <a:pt x="138565" y="2072"/>
                    </a:cubicBezTo>
                    <a:cubicBezTo>
                      <a:pt x="141327" y="4834"/>
                      <a:pt x="141327" y="9406"/>
                      <a:pt x="138565" y="12168"/>
                    </a:cubicBezTo>
                    <a:lnTo>
                      <a:pt x="12168" y="138660"/>
                    </a:lnTo>
                    <a:cubicBezTo>
                      <a:pt x="10739" y="139994"/>
                      <a:pt x="8930" y="140660"/>
                      <a:pt x="7120" y="14066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" name="Grafik 11">
                <a:extLst>
                  <a:ext uri="{FF2B5EF4-FFF2-40B4-BE49-F238E27FC236}">
                    <a16:creationId xmlns:a16="http://schemas.microsoft.com/office/drawing/2014/main" id="{C0BA6B48-BC7C-D7DF-2478-A1002C4B55EA}"/>
                  </a:ext>
                </a:extLst>
              </p:cNvPr>
              <p:cNvSpPr/>
              <p:nvPr/>
            </p:nvSpPr>
            <p:spPr bwMode="gray">
              <a:xfrm>
                <a:off x="6151720" y="3478529"/>
                <a:ext cx="39528" cy="14287"/>
              </a:xfrm>
              <a:custGeom>
                <a:avLst/>
                <a:gdLst>
                  <a:gd name="connsiteX0" fmla="*/ 32385 w 39528"/>
                  <a:gd name="connsiteY0" fmla="*/ 14288 h 14287"/>
                  <a:gd name="connsiteX1" fmla="*/ 7144 w 39528"/>
                  <a:gd name="connsiteY1" fmla="*/ 14288 h 14287"/>
                  <a:gd name="connsiteX2" fmla="*/ 0 w 39528"/>
                  <a:gd name="connsiteY2" fmla="*/ 7144 h 14287"/>
                  <a:gd name="connsiteX3" fmla="*/ 7144 w 39528"/>
                  <a:gd name="connsiteY3" fmla="*/ 0 h 14287"/>
                  <a:gd name="connsiteX4" fmla="*/ 32385 w 39528"/>
                  <a:gd name="connsiteY4" fmla="*/ 0 h 14287"/>
                  <a:gd name="connsiteX5" fmla="*/ 39529 w 39528"/>
                  <a:gd name="connsiteY5" fmla="*/ 7144 h 14287"/>
                  <a:gd name="connsiteX6" fmla="*/ 32385 w 39528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528" h="14287">
                    <a:moveTo>
                      <a:pt x="32385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2385" y="0"/>
                    </a:lnTo>
                    <a:cubicBezTo>
                      <a:pt x="36290" y="0"/>
                      <a:pt x="39529" y="3239"/>
                      <a:pt x="39529" y="7144"/>
                    </a:cubicBezTo>
                    <a:cubicBezTo>
                      <a:pt x="39529" y="11049"/>
                      <a:pt x="36385" y="14288"/>
                      <a:pt x="32385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" name="Grafik 11">
                <a:extLst>
                  <a:ext uri="{FF2B5EF4-FFF2-40B4-BE49-F238E27FC236}">
                    <a16:creationId xmlns:a16="http://schemas.microsoft.com/office/drawing/2014/main" id="{7840C979-D813-AA2A-C6DD-6865530D58E9}"/>
                  </a:ext>
                </a:extLst>
              </p:cNvPr>
              <p:cNvSpPr/>
              <p:nvPr/>
            </p:nvSpPr>
            <p:spPr bwMode="gray">
              <a:xfrm>
                <a:off x="6000082" y="3478529"/>
                <a:ext cx="39528" cy="14287"/>
              </a:xfrm>
              <a:custGeom>
                <a:avLst/>
                <a:gdLst>
                  <a:gd name="connsiteX0" fmla="*/ 32385 w 39528"/>
                  <a:gd name="connsiteY0" fmla="*/ 14288 h 14287"/>
                  <a:gd name="connsiteX1" fmla="*/ 7144 w 39528"/>
                  <a:gd name="connsiteY1" fmla="*/ 14288 h 14287"/>
                  <a:gd name="connsiteX2" fmla="*/ 0 w 39528"/>
                  <a:gd name="connsiteY2" fmla="*/ 7144 h 14287"/>
                  <a:gd name="connsiteX3" fmla="*/ 7144 w 39528"/>
                  <a:gd name="connsiteY3" fmla="*/ 0 h 14287"/>
                  <a:gd name="connsiteX4" fmla="*/ 32385 w 39528"/>
                  <a:gd name="connsiteY4" fmla="*/ 0 h 14287"/>
                  <a:gd name="connsiteX5" fmla="*/ 39529 w 39528"/>
                  <a:gd name="connsiteY5" fmla="*/ 7144 h 14287"/>
                  <a:gd name="connsiteX6" fmla="*/ 32385 w 39528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528" h="14287">
                    <a:moveTo>
                      <a:pt x="32385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2385" y="0"/>
                    </a:lnTo>
                    <a:cubicBezTo>
                      <a:pt x="36290" y="0"/>
                      <a:pt x="39529" y="3239"/>
                      <a:pt x="39529" y="7144"/>
                    </a:cubicBezTo>
                    <a:cubicBezTo>
                      <a:pt x="39529" y="11049"/>
                      <a:pt x="36290" y="14288"/>
                      <a:pt x="32385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" name="Grafik 11">
                <a:extLst>
                  <a:ext uri="{FF2B5EF4-FFF2-40B4-BE49-F238E27FC236}">
                    <a16:creationId xmlns:a16="http://schemas.microsoft.com/office/drawing/2014/main" id="{D6CF14C6-E7AE-96C5-C5F3-ECEE45E30816}"/>
                  </a:ext>
                </a:extLst>
              </p:cNvPr>
              <p:cNvSpPr/>
              <p:nvPr/>
            </p:nvSpPr>
            <p:spPr bwMode="gray">
              <a:xfrm>
                <a:off x="6151720" y="3604830"/>
                <a:ext cx="39528" cy="14287"/>
              </a:xfrm>
              <a:custGeom>
                <a:avLst/>
                <a:gdLst>
                  <a:gd name="connsiteX0" fmla="*/ 32385 w 39528"/>
                  <a:gd name="connsiteY0" fmla="*/ 14288 h 14287"/>
                  <a:gd name="connsiteX1" fmla="*/ 7144 w 39528"/>
                  <a:gd name="connsiteY1" fmla="*/ 14288 h 14287"/>
                  <a:gd name="connsiteX2" fmla="*/ 0 w 39528"/>
                  <a:gd name="connsiteY2" fmla="*/ 7144 h 14287"/>
                  <a:gd name="connsiteX3" fmla="*/ 7144 w 39528"/>
                  <a:gd name="connsiteY3" fmla="*/ 0 h 14287"/>
                  <a:gd name="connsiteX4" fmla="*/ 32385 w 39528"/>
                  <a:gd name="connsiteY4" fmla="*/ 0 h 14287"/>
                  <a:gd name="connsiteX5" fmla="*/ 39529 w 39528"/>
                  <a:gd name="connsiteY5" fmla="*/ 7144 h 14287"/>
                  <a:gd name="connsiteX6" fmla="*/ 32385 w 39528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528" h="14287">
                    <a:moveTo>
                      <a:pt x="32385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2385" y="0"/>
                    </a:lnTo>
                    <a:cubicBezTo>
                      <a:pt x="36290" y="0"/>
                      <a:pt x="39529" y="3239"/>
                      <a:pt x="39529" y="7144"/>
                    </a:cubicBezTo>
                    <a:cubicBezTo>
                      <a:pt x="39529" y="11049"/>
                      <a:pt x="36385" y="14288"/>
                      <a:pt x="32385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" name="Grafik 11">
                <a:extLst>
                  <a:ext uri="{FF2B5EF4-FFF2-40B4-BE49-F238E27FC236}">
                    <a16:creationId xmlns:a16="http://schemas.microsoft.com/office/drawing/2014/main" id="{F866BD6C-4FFD-E813-119A-060B2B828E78}"/>
                  </a:ext>
                </a:extLst>
              </p:cNvPr>
              <p:cNvSpPr/>
              <p:nvPr/>
            </p:nvSpPr>
            <p:spPr bwMode="gray">
              <a:xfrm>
                <a:off x="6000082" y="3604830"/>
                <a:ext cx="39528" cy="14287"/>
              </a:xfrm>
              <a:custGeom>
                <a:avLst/>
                <a:gdLst>
                  <a:gd name="connsiteX0" fmla="*/ 32385 w 39528"/>
                  <a:gd name="connsiteY0" fmla="*/ 14288 h 14287"/>
                  <a:gd name="connsiteX1" fmla="*/ 7144 w 39528"/>
                  <a:gd name="connsiteY1" fmla="*/ 14288 h 14287"/>
                  <a:gd name="connsiteX2" fmla="*/ 0 w 39528"/>
                  <a:gd name="connsiteY2" fmla="*/ 7144 h 14287"/>
                  <a:gd name="connsiteX3" fmla="*/ 7144 w 39528"/>
                  <a:gd name="connsiteY3" fmla="*/ 0 h 14287"/>
                  <a:gd name="connsiteX4" fmla="*/ 32385 w 39528"/>
                  <a:gd name="connsiteY4" fmla="*/ 0 h 14287"/>
                  <a:gd name="connsiteX5" fmla="*/ 39529 w 39528"/>
                  <a:gd name="connsiteY5" fmla="*/ 7144 h 14287"/>
                  <a:gd name="connsiteX6" fmla="*/ 32385 w 39528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528" h="14287">
                    <a:moveTo>
                      <a:pt x="32385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2385" y="0"/>
                    </a:lnTo>
                    <a:cubicBezTo>
                      <a:pt x="36290" y="0"/>
                      <a:pt x="39529" y="3239"/>
                      <a:pt x="39529" y="7144"/>
                    </a:cubicBezTo>
                    <a:cubicBezTo>
                      <a:pt x="39529" y="11049"/>
                      <a:pt x="36290" y="14288"/>
                      <a:pt x="32385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" name="Grafik 11">
                <a:extLst>
                  <a:ext uri="{FF2B5EF4-FFF2-40B4-BE49-F238E27FC236}">
                    <a16:creationId xmlns:a16="http://schemas.microsoft.com/office/drawing/2014/main" id="{91B847F4-6C82-F0E5-BAF2-D1156BAC0744}"/>
                  </a:ext>
                </a:extLst>
              </p:cNvPr>
              <p:cNvSpPr/>
              <p:nvPr/>
            </p:nvSpPr>
            <p:spPr bwMode="gray">
              <a:xfrm>
                <a:off x="6088474" y="3475291"/>
                <a:ext cx="14287" cy="143827"/>
              </a:xfrm>
              <a:custGeom>
                <a:avLst/>
                <a:gdLst>
                  <a:gd name="connsiteX0" fmla="*/ 7144 w 14287"/>
                  <a:gd name="connsiteY0" fmla="*/ 143827 h 143827"/>
                  <a:gd name="connsiteX1" fmla="*/ 0 w 14287"/>
                  <a:gd name="connsiteY1" fmla="*/ 136684 h 143827"/>
                  <a:gd name="connsiteX2" fmla="*/ 0 w 14287"/>
                  <a:gd name="connsiteY2" fmla="*/ 7144 h 143827"/>
                  <a:gd name="connsiteX3" fmla="*/ 7144 w 14287"/>
                  <a:gd name="connsiteY3" fmla="*/ 0 h 143827"/>
                  <a:gd name="connsiteX4" fmla="*/ 14288 w 14287"/>
                  <a:gd name="connsiteY4" fmla="*/ 7144 h 143827"/>
                  <a:gd name="connsiteX5" fmla="*/ 14288 w 14287"/>
                  <a:gd name="connsiteY5" fmla="*/ 136779 h 143827"/>
                  <a:gd name="connsiteX6" fmla="*/ 7144 w 14287"/>
                  <a:gd name="connsiteY6" fmla="*/ 143827 h 1438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43827">
                    <a:moveTo>
                      <a:pt x="7144" y="143827"/>
                    </a:moveTo>
                    <a:cubicBezTo>
                      <a:pt x="3239" y="143827"/>
                      <a:pt x="0" y="140589"/>
                      <a:pt x="0" y="13668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36779"/>
                    </a:lnTo>
                    <a:cubicBezTo>
                      <a:pt x="14288" y="140684"/>
                      <a:pt x="11144" y="143827"/>
                      <a:pt x="7144" y="14382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" name="Grafik 11">
                <a:extLst>
                  <a:ext uri="{FF2B5EF4-FFF2-40B4-BE49-F238E27FC236}">
                    <a16:creationId xmlns:a16="http://schemas.microsoft.com/office/drawing/2014/main" id="{CE7DD468-6278-9B9E-4ECA-AC698905B0A3}"/>
                  </a:ext>
                </a:extLst>
              </p:cNvPr>
              <p:cNvSpPr/>
              <p:nvPr/>
            </p:nvSpPr>
            <p:spPr bwMode="gray">
              <a:xfrm>
                <a:off x="5996177" y="3540060"/>
                <a:ext cx="195071" cy="14287"/>
              </a:xfrm>
              <a:custGeom>
                <a:avLst/>
                <a:gdLst>
                  <a:gd name="connsiteX0" fmla="*/ 187928 w 195071"/>
                  <a:gd name="connsiteY0" fmla="*/ 14288 h 14287"/>
                  <a:gd name="connsiteX1" fmla="*/ 7144 w 195071"/>
                  <a:gd name="connsiteY1" fmla="*/ 14288 h 14287"/>
                  <a:gd name="connsiteX2" fmla="*/ 0 w 195071"/>
                  <a:gd name="connsiteY2" fmla="*/ 7144 h 14287"/>
                  <a:gd name="connsiteX3" fmla="*/ 7144 w 195071"/>
                  <a:gd name="connsiteY3" fmla="*/ 0 h 14287"/>
                  <a:gd name="connsiteX4" fmla="*/ 187928 w 195071"/>
                  <a:gd name="connsiteY4" fmla="*/ 0 h 14287"/>
                  <a:gd name="connsiteX5" fmla="*/ 195072 w 195071"/>
                  <a:gd name="connsiteY5" fmla="*/ 7144 h 14287"/>
                  <a:gd name="connsiteX6" fmla="*/ 187928 w 195071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5071" h="14287">
                    <a:moveTo>
                      <a:pt x="187928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87928" y="0"/>
                    </a:lnTo>
                    <a:cubicBezTo>
                      <a:pt x="191834" y="0"/>
                      <a:pt x="195072" y="3239"/>
                      <a:pt x="195072" y="7144"/>
                    </a:cubicBezTo>
                    <a:cubicBezTo>
                      <a:pt x="195072" y="11049"/>
                      <a:pt x="191929" y="14288"/>
                      <a:pt x="187928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23" name="Grafik 13">
            <a:extLst>
              <a:ext uri="{FF2B5EF4-FFF2-40B4-BE49-F238E27FC236}">
                <a16:creationId xmlns:a16="http://schemas.microsoft.com/office/drawing/2014/main" id="{32BA8D7C-E2FE-DA6D-04BB-067332F0D30F}"/>
              </a:ext>
            </a:extLst>
          </p:cNvPr>
          <p:cNvGrpSpPr/>
          <p:nvPr/>
        </p:nvGrpSpPr>
        <p:grpSpPr bwMode="gray">
          <a:xfrm>
            <a:off x="318344" y="5089463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24" name="Grafik 13">
              <a:extLst>
                <a:ext uri="{FF2B5EF4-FFF2-40B4-BE49-F238E27FC236}">
                  <a16:creationId xmlns:a16="http://schemas.microsoft.com/office/drawing/2014/main" id="{AB5B2D4C-DC53-B4B9-FCD8-47208DDA7E5F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228" name="Grafik 13">
                <a:extLst>
                  <a:ext uri="{FF2B5EF4-FFF2-40B4-BE49-F238E27FC236}">
                    <a16:creationId xmlns:a16="http://schemas.microsoft.com/office/drawing/2014/main" id="{78AD4DF8-E953-B154-BDB7-E54D554C11FD}"/>
                  </a:ext>
                </a:extLst>
              </p:cNvPr>
              <p:cNvGrpSpPr/>
              <p:nvPr/>
            </p:nvGrpSpPr>
            <p:grpSpPr bwMode="gray">
              <a:xfrm>
                <a:off x="5951103" y="3230191"/>
                <a:ext cx="285411" cy="149944"/>
                <a:chOff x="5951103" y="3230191"/>
                <a:chExt cx="285411" cy="149944"/>
              </a:xfrm>
              <a:grpFill/>
            </p:grpSpPr>
            <p:grpSp>
              <p:nvGrpSpPr>
                <p:cNvPr id="231" name="Grafik 13">
                  <a:extLst>
                    <a:ext uri="{FF2B5EF4-FFF2-40B4-BE49-F238E27FC236}">
                      <a16:creationId xmlns:a16="http://schemas.microsoft.com/office/drawing/2014/main" id="{6C1A3E09-B8EB-3443-3951-330FC7CB7382}"/>
                    </a:ext>
                  </a:extLst>
                </p:cNvPr>
                <p:cNvGrpSpPr/>
                <p:nvPr/>
              </p:nvGrpSpPr>
              <p:grpSpPr bwMode="gray">
                <a:xfrm>
                  <a:off x="6119028" y="3230191"/>
                  <a:ext cx="117485" cy="65934"/>
                  <a:chOff x="6119028" y="3230191"/>
                  <a:chExt cx="117485" cy="65934"/>
                </a:xfrm>
                <a:grpFill/>
              </p:grpSpPr>
              <p:sp>
                <p:nvSpPr>
                  <p:cNvPr id="244" name="Grafik 13">
                    <a:extLst>
                      <a:ext uri="{FF2B5EF4-FFF2-40B4-BE49-F238E27FC236}">
                        <a16:creationId xmlns:a16="http://schemas.microsoft.com/office/drawing/2014/main" id="{D8E6506A-A47F-3E9B-AEB0-797D488211B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28" y="3230191"/>
                    <a:ext cx="117485" cy="65934"/>
                  </a:xfrm>
                  <a:custGeom>
                    <a:avLst/>
                    <a:gdLst>
                      <a:gd name="connsiteX0" fmla="*/ 7165 w 117485"/>
                      <a:gd name="connsiteY0" fmla="*/ 65934 h 65934"/>
                      <a:gd name="connsiteX1" fmla="*/ 783 w 117485"/>
                      <a:gd name="connsiteY1" fmla="*/ 61934 h 65934"/>
                      <a:gd name="connsiteX2" fmla="*/ 4022 w 117485"/>
                      <a:gd name="connsiteY2" fmla="*/ 52313 h 65934"/>
                      <a:gd name="connsiteX3" fmla="*/ 107082 w 117485"/>
                      <a:gd name="connsiteY3" fmla="*/ 783 h 65934"/>
                      <a:gd name="connsiteX4" fmla="*/ 116702 w 117485"/>
                      <a:gd name="connsiteY4" fmla="*/ 4022 h 65934"/>
                      <a:gd name="connsiteX5" fmla="*/ 113464 w 117485"/>
                      <a:gd name="connsiteY5" fmla="*/ 13642 h 65934"/>
                      <a:gd name="connsiteX6" fmla="*/ 10308 w 117485"/>
                      <a:gd name="connsiteY6" fmla="*/ 65267 h 65934"/>
                      <a:gd name="connsiteX7" fmla="*/ 7165 w 117485"/>
                      <a:gd name="connsiteY7" fmla="*/ 65934 h 659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934">
                        <a:moveTo>
                          <a:pt x="7165" y="65934"/>
                        </a:moveTo>
                        <a:cubicBezTo>
                          <a:pt x="4498" y="65934"/>
                          <a:pt x="2021" y="64505"/>
                          <a:pt x="783" y="61934"/>
                        </a:cubicBezTo>
                        <a:cubicBezTo>
                          <a:pt x="-1027" y="58409"/>
                          <a:pt x="402" y="54123"/>
                          <a:pt x="4022" y="52313"/>
                        </a:cubicBezTo>
                        <a:lnTo>
                          <a:pt x="107082" y="783"/>
                        </a:lnTo>
                        <a:cubicBezTo>
                          <a:pt x="110606" y="-1027"/>
                          <a:pt x="114893" y="402"/>
                          <a:pt x="116702" y="4022"/>
                        </a:cubicBezTo>
                        <a:cubicBezTo>
                          <a:pt x="118512" y="7546"/>
                          <a:pt x="117083" y="11832"/>
                          <a:pt x="113464" y="13642"/>
                        </a:cubicBezTo>
                        <a:lnTo>
                          <a:pt x="10308" y="65267"/>
                        </a:lnTo>
                        <a:cubicBezTo>
                          <a:pt x="9260" y="65744"/>
                          <a:pt x="8213" y="65934"/>
                          <a:pt x="7165" y="659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5" name="Grafik 13">
                    <a:extLst>
                      <a:ext uri="{FF2B5EF4-FFF2-40B4-BE49-F238E27FC236}">
                        <a16:creationId xmlns:a16="http://schemas.microsoft.com/office/drawing/2014/main" id="{467E0217-1E4F-93DB-7A77-11BD63A6566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307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9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6" name="Grafik 13">
                    <a:extLst>
                      <a:ext uri="{FF2B5EF4-FFF2-40B4-BE49-F238E27FC236}">
                        <a16:creationId xmlns:a16="http://schemas.microsoft.com/office/drawing/2014/main" id="{613D155F-D94F-2419-576A-A3C9A73E8EA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232" name="Grafik 13">
                  <a:extLst>
                    <a:ext uri="{FF2B5EF4-FFF2-40B4-BE49-F238E27FC236}">
                      <a16:creationId xmlns:a16="http://schemas.microsoft.com/office/drawing/2014/main" id="{B78A0C60-7104-4B25-DCA6-16A8AB2FBD7D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02"/>
                  <a:ext cx="117485" cy="65934"/>
                  <a:chOff x="5951103" y="3314202"/>
                  <a:chExt cx="117485" cy="65934"/>
                </a:xfrm>
                <a:grpFill/>
              </p:grpSpPr>
              <p:sp>
                <p:nvSpPr>
                  <p:cNvPr id="241" name="Grafik 13">
                    <a:extLst>
                      <a:ext uri="{FF2B5EF4-FFF2-40B4-BE49-F238E27FC236}">
                        <a16:creationId xmlns:a16="http://schemas.microsoft.com/office/drawing/2014/main" id="{C04FD636-D579-CB85-3493-3CCF595B877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02"/>
                    <a:ext cx="117485" cy="65934"/>
                  </a:xfrm>
                  <a:custGeom>
                    <a:avLst/>
                    <a:gdLst>
                      <a:gd name="connsiteX0" fmla="*/ 7165 w 117485"/>
                      <a:gd name="connsiteY0" fmla="*/ 65934 h 65934"/>
                      <a:gd name="connsiteX1" fmla="*/ 783 w 117485"/>
                      <a:gd name="connsiteY1" fmla="*/ 61934 h 65934"/>
                      <a:gd name="connsiteX2" fmla="*/ 4022 w 117485"/>
                      <a:gd name="connsiteY2" fmla="*/ 52313 h 65934"/>
                      <a:gd name="connsiteX3" fmla="*/ 107082 w 117485"/>
                      <a:gd name="connsiteY3" fmla="*/ 783 h 65934"/>
                      <a:gd name="connsiteX4" fmla="*/ 116702 w 117485"/>
                      <a:gd name="connsiteY4" fmla="*/ 4022 h 65934"/>
                      <a:gd name="connsiteX5" fmla="*/ 113464 w 117485"/>
                      <a:gd name="connsiteY5" fmla="*/ 13642 h 65934"/>
                      <a:gd name="connsiteX6" fmla="*/ 10403 w 117485"/>
                      <a:gd name="connsiteY6" fmla="*/ 65172 h 65934"/>
                      <a:gd name="connsiteX7" fmla="*/ 7165 w 117485"/>
                      <a:gd name="connsiteY7" fmla="*/ 65934 h 659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934">
                        <a:moveTo>
                          <a:pt x="7165" y="65934"/>
                        </a:moveTo>
                        <a:cubicBezTo>
                          <a:pt x="4498" y="65934"/>
                          <a:pt x="2021" y="64505"/>
                          <a:pt x="783" y="61934"/>
                        </a:cubicBezTo>
                        <a:cubicBezTo>
                          <a:pt x="-1027" y="58409"/>
                          <a:pt x="402" y="54123"/>
                          <a:pt x="4022" y="52313"/>
                        </a:cubicBezTo>
                        <a:lnTo>
                          <a:pt x="107082" y="783"/>
                        </a:lnTo>
                        <a:cubicBezTo>
                          <a:pt x="110606" y="-1027"/>
                          <a:pt x="114893" y="402"/>
                          <a:pt x="116702" y="4022"/>
                        </a:cubicBezTo>
                        <a:cubicBezTo>
                          <a:pt x="118512" y="7546"/>
                          <a:pt x="117083" y="11832"/>
                          <a:pt x="113464" y="13642"/>
                        </a:cubicBezTo>
                        <a:lnTo>
                          <a:pt x="10403" y="65172"/>
                        </a:lnTo>
                        <a:cubicBezTo>
                          <a:pt x="9356" y="65648"/>
                          <a:pt x="8213" y="65934"/>
                          <a:pt x="7165" y="659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2" name="Grafik 13">
                    <a:extLst>
                      <a:ext uri="{FF2B5EF4-FFF2-40B4-BE49-F238E27FC236}">
                        <a16:creationId xmlns:a16="http://schemas.microsoft.com/office/drawing/2014/main" id="{6FB28FED-020C-82C3-DCC3-292A08243F5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3" name="Grafik 13">
                    <a:extLst>
                      <a:ext uri="{FF2B5EF4-FFF2-40B4-BE49-F238E27FC236}">
                        <a16:creationId xmlns:a16="http://schemas.microsoft.com/office/drawing/2014/main" id="{DCC26B88-E7AD-63A3-4EAF-5EE658D0AC1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233" name="Grafik 13">
                  <a:extLst>
                    <a:ext uri="{FF2B5EF4-FFF2-40B4-BE49-F238E27FC236}">
                      <a16:creationId xmlns:a16="http://schemas.microsoft.com/office/drawing/2014/main" id="{D3B1172E-B9DA-9401-1649-39D542E9C1E0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238" name="Grafik 13">
                    <a:extLst>
                      <a:ext uri="{FF2B5EF4-FFF2-40B4-BE49-F238E27FC236}">
                        <a16:creationId xmlns:a16="http://schemas.microsoft.com/office/drawing/2014/main" id="{DAA579A0-E715-C987-2D7C-C5C58FDCE83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9" name="Grafik 13">
                    <a:extLst>
                      <a:ext uri="{FF2B5EF4-FFF2-40B4-BE49-F238E27FC236}">
                        <a16:creationId xmlns:a16="http://schemas.microsoft.com/office/drawing/2014/main" id="{0ED6EE0F-62C4-A753-801F-282A13A9BE8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0" name="Grafik 13">
                    <a:extLst>
                      <a:ext uri="{FF2B5EF4-FFF2-40B4-BE49-F238E27FC236}">
                        <a16:creationId xmlns:a16="http://schemas.microsoft.com/office/drawing/2014/main" id="{A87B0C81-6462-8B47-70FD-78351CB0528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234" name="Grafik 13">
                  <a:extLst>
                    <a:ext uri="{FF2B5EF4-FFF2-40B4-BE49-F238E27FC236}">
                      <a16:creationId xmlns:a16="http://schemas.microsoft.com/office/drawing/2014/main" id="{CDA8ED07-FE8E-6A0A-867F-C4FD116B3C73}"/>
                    </a:ext>
                  </a:extLst>
                </p:cNvPr>
                <p:cNvGrpSpPr/>
                <p:nvPr/>
              </p:nvGrpSpPr>
              <p:grpSpPr bwMode="gray">
                <a:xfrm>
                  <a:off x="5951162" y="3230345"/>
                  <a:ext cx="117367" cy="65779"/>
                  <a:chOff x="5951162" y="3230345"/>
                  <a:chExt cx="117367" cy="65779"/>
                </a:xfrm>
                <a:grpFill/>
              </p:grpSpPr>
              <p:sp>
                <p:nvSpPr>
                  <p:cNvPr id="235" name="Grafik 13">
                    <a:extLst>
                      <a:ext uri="{FF2B5EF4-FFF2-40B4-BE49-F238E27FC236}">
                        <a16:creationId xmlns:a16="http://schemas.microsoft.com/office/drawing/2014/main" id="{7AD8BF70-A5DE-3972-D785-48A74E8938B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62" y="3230345"/>
                    <a:ext cx="117367" cy="65779"/>
                  </a:xfrm>
                  <a:custGeom>
                    <a:avLst/>
                    <a:gdLst>
                      <a:gd name="connsiteX0" fmla="*/ 110166 w 117367"/>
                      <a:gd name="connsiteY0" fmla="*/ 65780 h 65779"/>
                      <a:gd name="connsiteX1" fmla="*/ 107023 w 117367"/>
                      <a:gd name="connsiteY1" fmla="*/ 65018 h 65779"/>
                      <a:gd name="connsiteX2" fmla="*/ 3963 w 117367"/>
                      <a:gd name="connsiteY2" fmla="*/ 13583 h 65779"/>
                      <a:gd name="connsiteX3" fmla="*/ 724 w 117367"/>
                      <a:gd name="connsiteY3" fmla="*/ 3963 h 65779"/>
                      <a:gd name="connsiteX4" fmla="*/ 10344 w 117367"/>
                      <a:gd name="connsiteY4" fmla="*/ 724 h 65779"/>
                      <a:gd name="connsiteX5" fmla="*/ 113405 w 117367"/>
                      <a:gd name="connsiteY5" fmla="*/ 52254 h 65779"/>
                      <a:gd name="connsiteX6" fmla="*/ 116644 w 117367"/>
                      <a:gd name="connsiteY6" fmla="*/ 61875 h 65779"/>
                      <a:gd name="connsiteX7" fmla="*/ 110166 w 117367"/>
                      <a:gd name="connsiteY7" fmla="*/ 65780 h 65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779">
                        <a:moveTo>
                          <a:pt x="110166" y="65780"/>
                        </a:moveTo>
                        <a:cubicBezTo>
                          <a:pt x="109119" y="65780"/>
                          <a:pt x="107976" y="65494"/>
                          <a:pt x="107023" y="65018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4" y="61875"/>
                        </a:cubicBezTo>
                        <a:cubicBezTo>
                          <a:pt x="115310" y="64351"/>
                          <a:pt x="112738" y="65780"/>
                          <a:pt x="110166" y="6578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6" name="Grafik 13">
                    <a:extLst>
                      <a:ext uri="{FF2B5EF4-FFF2-40B4-BE49-F238E27FC236}">
                        <a16:creationId xmlns:a16="http://schemas.microsoft.com/office/drawing/2014/main" id="{0F596FA2-7020-B611-F2B4-7698AD0C534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7" name="Grafik 13">
                    <a:extLst>
                      <a:ext uri="{FF2B5EF4-FFF2-40B4-BE49-F238E27FC236}">
                        <a16:creationId xmlns:a16="http://schemas.microsoft.com/office/drawing/2014/main" id="{084D6E93-FD9F-8964-F49A-9A3C0DB5FA8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83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229" name="Grafik 13">
                <a:extLst>
                  <a:ext uri="{FF2B5EF4-FFF2-40B4-BE49-F238E27FC236}">
                    <a16:creationId xmlns:a16="http://schemas.microsoft.com/office/drawing/2014/main" id="{FA0D79F6-64D4-1D3A-CD9D-976765E89089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0" name="Grafik 13">
                <a:extLst>
                  <a:ext uri="{FF2B5EF4-FFF2-40B4-BE49-F238E27FC236}">
                    <a16:creationId xmlns:a16="http://schemas.microsoft.com/office/drawing/2014/main" id="{1229F93D-8EB3-0C5B-0EB9-6E17D8A89C2A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25" name="Grafik 13">
              <a:extLst>
                <a:ext uri="{FF2B5EF4-FFF2-40B4-BE49-F238E27FC236}">
                  <a16:creationId xmlns:a16="http://schemas.microsoft.com/office/drawing/2014/main" id="{F4FC652A-B180-675E-3087-315C67265928}"/>
                </a:ext>
              </a:extLst>
            </p:cNvPr>
            <p:cNvGrpSpPr/>
            <p:nvPr/>
          </p:nvGrpSpPr>
          <p:grpSpPr bwMode="gray">
            <a:xfrm>
              <a:off x="6020561" y="3476338"/>
              <a:ext cx="143827" cy="143827"/>
              <a:chOff x="6020561" y="3476338"/>
              <a:chExt cx="143827" cy="143827"/>
            </a:xfrm>
            <a:grpFill/>
          </p:grpSpPr>
          <p:sp>
            <p:nvSpPr>
              <p:cNvPr id="226" name="Grafik 13">
                <a:extLst>
                  <a:ext uri="{FF2B5EF4-FFF2-40B4-BE49-F238E27FC236}">
                    <a16:creationId xmlns:a16="http://schemas.microsoft.com/office/drawing/2014/main" id="{B64F200C-0147-6F6F-BB58-890070FC2777}"/>
                  </a:ext>
                </a:extLst>
              </p:cNvPr>
              <p:cNvSpPr/>
              <p:nvPr/>
            </p:nvSpPr>
            <p:spPr bwMode="gray">
              <a:xfrm>
                <a:off x="6020561" y="3476338"/>
                <a:ext cx="143827" cy="79057"/>
              </a:xfrm>
              <a:custGeom>
                <a:avLst/>
                <a:gdLst>
                  <a:gd name="connsiteX0" fmla="*/ 71914 w 143827"/>
                  <a:gd name="connsiteY0" fmla="*/ 79058 h 79057"/>
                  <a:gd name="connsiteX1" fmla="*/ 0 w 143827"/>
                  <a:gd name="connsiteY1" fmla="*/ 39529 h 79057"/>
                  <a:gd name="connsiteX2" fmla="*/ 71914 w 143827"/>
                  <a:gd name="connsiteY2" fmla="*/ 0 h 79057"/>
                  <a:gd name="connsiteX3" fmla="*/ 143828 w 143827"/>
                  <a:gd name="connsiteY3" fmla="*/ 39529 h 79057"/>
                  <a:gd name="connsiteX4" fmla="*/ 71914 w 143827"/>
                  <a:gd name="connsiteY4" fmla="*/ 79058 h 79057"/>
                  <a:gd name="connsiteX5" fmla="*/ 71914 w 143827"/>
                  <a:gd name="connsiteY5" fmla="*/ 14192 h 79057"/>
                  <a:gd name="connsiteX6" fmla="*/ 14288 w 143827"/>
                  <a:gd name="connsiteY6" fmla="*/ 39434 h 79057"/>
                  <a:gd name="connsiteX7" fmla="*/ 71914 w 143827"/>
                  <a:gd name="connsiteY7" fmla="*/ 64675 h 79057"/>
                  <a:gd name="connsiteX8" fmla="*/ 129540 w 143827"/>
                  <a:gd name="connsiteY8" fmla="*/ 39434 h 79057"/>
                  <a:gd name="connsiteX9" fmla="*/ 71914 w 143827"/>
                  <a:gd name="connsiteY9" fmla="*/ 14192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3827" h="79057">
                    <a:moveTo>
                      <a:pt x="71914" y="79058"/>
                    </a:moveTo>
                    <a:cubicBezTo>
                      <a:pt x="31528" y="79058"/>
                      <a:pt x="0" y="61722"/>
                      <a:pt x="0" y="39529"/>
                    </a:cubicBezTo>
                    <a:cubicBezTo>
                      <a:pt x="0" y="17336"/>
                      <a:pt x="31623" y="0"/>
                      <a:pt x="71914" y="0"/>
                    </a:cubicBezTo>
                    <a:cubicBezTo>
                      <a:pt x="112205" y="0"/>
                      <a:pt x="143828" y="17336"/>
                      <a:pt x="143828" y="39529"/>
                    </a:cubicBezTo>
                    <a:cubicBezTo>
                      <a:pt x="143828" y="61722"/>
                      <a:pt x="112300" y="79058"/>
                      <a:pt x="71914" y="79058"/>
                    </a:cubicBezTo>
                    <a:close/>
                    <a:moveTo>
                      <a:pt x="71914" y="14192"/>
                    </a:moveTo>
                    <a:cubicBezTo>
                      <a:pt x="37909" y="14192"/>
                      <a:pt x="14288" y="27527"/>
                      <a:pt x="14288" y="39434"/>
                    </a:cubicBezTo>
                    <a:cubicBezTo>
                      <a:pt x="14288" y="51340"/>
                      <a:pt x="38005" y="64675"/>
                      <a:pt x="71914" y="64675"/>
                    </a:cubicBezTo>
                    <a:cubicBezTo>
                      <a:pt x="105823" y="64675"/>
                      <a:pt x="129540" y="51340"/>
                      <a:pt x="129540" y="39434"/>
                    </a:cubicBezTo>
                    <a:cubicBezTo>
                      <a:pt x="129540" y="27527"/>
                      <a:pt x="105918" y="14192"/>
                      <a:pt x="71914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7" name="Grafik 13">
                <a:extLst>
                  <a:ext uri="{FF2B5EF4-FFF2-40B4-BE49-F238E27FC236}">
                    <a16:creationId xmlns:a16="http://schemas.microsoft.com/office/drawing/2014/main" id="{38E1E3C4-D79F-132B-BC0C-0492AB7ECBBE}"/>
                  </a:ext>
                </a:extLst>
              </p:cNvPr>
              <p:cNvSpPr/>
              <p:nvPr/>
            </p:nvSpPr>
            <p:spPr bwMode="gray">
              <a:xfrm>
                <a:off x="6020561" y="3508723"/>
                <a:ext cx="143827" cy="111442"/>
              </a:xfrm>
              <a:custGeom>
                <a:avLst/>
                <a:gdLst>
                  <a:gd name="connsiteX0" fmla="*/ 71914 w 143827"/>
                  <a:gd name="connsiteY0" fmla="*/ 111443 h 111442"/>
                  <a:gd name="connsiteX1" fmla="*/ 0 w 143827"/>
                  <a:gd name="connsiteY1" fmla="*/ 71914 h 111442"/>
                  <a:gd name="connsiteX2" fmla="*/ 0 w 143827"/>
                  <a:gd name="connsiteY2" fmla="*/ 7144 h 111442"/>
                  <a:gd name="connsiteX3" fmla="*/ 7144 w 143827"/>
                  <a:gd name="connsiteY3" fmla="*/ 0 h 111442"/>
                  <a:gd name="connsiteX4" fmla="*/ 14288 w 143827"/>
                  <a:gd name="connsiteY4" fmla="*/ 7144 h 111442"/>
                  <a:gd name="connsiteX5" fmla="*/ 14288 w 143827"/>
                  <a:gd name="connsiteY5" fmla="*/ 71914 h 111442"/>
                  <a:gd name="connsiteX6" fmla="*/ 71914 w 143827"/>
                  <a:gd name="connsiteY6" fmla="*/ 97155 h 111442"/>
                  <a:gd name="connsiteX7" fmla="*/ 129540 w 143827"/>
                  <a:gd name="connsiteY7" fmla="*/ 71914 h 111442"/>
                  <a:gd name="connsiteX8" fmla="*/ 129540 w 143827"/>
                  <a:gd name="connsiteY8" fmla="*/ 7144 h 111442"/>
                  <a:gd name="connsiteX9" fmla="*/ 136684 w 143827"/>
                  <a:gd name="connsiteY9" fmla="*/ 0 h 111442"/>
                  <a:gd name="connsiteX10" fmla="*/ 143828 w 143827"/>
                  <a:gd name="connsiteY10" fmla="*/ 7144 h 111442"/>
                  <a:gd name="connsiteX11" fmla="*/ 143828 w 143827"/>
                  <a:gd name="connsiteY11" fmla="*/ 71914 h 111442"/>
                  <a:gd name="connsiteX12" fmla="*/ 71914 w 143827"/>
                  <a:gd name="connsiteY12" fmla="*/ 111443 h 111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43827" h="111442">
                    <a:moveTo>
                      <a:pt x="71914" y="111443"/>
                    </a:moveTo>
                    <a:cubicBezTo>
                      <a:pt x="31528" y="111443"/>
                      <a:pt x="0" y="94107"/>
                      <a:pt x="0" y="7191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71914"/>
                    </a:lnTo>
                    <a:cubicBezTo>
                      <a:pt x="14288" y="83820"/>
                      <a:pt x="38005" y="97155"/>
                      <a:pt x="71914" y="97155"/>
                    </a:cubicBezTo>
                    <a:cubicBezTo>
                      <a:pt x="105823" y="97155"/>
                      <a:pt x="129540" y="83820"/>
                      <a:pt x="129540" y="71914"/>
                    </a:cubicBezTo>
                    <a:lnTo>
                      <a:pt x="129540" y="7144"/>
                    </a:lnTo>
                    <a:cubicBezTo>
                      <a:pt x="129540" y="3239"/>
                      <a:pt x="132779" y="0"/>
                      <a:pt x="136684" y="0"/>
                    </a:cubicBezTo>
                    <a:cubicBezTo>
                      <a:pt x="140589" y="0"/>
                      <a:pt x="143828" y="3239"/>
                      <a:pt x="143828" y="7144"/>
                    </a:cubicBezTo>
                    <a:lnTo>
                      <a:pt x="143828" y="71914"/>
                    </a:lnTo>
                    <a:cubicBezTo>
                      <a:pt x="143923" y="94107"/>
                      <a:pt x="112300" y="111443"/>
                      <a:pt x="71914" y="11144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47" name="Grafik 15">
            <a:extLst>
              <a:ext uri="{FF2B5EF4-FFF2-40B4-BE49-F238E27FC236}">
                <a16:creationId xmlns:a16="http://schemas.microsoft.com/office/drawing/2014/main" id="{D50EA532-9F96-6BC1-9012-E428F8EB815B}"/>
              </a:ext>
            </a:extLst>
          </p:cNvPr>
          <p:cNvGrpSpPr/>
          <p:nvPr/>
        </p:nvGrpSpPr>
        <p:grpSpPr bwMode="gray">
          <a:xfrm>
            <a:off x="318308" y="5626849"/>
            <a:ext cx="373828" cy="373758"/>
            <a:chOff x="5843587" y="3176587"/>
            <a:chExt cx="500348" cy="500253"/>
          </a:xfrm>
          <a:solidFill>
            <a:schemeClr val="tx1"/>
          </a:solidFill>
        </p:grpSpPr>
        <p:sp>
          <p:nvSpPr>
            <p:cNvPr id="248" name="Grafik 15">
              <a:extLst>
                <a:ext uri="{FF2B5EF4-FFF2-40B4-BE49-F238E27FC236}">
                  <a16:creationId xmlns:a16="http://schemas.microsoft.com/office/drawing/2014/main" id="{B0A0A3E1-DD28-50C6-C21E-E5E589EA7A3B}"/>
                </a:ext>
              </a:extLst>
            </p:cNvPr>
            <p:cNvSpPr/>
            <p:nvPr/>
          </p:nvSpPr>
          <p:spPr bwMode="gray">
            <a:xfrm>
              <a:off x="5843610" y="3176587"/>
              <a:ext cx="500205" cy="257270"/>
            </a:xfrm>
            <a:custGeom>
              <a:avLst/>
              <a:gdLst>
                <a:gd name="connsiteX0" fmla="*/ 371642 w 500205"/>
                <a:gd name="connsiteY0" fmla="*/ 257270 h 257270"/>
                <a:gd name="connsiteX1" fmla="*/ 128659 w 500205"/>
                <a:gd name="connsiteY1" fmla="*/ 257270 h 257270"/>
                <a:gd name="connsiteX2" fmla="*/ 123611 w 500205"/>
                <a:gd name="connsiteY2" fmla="*/ 255175 h 257270"/>
                <a:gd name="connsiteX3" fmla="*/ 2072 w 500205"/>
                <a:gd name="connsiteY3" fmla="*/ 133731 h 257270"/>
                <a:gd name="connsiteX4" fmla="*/ 2072 w 500205"/>
                <a:gd name="connsiteY4" fmla="*/ 123634 h 257270"/>
                <a:gd name="connsiteX5" fmla="*/ 123611 w 500205"/>
                <a:gd name="connsiteY5" fmla="*/ 2096 h 257270"/>
                <a:gd name="connsiteX6" fmla="*/ 128659 w 500205"/>
                <a:gd name="connsiteY6" fmla="*/ 0 h 257270"/>
                <a:gd name="connsiteX7" fmla="*/ 371642 w 500205"/>
                <a:gd name="connsiteY7" fmla="*/ 0 h 257270"/>
                <a:gd name="connsiteX8" fmla="*/ 376690 w 500205"/>
                <a:gd name="connsiteY8" fmla="*/ 2096 h 257270"/>
                <a:gd name="connsiteX9" fmla="*/ 498134 w 500205"/>
                <a:gd name="connsiteY9" fmla="*/ 123634 h 257270"/>
                <a:gd name="connsiteX10" fmla="*/ 498134 w 500205"/>
                <a:gd name="connsiteY10" fmla="*/ 133731 h 257270"/>
                <a:gd name="connsiteX11" fmla="*/ 376690 w 500205"/>
                <a:gd name="connsiteY11" fmla="*/ 255175 h 257270"/>
                <a:gd name="connsiteX12" fmla="*/ 371642 w 500205"/>
                <a:gd name="connsiteY12" fmla="*/ 257270 h 257270"/>
                <a:gd name="connsiteX13" fmla="*/ 131612 w 500205"/>
                <a:gd name="connsiteY13" fmla="*/ 242983 h 257270"/>
                <a:gd name="connsiteX14" fmla="*/ 368689 w 500205"/>
                <a:gd name="connsiteY14" fmla="*/ 242983 h 257270"/>
                <a:gd name="connsiteX15" fmla="*/ 483084 w 500205"/>
                <a:gd name="connsiteY15" fmla="*/ 128588 h 257270"/>
                <a:gd name="connsiteX16" fmla="*/ 368689 w 500205"/>
                <a:gd name="connsiteY16" fmla="*/ 14288 h 257270"/>
                <a:gd name="connsiteX17" fmla="*/ 131612 w 500205"/>
                <a:gd name="connsiteY17" fmla="*/ 14288 h 257270"/>
                <a:gd name="connsiteX18" fmla="*/ 17216 w 500205"/>
                <a:gd name="connsiteY18" fmla="*/ 128683 h 257270"/>
                <a:gd name="connsiteX19" fmla="*/ 131612 w 500205"/>
                <a:gd name="connsiteY19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00205" h="257270">
                  <a:moveTo>
                    <a:pt x="371642" y="257270"/>
                  </a:moveTo>
                  <a:lnTo>
                    <a:pt x="128659" y="257270"/>
                  </a:lnTo>
                  <a:cubicBezTo>
                    <a:pt x="126754" y="257270"/>
                    <a:pt x="124944" y="256508"/>
                    <a:pt x="123611" y="255175"/>
                  </a:cubicBezTo>
                  <a:lnTo>
                    <a:pt x="2072" y="133731"/>
                  </a:lnTo>
                  <a:cubicBezTo>
                    <a:pt x="-691" y="130969"/>
                    <a:pt x="-691" y="126397"/>
                    <a:pt x="2072" y="123634"/>
                  </a:cubicBezTo>
                  <a:lnTo>
                    <a:pt x="123611" y="2096"/>
                  </a:lnTo>
                  <a:cubicBezTo>
                    <a:pt x="124944" y="762"/>
                    <a:pt x="126754" y="0"/>
                    <a:pt x="128659" y="0"/>
                  </a:cubicBezTo>
                  <a:lnTo>
                    <a:pt x="371642" y="0"/>
                  </a:lnTo>
                  <a:cubicBezTo>
                    <a:pt x="373547" y="0"/>
                    <a:pt x="375356" y="762"/>
                    <a:pt x="376690" y="2096"/>
                  </a:cubicBezTo>
                  <a:lnTo>
                    <a:pt x="498134" y="123634"/>
                  </a:lnTo>
                  <a:cubicBezTo>
                    <a:pt x="500896" y="126397"/>
                    <a:pt x="500896" y="130969"/>
                    <a:pt x="498134" y="133731"/>
                  </a:cubicBezTo>
                  <a:lnTo>
                    <a:pt x="376690" y="255175"/>
                  </a:lnTo>
                  <a:cubicBezTo>
                    <a:pt x="375356" y="256508"/>
                    <a:pt x="373547" y="257270"/>
                    <a:pt x="371642" y="257270"/>
                  </a:cubicBezTo>
                  <a:close/>
                  <a:moveTo>
                    <a:pt x="131612" y="242983"/>
                  </a:moveTo>
                  <a:lnTo>
                    <a:pt x="368689" y="242983"/>
                  </a:lnTo>
                  <a:lnTo>
                    <a:pt x="483084" y="128588"/>
                  </a:lnTo>
                  <a:lnTo>
                    <a:pt x="368689" y="14288"/>
                  </a:lnTo>
                  <a:lnTo>
                    <a:pt x="131612" y="14288"/>
                  </a:lnTo>
                  <a:lnTo>
                    <a:pt x="17216" y="128683"/>
                  </a:lnTo>
                  <a:lnTo>
                    <a:pt x="131612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9" name="Grafik 15">
              <a:extLst>
                <a:ext uri="{FF2B5EF4-FFF2-40B4-BE49-F238E27FC236}">
                  <a16:creationId xmlns:a16="http://schemas.microsoft.com/office/drawing/2014/main" id="{99C4E7BB-6E5C-3DD6-E9AC-06A4A17EB228}"/>
                </a:ext>
              </a:extLst>
            </p:cNvPr>
            <p:cNvSpPr/>
            <p:nvPr/>
          </p:nvSpPr>
          <p:spPr bwMode="gray">
            <a:xfrm>
              <a:off x="5843587" y="3298126"/>
              <a:ext cx="500348" cy="378714"/>
            </a:xfrm>
            <a:custGeom>
              <a:avLst/>
              <a:gdLst>
                <a:gd name="connsiteX0" fmla="*/ 371666 w 500348"/>
                <a:gd name="connsiteY0" fmla="*/ 378714 h 378714"/>
                <a:gd name="connsiteX1" fmla="*/ 128683 w 500348"/>
                <a:gd name="connsiteY1" fmla="*/ 378714 h 378714"/>
                <a:gd name="connsiteX2" fmla="*/ 123634 w 500348"/>
                <a:gd name="connsiteY2" fmla="*/ 376619 h 378714"/>
                <a:gd name="connsiteX3" fmla="*/ 2096 w 500348"/>
                <a:gd name="connsiteY3" fmla="*/ 255175 h 378714"/>
                <a:gd name="connsiteX4" fmla="*/ 0 w 500348"/>
                <a:gd name="connsiteY4" fmla="*/ 250127 h 378714"/>
                <a:gd name="connsiteX5" fmla="*/ 0 w 500348"/>
                <a:gd name="connsiteY5" fmla="*/ 7144 h 378714"/>
                <a:gd name="connsiteX6" fmla="*/ 7144 w 500348"/>
                <a:gd name="connsiteY6" fmla="*/ 0 h 378714"/>
                <a:gd name="connsiteX7" fmla="*/ 14288 w 500348"/>
                <a:gd name="connsiteY7" fmla="*/ 7144 h 378714"/>
                <a:gd name="connsiteX8" fmla="*/ 14288 w 500348"/>
                <a:gd name="connsiteY8" fmla="*/ 247174 h 378714"/>
                <a:gd name="connsiteX9" fmla="*/ 131636 w 500348"/>
                <a:gd name="connsiteY9" fmla="*/ 364522 h 378714"/>
                <a:gd name="connsiteX10" fmla="*/ 368713 w 500348"/>
                <a:gd name="connsiteY10" fmla="*/ 364522 h 378714"/>
                <a:gd name="connsiteX11" fmla="*/ 486061 w 500348"/>
                <a:gd name="connsiteY11" fmla="*/ 247174 h 378714"/>
                <a:gd name="connsiteX12" fmla="*/ 486061 w 500348"/>
                <a:gd name="connsiteY12" fmla="*/ 7144 h 378714"/>
                <a:gd name="connsiteX13" fmla="*/ 493205 w 500348"/>
                <a:gd name="connsiteY13" fmla="*/ 0 h 378714"/>
                <a:gd name="connsiteX14" fmla="*/ 500348 w 500348"/>
                <a:gd name="connsiteY14" fmla="*/ 7144 h 378714"/>
                <a:gd name="connsiteX15" fmla="*/ 500348 w 500348"/>
                <a:gd name="connsiteY15" fmla="*/ 250127 h 378714"/>
                <a:gd name="connsiteX16" fmla="*/ 498253 w 500348"/>
                <a:gd name="connsiteY16" fmla="*/ 255175 h 378714"/>
                <a:gd name="connsiteX17" fmla="*/ 376714 w 500348"/>
                <a:gd name="connsiteY17" fmla="*/ 376619 h 378714"/>
                <a:gd name="connsiteX18" fmla="*/ 371666 w 500348"/>
                <a:gd name="connsiteY18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00348" h="378714">
                  <a:moveTo>
                    <a:pt x="371666" y="378714"/>
                  </a:moveTo>
                  <a:lnTo>
                    <a:pt x="128683" y="378714"/>
                  </a:lnTo>
                  <a:cubicBezTo>
                    <a:pt x="126778" y="378714"/>
                    <a:pt x="124968" y="377952"/>
                    <a:pt x="123634" y="376619"/>
                  </a:cubicBezTo>
                  <a:lnTo>
                    <a:pt x="2096" y="255175"/>
                  </a:lnTo>
                  <a:cubicBezTo>
                    <a:pt x="762" y="253841"/>
                    <a:pt x="0" y="252032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47174"/>
                  </a:lnTo>
                  <a:lnTo>
                    <a:pt x="131636" y="364522"/>
                  </a:lnTo>
                  <a:lnTo>
                    <a:pt x="368713" y="364522"/>
                  </a:lnTo>
                  <a:lnTo>
                    <a:pt x="486061" y="247174"/>
                  </a:lnTo>
                  <a:lnTo>
                    <a:pt x="486061" y="7144"/>
                  </a:lnTo>
                  <a:cubicBezTo>
                    <a:pt x="486061" y="3239"/>
                    <a:pt x="489299" y="0"/>
                    <a:pt x="493205" y="0"/>
                  </a:cubicBezTo>
                  <a:cubicBezTo>
                    <a:pt x="497110" y="0"/>
                    <a:pt x="500348" y="3239"/>
                    <a:pt x="500348" y="7144"/>
                  </a:cubicBezTo>
                  <a:lnTo>
                    <a:pt x="500348" y="250127"/>
                  </a:lnTo>
                  <a:cubicBezTo>
                    <a:pt x="500348" y="252032"/>
                    <a:pt x="499586" y="253841"/>
                    <a:pt x="498253" y="255175"/>
                  </a:cubicBezTo>
                  <a:lnTo>
                    <a:pt x="376714" y="376619"/>
                  </a:lnTo>
                  <a:cubicBezTo>
                    <a:pt x="375380" y="377952"/>
                    <a:pt x="373571" y="378714"/>
                    <a:pt x="371666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250" name="Grafik 15">
              <a:extLst>
                <a:ext uri="{FF2B5EF4-FFF2-40B4-BE49-F238E27FC236}">
                  <a16:creationId xmlns:a16="http://schemas.microsoft.com/office/drawing/2014/main" id="{49F38EF6-AD0A-B10D-2B94-0E5623B46653}"/>
                </a:ext>
              </a:extLst>
            </p:cNvPr>
            <p:cNvGrpSpPr/>
            <p:nvPr/>
          </p:nvGrpSpPr>
          <p:grpSpPr bwMode="gray">
            <a:xfrm>
              <a:off x="5951066" y="3230191"/>
              <a:ext cx="285352" cy="149944"/>
              <a:chOff x="5951066" y="3230191"/>
              <a:chExt cx="285352" cy="149944"/>
            </a:xfrm>
            <a:grpFill/>
          </p:grpSpPr>
          <p:grpSp>
            <p:nvGrpSpPr>
              <p:cNvPr id="251" name="Grafik 15">
                <a:extLst>
                  <a:ext uri="{FF2B5EF4-FFF2-40B4-BE49-F238E27FC236}">
                    <a16:creationId xmlns:a16="http://schemas.microsoft.com/office/drawing/2014/main" id="{E26842C1-4034-B06F-C280-CF5ED8D1981D}"/>
                  </a:ext>
                </a:extLst>
              </p:cNvPr>
              <p:cNvGrpSpPr/>
              <p:nvPr/>
            </p:nvGrpSpPr>
            <p:grpSpPr bwMode="gray">
              <a:xfrm>
                <a:off x="6118933" y="3230191"/>
                <a:ext cx="117485" cy="65934"/>
                <a:chOff x="6118933" y="3230191"/>
                <a:chExt cx="117485" cy="65934"/>
              </a:xfrm>
              <a:grpFill/>
            </p:grpSpPr>
            <p:sp>
              <p:nvSpPr>
                <p:cNvPr id="264" name="Grafik 15">
                  <a:extLst>
                    <a:ext uri="{FF2B5EF4-FFF2-40B4-BE49-F238E27FC236}">
                      <a16:creationId xmlns:a16="http://schemas.microsoft.com/office/drawing/2014/main" id="{2F2F4F21-B107-145A-3298-8AA50FFA12CB}"/>
                    </a:ext>
                  </a:extLst>
                </p:cNvPr>
                <p:cNvSpPr/>
                <p:nvPr/>
              </p:nvSpPr>
              <p:spPr bwMode="gray">
                <a:xfrm>
                  <a:off x="6118933" y="3230191"/>
                  <a:ext cx="117485" cy="65934"/>
                </a:xfrm>
                <a:custGeom>
                  <a:avLst/>
                  <a:gdLst>
                    <a:gd name="connsiteX0" fmla="*/ 7165 w 117485"/>
                    <a:gd name="connsiteY0" fmla="*/ 65934 h 65934"/>
                    <a:gd name="connsiteX1" fmla="*/ 783 w 117485"/>
                    <a:gd name="connsiteY1" fmla="*/ 61934 h 65934"/>
                    <a:gd name="connsiteX2" fmla="*/ 4022 w 117485"/>
                    <a:gd name="connsiteY2" fmla="*/ 52313 h 65934"/>
                    <a:gd name="connsiteX3" fmla="*/ 107082 w 117485"/>
                    <a:gd name="connsiteY3" fmla="*/ 783 h 65934"/>
                    <a:gd name="connsiteX4" fmla="*/ 116702 w 117485"/>
                    <a:gd name="connsiteY4" fmla="*/ 4022 h 65934"/>
                    <a:gd name="connsiteX5" fmla="*/ 113464 w 117485"/>
                    <a:gd name="connsiteY5" fmla="*/ 13642 h 65934"/>
                    <a:gd name="connsiteX6" fmla="*/ 10403 w 117485"/>
                    <a:gd name="connsiteY6" fmla="*/ 65267 h 65934"/>
                    <a:gd name="connsiteX7" fmla="*/ 7165 w 117485"/>
                    <a:gd name="connsiteY7" fmla="*/ 65934 h 659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934">
                      <a:moveTo>
                        <a:pt x="7165" y="65934"/>
                      </a:moveTo>
                      <a:cubicBezTo>
                        <a:pt x="4498" y="65934"/>
                        <a:pt x="2021" y="64505"/>
                        <a:pt x="783" y="61934"/>
                      </a:cubicBezTo>
                      <a:cubicBezTo>
                        <a:pt x="-1027" y="58409"/>
                        <a:pt x="402" y="54123"/>
                        <a:pt x="4022" y="52313"/>
                      </a:cubicBezTo>
                      <a:lnTo>
                        <a:pt x="107082" y="783"/>
                      </a:lnTo>
                      <a:cubicBezTo>
                        <a:pt x="110606" y="-1027"/>
                        <a:pt x="114893" y="402"/>
                        <a:pt x="116702" y="4022"/>
                      </a:cubicBezTo>
                      <a:cubicBezTo>
                        <a:pt x="118512" y="7546"/>
                        <a:pt x="117083" y="11832"/>
                        <a:pt x="113464" y="13642"/>
                      </a:cubicBezTo>
                      <a:lnTo>
                        <a:pt x="10403" y="65267"/>
                      </a:lnTo>
                      <a:cubicBezTo>
                        <a:pt x="9356" y="65744"/>
                        <a:pt x="8308" y="65934"/>
                        <a:pt x="7165" y="659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5" name="Grafik 15">
                  <a:extLst>
                    <a:ext uri="{FF2B5EF4-FFF2-40B4-BE49-F238E27FC236}">
                      <a16:creationId xmlns:a16="http://schemas.microsoft.com/office/drawing/2014/main" id="{6028A65C-8B24-DADB-EDA0-4BA5E18C9DE2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6" name="Grafik 15">
                  <a:extLst>
                    <a:ext uri="{FF2B5EF4-FFF2-40B4-BE49-F238E27FC236}">
                      <a16:creationId xmlns:a16="http://schemas.microsoft.com/office/drawing/2014/main" id="{FF5901F7-6362-A418-1C6B-46654896D414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52" name="Grafik 15">
                <a:extLst>
                  <a:ext uri="{FF2B5EF4-FFF2-40B4-BE49-F238E27FC236}">
                    <a16:creationId xmlns:a16="http://schemas.microsoft.com/office/drawing/2014/main" id="{CB950300-69EF-9F28-5C86-69F9D19C5AD9}"/>
                  </a:ext>
                </a:extLst>
              </p:cNvPr>
              <p:cNvGrpSpPr/>
              <p:nvPr/>
            </p:nvGrpSpPr>
            <p:grpSpPr bwMode="gray">
              <a:xfrm>
                <a:off x="5951103" y="3314202"/>
                <a:ext cx="117485" cy="65934"/>
                <a:chOff x="5951103" y="3314202"/>
                <a:chExt cx="117485" cy="65934"/>
              </a:xfrm>
              <a:grpFill/>
            </p:grpSpPr>
            <p:sp>
              <p:nvSpPr>
                <p:cNvPr id="261" name="Grafik 15">
                  <a:extLst>
                    <a:ext uri="{FF2B5EF4-FFF2-40B4-BE49-F238E27FC236}">
                      <a16:creationId xmlns:a16="http://schemas.microsoft.com/office/drawing/2014/main" id="{A0229351-A37C-425A-DB37-1EF8E65F95F3}"/>
                    </a:ext>
                  </a:extLst>
                </p:cNvPr>
                <p:cNvSpPr/>
                <p:nvPr/>
              </p:nvSpPr>
              <p:spPr bwMode="gray">
                <a:xfrm>
                  <a:off x="5951103" y="3314202"/>
                  <a:ext cx="117485" cy="65934"/>
                </a:xfrm>
                <a:custGeom>
                  <a:avLst/>
                  <a:gdLst>
                    <a:gd name="connsiteX0" fmla="*/ 7165 w 117485"/>
                    <a:gd name="connsiteY0" fmla="*/ 65934 h 65934"/>
                    <a:gd name="connsiteX1" fmla="*/ 783 w 117485"/>
                    <a:gd name="connsiteY1" fmla="*/ 61934 h 65934"/>
                    <a:gd name="connsiteX2" fmla="*/ 4022 w 117485"/>
                    <a:gd name="connsiteY2" fmla="*/ 52313 h 65934"/>
                    <a:gd name="connsiteX3" fmla="*/ 107082 w 117485"/>
                    <a:gd name="connsiteY3" fmla="*/ 783 h 65934"/>
                    <a:gd name="connsiteX4" fmla="*/ 116702 w 117485"/>
                    <a:gd name="connsiteY4" fmla="*/ 4022 h 65934"/>
                    <a:gd name="connsiteX5" fmla="*/ 113464 w 117485"/>
                    <a:gd name="connsiteY5" fmla="*/ 13642 h 65934"/>
                    <a:gd name="connsiteX6" fmla="*/ 10403 w 117485"/>
                    <a:gd name="connsiteY6" fmla="*/ 65172 h 65934"/>
                    <a:gd name="connsiteX7" fmla="*/ 7165 w 117485"/>
                    <a:gd name="connsiteY7" fmla="*/ 65934 h 659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934">
                      <a:moveTo>
                        <a:pt x="7165" y="65934"/>
                      </a:moveTo>
                      <a:cubicBezTo>
                        <a:pt x="4498" y="65934"/>
                        <a:pt x="2021" y="64505"/>
                        <a:pt x="783" y="61934"/>
                      </a:cubicBezTo>
                      <a:cubicBezTo>
                        <a:pt x="-1027" y="58409"/>
                        <a:pt x="402" y="54123"/>
                        <a:pt x="4022" y="52313"/>
                      </a:cubicBezTo>
                      <a:lnTo>
                        <a:pt x="107082" y="783"/>
                      </a:lnTo>
                      <a:cubicBezTo>
                        <a:pt x="110606" y="-1027"/>
                        <a:pt x="114893" y="402"/>
                        <a:pt x="116702" y="4022"/>
                      </a:cubicBezTo>
                      <a:cubicBezTo>
                        <a:pt x="118512" y="7546"/>
                        <a:pt x="117083" y="11832"/>
                        <a:pt x="113464" y="13642"/>
                      </a:cubicBezTo>
                      <a:lnTo>
                        <a:pt x="10403" y="65172"/>
                      </a:lnTo>
                      <a:cubicBezTo>
                        <a:pt x="9356" y="65648"/>
                        <a:pt x="8213" y="65934"/>
                        <a:pt x="7165" y="659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2" name="Grafik 15">
                  <a:extLst>
                    <a:ext uri="{FF2B5EF4-FFF2-40B4-BE49-F238E27FC236}">
                      <a16:creationId xmlns:a16="http://schemas.microsoft.com/office/drawing/2014/main" id="{22C6D4DC-AEFC-E8A6-6ED1-8B8317D922D9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3" name="Grafik 15">
                  <a:extLst>
                    <a:ext uri="{FF2B5EF4-FFF2-40B4-BE49-F238E27FC236}">
                      <a16:creationId xmlns:a16="http://schemas.microsoft.com/office/drawing/2014/main" id="{01B0B88D-AB3E-5466-5259-5A32CD088CD2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53" name="Grafik 15">
                <a:extLst>
                  <a:ext uri="{FF2B5EF4-FFF2-40B4-BE49-F238E27FC236}">
                    <a16:creationId xmlns:a16="http://schemas.microsoft.com/office/drawing/2014/main" id="{DA2FA858-4B63-D7B4-113F-47D7F9120409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258" name="Grafik 15">
                  <a:extLst>
                    <a:ext uri="{FF2B5EF4-FFF2-40B4-BE49-F238E27FC236}">
                      <a16:creationId xmlns:a16="http://schemas.microsoft.com/office/drawing/2014/main" id="{3CE202F5-C1CE-51CB-AD3B-AA2453579467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59" name="Grafik 15">
                  <a:extLst>
                    <a:ext uri="{FF2B5EF4-FFF2-40B4-BE49-F238E27FC236}">
                      <a16:creationId xmlns:a16="http://schemas.microsoft.com/office/drawing/2014/main" id="{14D8C95C-333F-981F-C43F-503E092045F8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0" name="Grafik 15">
                  <a:extLst>
                    <a:ext uri="{FF2B5EF4-FFF2-40B4-BE49-F238E27FC236}">
                      <a16:creationId xmlns:a16="http://schemas.microsoft.com/office/drawing/2014/main" id="{34F60EE6-E32E-5062-7B40-F704FF67EA75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54" name="Grafik 15">
                <a:extLst>
                  <a:ext uri="{FF2B5EF4-FFF2-40B4-BE49-F238E27FC236}">
                    <a16:creationId xmlns:a16="http://schemas.microsoft.com/office/drawing/2014/main" id="{9158CD4A-E421-FB48-85D9-6F694BEE382F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255" name="Grafik 15">
                  <a:extLst>
                    <a:ext uri="{FF2B5EF4-FFF2-40B4-BE49-F238E27FC236}">
                      <a16:creationId xmlns:a16="http://schemas.microsoft.com/office/drawing/2014/main" id="{FBAFC22A-8D04-88A7-0DC4-9266D3BFE87F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56" name="Grafik 15">
                  <a:extLst>
                    <a:ext uri="{FF2B5EF4-FFF2-40B4-BE49-F238E27FC236}">
                      <a16:creationId xmlns:a16="http://schemas.microsoft.com/office/drawing/2014/main" id="{1EA7572D-2479-AF72-46A2-54AF47DDC71D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57" name="Grafik 15">
                  <a:extLst>
                    <a:ext uri="{FF2B5EF4-FFF2-40B4-BE49-F238E27FC236}">
                      <a16:creationId xmlns:a16="http://schemas.microsoft.com/office/drawing/2014/main" id="{089B8A0F-91A1-889C-55EB-B6789712BC0F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sp>
        <p:nvSpPr>
          <p:cNvPr id="267" name="Rectangle 266">
            <a:extLst>
              <a:ext uri="{FF2B5EF4-FFF2-40B4-BE49-F238E27FC236}">
                <a16:creationId xmlns:a16="http://schemas.microsoft.com/office/drawing/2014/main" id="{7FC31E93-BE6E-1B97-F103-3916DF069C4E}"/>
              </a:ext>
            </a:extLst>
          </p:cNvPr>
          <p:cNvSpPr/>
          <p:nvPr/>
        </p:nvSpPr>
        <p:spPr>
          <a:xfrm>
            <a:off x="2724270" y="850740"/>
            <a:ext cx="1975315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Ethernet/IP Switches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68" name="Text Box 55">
            <a:extLst>
              <a:ext uri="{FF2B5EF4-FFF2-40B4-BE49-F238E27FC236}">
                <a16:creationId xmlns:a16="http://schemas.microsoft.com/office/drawing/2014/main" id="{7B686491-9501-7D4E-3DB0-7515BB8E8B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1366838"/>
            <a:ext cx="46006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Switch</a:t>
            </a:r>
          </a:p>
        </p:txBody>
      </p:sp>
      <p:sp>
        <p:nvSpPr>
          <p:cNvPr id="269" name="Text Box 56">
            <a:extLst>
              <a:ext uri="{FF2B5EF4-FFF2-40B4-BE49-F238E27FC236}">
                <a16:creationId xmlns:a16="http://schemas.microsoft.com/office/drawing/2014/main" id="{E3BB2D27-79DB-1519-9A4D-37555C0C0CA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1912938"/>
            <a:ext cx="981038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Secure Switch</a:t>
            </a:r>
          </a:p>
        </p:txBody>
      </p:sp>
      <p:sp>
        <p:nvSpPr>
          <p:cNvPr id="270" name="Text Box 57">
            <a:extLst>
              <a:ext uri="{FF2B5EF4-FFF2-40B4-BE49-F238E27FC236}">
                <a16:creationId xmlns:a16="http://schemas.microsoft.com/office/drawing/2014/main" id="{12BD400C-BB5B-53BC-50C6-75D2E486B16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2459038"/>
            <a:ext cx="97417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IP DSL Switch</a:t>
            </a:r>
          </a:p>
        </p:txBody>
      </p:sp>
      <p:sp>
        <p:nvSpPr>
          <p:cNvPr id="271" name="Text Box 58">
            <a:extLst>
              <a:ext uri="{FF2B5EF4-FFF2-40B4-BE49-F238E27FC236}">
                <a16:creationId xmlns:a16="http://schemas.microsoft.com/office/drawing/2014/main" id="{4176FDED-522B-5A19-CF97-8A892A824CC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3005138"/>
            <a:ext cx="82875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TDM Switch</a:t>
            </a:r>
          </a:p>
        </p:txBody>
      </p:sp>
      <p:sp>
        <p:nvSpPr>
          <p:cNvPr id="272" name="Text Box 59">
            <a:extLst>
              <a:ext uri="{FF2B5EF4-FFF2-40B4-BE49-F238E27FC236}">
                <a16:creationId xmlns:a16="http://schemas.microsoft.com/office/drawing/2014/main" id="{5FE0D00E-76B0-3F6D-A63B-E0005BA06BD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3551238"/>
            <a:ext cx="103233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Content Switch</a:t>
            </a:r>
          </a:p>
        </p:txBody>
      </p:sp>
      <p:grpSp>
        <p:nvGrpSpPr>
          <p:cNvPr id="273" name="Grafik 17">
            <a:extLst>
              <a:ext uri="{FF2B5EF4-FFF2-40B4-BE49-F238E27FC236}">
                <a16:creationId xmlns:a16="http://schemas.microsoft.com/office/drawing/2014/main" id="{0AFE0030-7D0E-FF85-724F-A566E3EAC562}"/>
              </a:ext>
            </a:extLst>
          </p:cNvPr>
          <p:cNvGrpSpPr/>
          <p:nvPr/>
        </p:nvGrpSpPr>
        <p:grpSpPr bwMode="gray">
          <a:xfrm>
            <a:off x="2724271" y="133320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274" name="Grafik 17">
              <a:extLst>
                <a:ext uri="{FF2B5EF4-FFF2-40B4-BE49-F238E27FC236}">
                  <a16:creationId xmlns:a16="http://schemas.microsoft.com/office/drawing/2014/main" id="{0A445BFD-1F14-B1BF-4F66-822F98015584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5" name="Grafik 17">
              <a:extLst>
                <a:ext uri="{FF2B5EF4-FFF2-40B4-BE49-F238E27FC236}">
                  <a16:creationId xmlns:a16="http://schemas.microsoft.com/office/drawing/2014/main" id="{11F3D68E-172A-57DA-1443-454425222EC1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276" name="Grafik 17">
              <a:extLst>
                <a:ext uri="{FF2B5EF4-FFF2-40B4-BE49-F238E27FC236}">
                  <a16:creationId xmlns:a16="http://schemas.microsoft.com/office/drawing/2014/main" id="{011F0D19-7F51-3B3E-9CB9-556E708AAE67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277" name="Grafik 17">
                <a:extLst>
                  <a:ext uri="{FF2B5EF4-FFF2-40B4-BE49-F238E27FC236}">
                    <a16:creationId xmlns:a16="http://schemas.microsoft.com/office/drawing/2014/main" id="{DFD0A010-A394-EF8A-365C-0BF224E5A65A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290" name="Grafik 17">
                  <a:extLst>
                    <a:ext uri="{FF2B5EF4-FFF2-40B4-BE49-F238E27FC236}">
                      <a16:creationId xmlns:a16="http://schemas.microsoft.com/office/drawing/2014/main" id="{38E0D904-27AB-0161-6703-052AED57020E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1" name="Grafik 17">
                  <a:extLst>
                    <a:ext uri="{FF2B5EF4-FFF2-40B4-BE49-F238E27FC236}">
                      <a16:creationId xmlns:a16="http://schemas.microsoft.com/office/drawing/2014/main" id="{11A64F9C-3E5B-55E5-4B1E-3BE12255B3DB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2" name="Grafik 17">
                  <a:extLst>
                    <a:ext uri="{FF2B5EF4-FFF2-40B4-BE49-F238E27FC236}">
                      <a16:creationId xmlns:a16="http://schemas.microsoft.com/office/drawing/2014/main" id="{8EAC86A9-E9A3-A231-B8B0-E42F8574C2F4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8" name="Grafik 17">
                <a:extLst>
                  <a:ext uri="{FF2B5EF4-FFF2-40B4-BE49-F238E27FC236}">
                    <a16:creationId xmlns:a16="http://schemas.microsoft.com/office/drawing/2014/main" id="{AF866316-EF70-C995-DBDF-AB7A8BD5C1C8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287" name="Grafik 17">
                  <a:extLst>
                    <a:ext uri="{FF2B5EF4-FFF2-40B4-BE49-F238E27FC236}">
                      <a16:creationId xmlns:a16="http://schemas.microsoft.com/office/drawing/2014/main" id="{1CA5F988-D66F-A1DA-0BE1-1231E0BC6D59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8" name="Grafik 17">
                  <a:extLst>
                    <a:ext uri="{FF2B5EF4-FFF2-40B4-BE49-F238E27FC236}">
                      <a16:creationId xmlns:a16="http://schemas.microsoft.com/office/drawing/2014/main" id="{534DBC06-DCE2-5548-24FD-095EC16973B6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9" name="Grafik 17">
                  <a:extLst>
                    <a:ext uri="{FF2B5EF4-FFF2-40B4-BE49-F238E27FC236}">
                      <a16:creationId xmlns:a16="http://schemas.microsoft.com/office/drawing/2014/main" id="{A498AA7E-6E42-EB09-C91F-3398F4675A1A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9" name="Grafik 17">
                <a:extLst>
                  <a:ext uri="{FF2B5EF4-FFF2-40B4-BE49-F238E27FC236}">
                    <a16:creationId xmlns:a16="http://schemas.microsoft.com/office/drawing/2014/main" id="{E8626F60-0D5D-0710-7E99-CD3C811CDB89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284" name="Grafik 17">
                  <a:extLst>
                    <a:ext uri="{FF2B5EF4-FFF2-40B4-BE49-F238E27FC236}">
                      <a16:creationId xmlns:a16="http://schemas.microsoft.com/office/drawing/2014/main" id="{031F5983-53BA-13A9-E7E4-D76C5BEB166C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5" name="Grafik 17">
                  <a:extLst>
                    <a:ext uri="{FF2B5EF4-FFF2-40B4-BE49-F238E27FC236}">
                      <a16:creationId xmlns:a16="http://schemas.microsoft.com/office/drawing/2014/main" id="{35082713-1605-8919-C902-126DBB11B12F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6" name="Grafik 17">
                  <a:extLst>
                    <a:ext uri="{FF2B5EF4-FFF2-40B4-BE49-F238E27FC236}">
                      <a16:creationId xmlns:a16="http://schemas.microsoft.com/office/drawing/2014/main" id="{B967316A-2EA0-3CD9-1A00-B358E195022D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80" name="Grafik 17">
                <a:extLst>
                  <a:ext uri="{FF2B5EF4-FFF2-40B4-BE49-F238E27FC236}">
                    <a16:creationId xmlns:a16="http://schemas.microsoft.com/office/drawing/2014/main" id="{74B47F50-67CD-0B93-7052-11EAE16790BA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281" name="Grafik 17">
                  <a:extLst>
                    <a:ext uri="{FF2B5EF4-FFF2-40B4-BE49-F238E27FC236}">
                      <a16:creationId xmlns:a16="http://schemas.microsoft.com/office/drawing/2014/main" id="{CC48E80A-BDBB-1068-DA2D-E5AA38C3D03A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2" name="Grafik 17">
                  <a:extLst>
                    <a:ext uri="{FF2B5EF4-FFF2-40B4-BE49-F238E27FC236}">
                      <a16:creationId xmlns:a16="http://schemas.microsoft.com/office/drawing/2014/main" id="{AEDF5F21-6114-A0F0-5C5E-8253622B8D53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3" name="Grafik 17">
                  <a:extLst>
                    <a:ext uri="{FF2B5EF4-FFF2-40B4-BE49-F238E27FC236}">
                      <a16:creationId xmlns:a16="http://schemas.microsoft.com/office/drawing/2014/main" id="{91E40128-3565-36CA-9004-1874EEACAF08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293" name="Grafik 19">
            <a:extLst>
              <a:ext uri="{FF2B5EF4-FFF2-40B4-BE49-F238E27FC236}">
                <a16:creationId xmlns:a16="http://schemas.microsoft.com/office/drawing/2014/main" id="{B3E77AEF-7B38-1225-041A-0D784403B4D1}"/>
              </a:ext>
            </a:extLst>
          </p:cNvPr>
          <p:cNvGrpSpPr/>
          <p:nvPr/>
        </p:nvGrpSpPr>
        <p:grpSpPr bwMode="gray">
          <a:xfrm>
            <a:off x="2724271" y="1869071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94" name="Grafik 19">
              <a:extLst>
                <a:ext uri="{FF2B5EF4-FFF2-40B4-BE49-F238E27FC236}">
                  <a16:creationId xmlns:a16="http://schemas.microsoft.com/office/drawing/2014/main" id="{B9A2E31D-E065-19B2-72B5-EA4F8D3F5F9A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02" name="Grafik 19">
                <a:extLst>
                  <a:ext uri="{FF2B5EF4-FFF2-40B4-BE49-F238E27FC236}">
                    <a16:creationId xmlns:a16="http://schemas.microsoft.com/office/drawing/2014/main" id="{8570B21D-4118-10FF-5488-587FA0A82ED4}"/>
                  </a:ext>
                </a:extLst>
              </p:cNvPr>
              <p:cNvSpPr/>
              <p:nvPr/>
            </p:nvSpPr>
            <p:spPr bwMode="gray">
              <a:xfrm>
                <a:off x="5843597" y="3176587"/>
                <a:ext cx="500232" cy="257270"/>
              </a:xfrm>
              <a:custGeom>
                <a:avLst/>
                <a:gdLst>
                  <a:gd name="connsiteX0" fmla="*/ 493099 w 500232"/>
                  <a:gd name="connsiteY0" fmla="*/ 257270 h 257270"/>
                  <a:gd name="connsiteX1" fmla="*/ 7133 w 500232"/>
                  <a:gd name="connsiteY1" fmla="*/ 257270 h 257270"/>
                  <a:gd name="connsiteX2" fmla="*/ 1514 w 500232"/>
                  <a:gd name="connsiteY2" fmla="*/ 254603 h 257270"/>
                  <a:gd name="connsiteX3" fmla="*/ 180 w 500232"/>
                  <a:gd name="connsiteY3" fmla="*/ 248507 h 257270"/>
                  <a:gd name="connsiteX4" fmla="*/ 57330 w 500232"/>
                  <a:gd name="connsiteY4" fmla="*/ 5525 h 257270"/>
                  <a:gd name="connsiteX5" fmla="*/ 64283 w 500232"/>
                  <a:gd name="connsiteY5" fmla="*/ 0 h 257270"/>
                  <a:gd name="connsiteX6" fmla="*/ 435949 w 500232"/>
                  <a:gd name="connsiteY6" fmla="*/ 0 h 257270"/>
                  <a:gd name="connsiteX7" fmla="*/ 442902 w 500232"/>
                  <a:gd name="connsiteY7" fmla="*/ 5525 h 257270"/>
                  <a:gd name="connsiteX8" fmla="*/ 500052 w 500232"/>
                  <a:gd name="connsiteY8" fmla="*/ 248507 h 257270"/>
                  <a:gd name="connsiteX9" fmla="*/ 498719 w 500232"/>
                  <a:gd name="connsiteY9" fmla="*/ 254603 h 257270"/>
                  <a:gd name="connsiteX10" fmla="*/ 493099 w 500232"/>
                  <a:gd name="connsiteY10" fmla="*/ 257270 h 257270"/>
                  <a:gd name="connsiteX11" fmla="*/ 16182 w 500232"/>
                  <a:gd name="connsiteY11" fmla="*/ 242983 h 257270"/>
                  <a:gd name="connsiteX12" fmla="*/ 484145 w 500232"/>
                  <a:gd name="connsiteY12" fmla="*/ 242983 h 257270"/>
                  <a:gd name="connsiteX13" fmla="*/ 430329 w 500232"/>
                  <a:gd name="connsiteY13" fmla="*/ 14288 h 257270"/>
                  <a:gd name="connsiteX14" fmla="*/ 69903 w 500232"/>
                  <a:gd name="connsiteY14" fmla="*/ 14288 h 257270"/>
                  <a:gd name="connsiteX15" fmla="*/ 16182 w 500232"/>
                  <a:gd name="connsiteY15" fmla="*/ 242983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0232" h="257270">
                    <a:moveTo>
                      <a:pt x="493099" y="257270"/>
                    </a:moveTo>
                    <a:lnTo>
                      <a:pt x="7133" y="257270"/>
                    </a:lnTo>
                    <a:cubicBezTo>
                      <a:pt x="4943" y="257270"/>
                      <a:pt x="2847" y="256318"/>
                      <a:pt x="1514" y="254603"/>
                    </a:cubicBezTo>
                    <a:cubicBezTo>
                      <a:pt x="180" y="252889"/>
                      <a:pt x="-296" y="250698"/>
                      <a:pt x="180" y="248507"/>
                    </a:cubicBezTo>
                    <a:lnTo>
                      <a:pt x="57330" y="5525"/>
                    </a:lnTo>
                    <a:cubicBezTo>
                      <a:pt x="58092" y="2286"/>
                      <a:pt x="60950" y="0"/>
                      <a:pt x="64283" y="0"/>
                    </a:cubicBezTo>
                    <a:lnTo>
                      <a:pt x="435949" y="0"/>
                    </a:lnTo>
                    <a:cubicBezTo>
                      <a:pt x="439283" y="0"/>
                      <a:pt x="442140" y="2286"/>
                      <a:pt x="442902" y="5525"/>
                    </a:cubicBezTo>
                    <a:lnTo>
                      <a:pt x="500052" y="248507"/>
                    </a:lnTo>
                    <a:cubicBezTo>
                      <a:pt x="500528" y="250603"/>
                      <a:pt x="500052" y="252889"/>
                      <a:pt x="498719" y="254603"/>
                    </a:cubicBezTo>
                    <a:cubicBezTo>
                      <a:pt x="497385" y="256318"/>
                      <a:pt x="495290" y="257270"/>
                      <a:pt x="493099" y="257270"/>
                    </a:cubicBezTo>
                    <a:close/>
                    <a:moveTo>
                      <a:pt x="16182" y="242983"/>
                    </a:moveTo>
                    <a:lnTo>
                      <a:pt x="484145" y="242983"/>
                    </a:lnTo>
                    <a:lnTo>
                      <a:pt x="430329" y="14288"/>
                    </a:lnTo>
                    <a:lnTo>
                      <a:pt x="69903" y="14288"/>
                    </a:lnTo>
                    <a:lnTo>
                      <a:pt x="16182" y="24298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3" name="Grafik 19">
                <a:extLst>
                  <a:ext uri="{FF2B5EF4-FFF2-40B4-BE49-F238E27FC236}">
                    <a16:creationId xmlns:a16="http://schemas.microsoft.com/office/drawing/2014/main" id="{739AECEF-2991-D33C-D482-271A7A94360D}"/>
                  </a:ext>
                </a:extLst>
              </p:cNvPr>
              <p:cNvSpPr/>
              <p:nvPr/>
            </p:nvSpPr>
            <p:spPr bwMode="gray">
              <a:xfrm>
                <a:off x="5843587" y="3419569"/>
                <a:ext cx="500253" cy="257270"/>
              </a:xfrm>
              <a:custGeom>
                <a:avLst/>
                <a:gdLst>
                  <a:gd name="connsiteX0" fmla="*/ 493109 w 500253"/>
                  <a:gd name="connsiteY0" fmla="*/ 257270 h 257270"/>
                  <a:gd name="connsiteX1" fmla="*/ 7144 w 500253"/>
                  <a:gd name="connsiteY1" fmla="*/ 257270 h 257270"/>
                  <a:gd name="connsiteX2" fmla="*/ 0 w 500253"/>
                  <a:gd name="connsiteY2" fmla="*/ 250127 h 257270"/>
                  <a:gd name="connsiteX3" fmla="*/ 0 w 500253"/>
                  <a:gd name="connsiteY3" fmla="*/ 7144 h 257270"/>
                  <a:gd name="connsiteX4" fmla="*/ 7144 w 500253"/>
                  <a:gd name="connsiteY4" fmla="*/ 0 h 257270"/>
                  <a:gd name="connsiteX5" fmla="*/ 493109 w 500253"/>
                  <a:gd name="connsiteY5" fmla="*/ 0 h 257270"/>
                  <a:gd name="connsiteX6" fmla="*/ 500253 w 500253"/>
                  <a:gd name="connsiteY6" fmla="*/ 7144 h 257270"/>
                  <a:gd name="connsiteX7" fmla="*/ 500253 w 500253"/>
                  <a:gd name="connsiteY7" fmla="*/ 250127 h 257270"/>
                  <a:gd name="connsiteX8" fmla="*/ 493109 w 500253"/>
                  <a:gd name="connsiteY8" fmla="*/ 257270 h 257270"/>
                  <a:gd name="connsiteX9" fmla="*/ 14288 w 500253"/>
                  <a:gd name="connsiteY9" fmla="*/ 242983 h 257270"/>
                  <a:gd name="connsiteX10" fmla="*/ 485966 w 500253"/>
                  <a:gd name="connsiteY10" fmla="*/ 242983 h 257270"/>
                  <a:gd name="connsiteX11" fmla="*/ 485966 w 500253"/>
                  <a:gd name="connsiteY11" fmla="*/ 14288 h 257270"/>
                  <a:gd name="connsiteX12" fmla="*/ 14288 w 500253"/>
                  <a:gd name="connsiteY12" fmla="*/ 14288 h 257270"/>
                  <a:gd name="connsiteX13" fmla="*/ 14288 w 500253"/>
                  <a:gd name="connsiteY13" fmla="*/ 242983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00253" h="257270">
                    <a:moveTo>
                      <a:pt x="493109" y="257270"/>
                    </a:moveTo>
                    <a:lnTo>
                      <a:pt x="7144" y="257270"/>
                    </a:lnTo>
                    <a:cubicBezTo>
                      <a:pt x="3239" y="257270"/>
                      <a:pt x="0" y="254127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493109" y="0"/>
                    </a:ln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254127"/>
                      <a:pt x="497110" y="257270"/>
                      <a:pt x="493109" y="257270"/>
                    </a:cubicBezTo>
                    <a:close/>
                    <a:moveTo>
                      <a:pt x="14288" y="242983"/>
                    </a:moveTo>
                    <a:lnTo>
                      <a:pt x="485966" y="242983"/>
                    </a:lnTo>
                    <a:lnTo>
                      <a:pt x="485966" y="14288"/>
                    </a:lnTo>
                    <a:lnTo>
                      <a:pt x="14288" y="14288"/>
                    </a:lnTo>
                    <a:lnTo>
                      <a:pt x="14288" y="24298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304" name="Grafik 19">
                <a:extLst>
                  <a:ext uri="{FF2B5EF4-FFF2-40B4-BE49-F238E27FC236}">
                    <a16:creationId xmlns:a16="http://schemas.microsoft.com/office/drawing/2014/main" id="{89AE36B9-CC39-9A43-1712-EBDFE13EDFE2}"/>
                  </a:ext>
                </a:extLst>
              </p:cNvPr>
              <p:cNvGrpSpPr/>
              <p:nvPr/>
            </p:nvGrpSpPr>
            <p:grpSpPr bwMode="gray">
              <a:xfrm>
                <a:off x="5951338" y="3239571"/>
                <a:ext cx="284749" cy="131325"/>
                <a:chOff x="5951338" y="3239571"/>
                <a:chExt cx="284749" cy="131325"/>
              </a:xfrm>
              <a:grpFill/>
            </p:grpSpPr>
            <p:grpSp>
              <p:nvGrpSpPr>
                <p:cNvPr id="305" name="Grafik 19">
                  <a:extLst>
                    <a:ext uri="{FF2B5EF4-FFF2-40B4-BE49-F238E27FC236}">
                      <a16:creationId xmlns:a16="http://schemas.microsoft.com/office/drawing/2014/main" id="{15F1AA67-9626-BB00-9722-F4166B100B76}"/>
                    </a:ext>
                  </a:extLst>
                </p:cNvPr>
                <p:cNvGrpSpPr/>
                <p:nvPr/>
              </p:nvGrpSpPr>
              <p:grpSpPr bwMode="gray">
                <a:xfrm>
                  <a:off x="5963149" y="3239571"/>
                  <a:ext cx="119419" cy="51030"/>
                  <a:chOff x="5963149" y="3239571"/>
                  <a:chExt cx="119419" cy="51030"/>
                </a:xfrm>
                <a:grpFill/>
              </p:grpSpPr>
              <p:sp>
                <p:nvSpPr>
                  <p:cNvPr id="318" name="Grafik 19">
                    <a:extLst>
                      <a:ext uri="{FF2B5EF4-FFF2-40B4-BE49-F238E27FC236}">
                        <a16:creationId xmlns:a16="http://schemas.microsoft.com/office/drawing/2014/main" id="{E9608B6E-E3E3-ECEE-0092-3C80A25BFC2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73317" y="3257930"/>
                    <a:ext cx="109251" cy="14287"/>
                  </a:xfrm>
                  <a:custGeom>
                    <a:avLst/>
                    <a:gdLst>
                      <a:gd name="connsiteX0" fmla="*/ 102108 w 109251"/>
                      <a:gd name="connsiteY0" fmla="*/ 14288 h 14287"/>
                      <a:gd name="connsiteX1" fmla="*/ 7144 w 109251"/>
                      <a:gd name="connsiteY1" fmla="*/ 14288 h 14287"/>
                      <a:gd name="connsiteX2" fmla="*/ 0 w 109251"/>
                      <a:gd name="connsiteY2" fmla="*/ 7144 h 14287"/>
                      <a:gd name="connsiteX3" fmla="*/ 7144 w 109251"/>
                      <a:gd name="connsiteY3" fmla="*/ 0 h 14287"/>
                      <a:gd name="connsiteX4" fmla="*/ 102108 w 109251"/>
                      <a:gd name="connsiteY4" fmla="*/ 0 h 14287"/>
                      <a:gd name="connsiteX5" fmla="*/ 109252 w 109251"/>
                      <a:gd name="connsiteY5" fmla="*/ 7144 h 14287"/>
                      <a:gd name="connsiteX6" fmla="*/ 102108 w 109251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09251" h="14287">
                        <a:moveTo>
                          <a:pt x="102108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102108" y="0"/>
                        </a:lnTo>
                        <a:cubicBezTo>
                          <a:pt x="106013" y="0"/>
                          <a:pt x="109252" y="3239"/>
                          <a:pt x="109252" y="7144"/>
                        </a:cubicBezTo>
                        <a:cubicBezTo>
                          <a:pt x="109252" y="11049"/>
                          <a:pt x="106013" y="14288"/>
                          <a:pt x="102108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9" name="Grafik 19">
                    <a:extLst>
                      <a:ext uri="{FF2B5EF4-FFF2-40B4-BE49-F238E27FC236}">
                        <a16:creationId xmlns:a16="http://schemas.microsoft.com/office/drawing/2014/main" id="{7718D4C4-E338-10FC-DF2F-ED056D11F8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63149" y="3239571"/>
                    <a:ext cx="32623" cy="32646"/>
                  </a:xfrm>
                  <a:custGeom>
                    <a:avLst/>
                    <a:gdLst>
                      <a:gd name="connsiteX0" fmla="*/ 7120 w 32623"/>
                      <a:gd name="connsiteY0" fmla="*/ 32647 h 32646"/>
                      <a:gd name="connsiteX1" fmla="*/ 2072 w 32623"/>
                      <a:gd name="connsiteY1" fmla="*/ 30551 h 32646"/>
                      <a:gd name="connsiteX2" fmla="*/ 2072 w 32623"/>
                      <a:gd name="connsiteY2" fmla="*/ 20455 h 32646"/>
                      <a:gd name="connsiteX3" fmla="*/ 20455 w 32623"/>
                      <a:gd name="connsiteY3" fmla="*/ 2072 h 32646"/>
                      <a:gd name="connsiteX4" fmla="*/ 30551 w 32623"/>
                      <a:gd name="connsiteY4" fmla="*/ 2072 h 32646"/>
                      <a:gd name="connsiteX5" fmla="*/ 30551 w 32623"/>
                      <a:gd name="connsiteY5" fmla="*/ 12168 h 32646"/>
                      <a:gd name="connsiteX6" fmla="*/ 12168 w 32623"/>
                      <a:gd name="connsiteY6" fmla="*/ 30551 h 32646"/>
                      <a:gd name="connsiteX7" fmla="*/ 7120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7120" y="32647"/>
                        </a:moveTo>
                        <a:cubicBezTo>
                          <a:pt x="5310" y="32647"/>
                          <a:pt x="3500" y="31980"/>
                          <a:pt x="2072" y="30551"/>
                        </a:cubicBezTo>
                        <a:cubicBezTo>
                          <a:pt x="-691" y="27789"/>
                          <a:pt x="-691" y="23217"/>
                          <a:pt x="2072" y="20455"/>
                        </a:cubicBezTo>
                        <a:lnTo>
                          <a:pt x="20455" y="2072"/>
                        </a:lnTo>
                        <a:cubicBezTo>
                          <a:pt x="23217" y="-691"/>
                          <a:pt x="27789" y="-691"/>
                          <a:pt x="30551" y="2072"/>
                        </a:cubicBezTo>
                        <a:cubicBezTo>
                          <a:pt x="33314" y="4834"/>
                          <a:pt x="33314" y="9406"/>
                          <a:pt x="30551" y="12168"/>
                        </a:cubicBezTo>
                        <a:lnTo>
                          <a:pt x="12168" y="30551"/>
                        </a:lnTo>
                        <a:cubicBezTo>
                          <a:pt x="10835" y="31980"/>
                          <a:pt x="9025" y="32647"/>
                          <a:pt x="7120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0" name="Grafik 19">
                    <a:extLst>
                      <a:ext uri="{FF2B5EF4-FFF2-40B4-BE49-F238E27FC236}">
                        <a16:creationId xmlns:a16="http://schemas.microsoft.com/office/drawing/2014/main" id="{19C5F105-8B81-EF9E-B6FC-1077896ABBA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63149" y="3257954"/>
                    <a:ext cx="32623" cy="32646"/>
                  </a:xfrm>
                  <a:custGeom>
                    <a:avLst/>
                    <a:gdLst>
                      <a:gd name="connsiteX0" fmla="*/ 25503 w 32623"/>
                      <a:gd name="connsiteY0" fmla="*/ 32647 h 32646"/>
                      <a:gd name="connsiteX1" fmla="*/ 20455 w 32623"/>
                      <a:gd name="connsiteY1" fmla="*/ 30551 h 32646"/>
                      <a:gd name="connsiteX2" fmla="*/ 2072 w 32623"/>
                      <a:gd name="connsiteY2" fmla="*/ 12168 h 32646"/>
                      <a:gd name="connsiteX3" fmla="*/ 2072 w 32623"/>
                      <a:gd name="connsiteY3" fmla="*/ 2072 h 32646"/>
                      <a:gd name="connsiteX4" fmla="*/ 12168 w 32623"/>
                      <a:gd name="connsiteY4" fmla="*/ 2072 h 32646"/>
                      <a:gd name="connsiteX5" fmla="*/ 30551 w 32623"/>
                      <a:gd name="connsiteY5" fmla="*/ 20455 h 32646"/>
                      <a:gd name="connsiteX6" fmla="*/ 30551 w 32623"/>
                      <a:gd name="connsiteY6" fmla="*/ 30551 h 32646"/>
                      <a:gd name="connsiteX7" fmla="*/ 25503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25503" y="32647"/>
                        </a:moveTo>
                        <a:cubicBezTo>
                          <a:pt x="23693" y="32647"/>
                          <a:pt x="21884" y="31980"/>
                          <a:pt x="20455" y="30551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0551" y="20455"/>
                        </a:lnTo>
                        <a:cubicBezTo>
                          <a:pt x="33314" y="23217"/>
                          <a:pt x="33314" y="27789"/>
                          <a:pt x="30551" y="30551"/>
                        </a:cubicBezTo>
                        <a:cubicBezTo>
                          <a:pt x="29218" y="31980"/>
                          <a:pt x="27313" y="32647"/>
                          <a:pt x="25503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306" name="Grafik 19">
                  <a:extLst>
                    <a:ext uri="{FF2B5EF4-FFF2-40B4-BE49-F238E27FC236}">
                      <a16:creationId xmlns:a16="http://schemas.microsoft.com/office/drawing/2014/main" id="{5FFC0809-1999-CC94-9A68-F9EF5BCC814A}"/>
                    </a:ext>
                  </a:extLst>
                </p:cNvPr>
                <p:cNvGrpSpPr/>
                <p:nvPr/>
              </p:nvGrpSpPr>
              <p:grpSpPr bwMode="gray">
                <a:xfrm>
                  <a:off x="5951338" y="3319866"/>
                  <a:ext cx="131230" cy="51030"/>
                  <a:chOff x="5951338" y="3319866"/>
                  <a:chExt cx="131230" cy="51030"/>
                </a:xfrm>
                <a:grpFill/>
              </p:grpSpPr>
              <p:sp>
                <p:nvSpPr>
                  <p:cNvPr id="315" name="Grafik 19">
                    <a:extLst>
                      <a:ext uri="{FF2B5EF4-FFF2-40B4-BE49-F238E27FC236}">
                        <a16:creationId xmlns:a16="http://schemas.microsoft.com/office/drawing/2014/main" id="{9E2F6B02-40A9-EA28-2A65-60F1D07F28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61601" y="3338226"/>
                    <a:ext cx="120967" cy="14287"/>
                  </a:xfrm>
                  <a:custGeom>
                    <a:avLst/>
                    <a:gdLst>
                      <a:gd name="connsiteX0" fmla="*/ 113824 w 120967"/>
                      <a:gd name="connsiteY0" fmla="*/ 14288 h 14287"/>
                      <a:gd name="connsiteX1" fmla="*/ 7144 w 120967"/>
                      <a:gd name="connsiteY1" fmla="*/ 14288 h 14287"/>
                      <a:gd name="connsiteX2" fmla="*/ 0 w 120967"/>
                      <a:gd name="connsiteY2" fmla="*/ 7144 h 14287"/>
                      <a:gd name="connsiteX3" fmla="*/ 7144 w 120967"/>
                      <a:gd name="connsiteY3" fmla="*/ 0 h 14287"/>
                      <a:gd name="connsiteX4" fmla="*/ 113824 w 120967"/>
                      <a:gd name="connsiteY4" fmla="*/ 0 h 14287"/>
                      <a:gd name="connsiteX5" fmla="*/ 120968 w 120967"/>
                      <a:gd name="connsiteY5" fmla="*/ 7144 h 14287"/>
                      <a:gd name="connsiteX6" fmla="*/ 113824 w 12096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20967" h="14287">
                        <a:moveTo>
                          <a:pt x="11382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113824" y="0"/>
                        </a:lnTo>
                        <a:cubicBezTo>
                          <a:pt x="117729" y="0"/>
                          <a:pt x="120968" y="3239"/>
                          <a:pt x="120968" y="7144"/>
                        </a:cubicBezTo>
                        <a:cubicBezTo>
                          <a:pt x="120968" y="11049"/>
                          <a:pt x="117729" y="14288"/>
                          <a:pt x="11382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6" name="Grafik 19">
                    <a:extLst>
                      <a:ext uri="{FF2B5EF4-FFF2-40B4-BE49-F238E27FC236}">
                        <a16:creationId xmlns:a16="http://schemas.microsoft.com/office/drawing/2014/main" id="{913D6997-B3C9-EBD4-660F-7750C1B70CF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338" y="3319866"/>
                    <a:ext cx="32623" cy="32646"/>
                  </a:xfrm>
                  <a:custGeom>
                    <a:avLst/>
                    <a:gdLst>
                      <a:gd name="connsiteX0" fmla="*/ 7120 w 32623"/>
                      <a:gd name="connsiteY0" fmla="*/ 32647 h 32646"/>
                      <a:gd name="connsiteX1" fmla="*/ 2072 w 32623"/>
                      <a:gd name="connsiteY1" fmla="*/ 30551 h 32646"/>
                      <a:gd name="connsiteX2" fmla="*/ 2072 w 32623"/>
                      <a:gd name="connsiteY2" fmla="*/ 20455 h 32646"/>
                      <a:gd name="connsiteX3" fmla="*/ 20455 w 32623"/>
                      <a:gd name="connsiteY3" fmla="*/ 2072 h 32646"/>
                      <a:gd name="connsiteX4" fmla="*/ 30551 w 32623"/>
                      <a:gd name="connsiteY4" fmla="*/ 2072 h 32646"/>
                      <a:gd name="connsiteX5" fmla="*/ 30551 w 32623"/>
                      <a:gd name="connsiteY5" fmla="*/ 12168 h 32646"/>
                      <a:gd name="connsiteX6" fmla="*/ 12168 w 32623"/>
                      <a:gd name="connsiteY6" fmla="*/ 30551 h 32646"/>
                      <a:gd name="connsiteX7" fmla="*/ 7120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7120" y="32647"/>
                        </a:moveTo>
                        <a:cubicBezTo>
                          <a:pt x="5310" y="32647"/>
                          <a:pt x="3500" y="31980"/>
                          <a:pt x="2072" y="30551"/>
                        </a:cubicBezTo>
                        <a:cubicBezTo>
                          <a:pt x="-691" y="27789"/>
                          <a:pt x="-691" y="23217"/>
                          <a:pt x="2072" y="20455"/>
                        </a:cubicBezTo>
                        <a:lnTo>
                          <a:pt x="20455" y="2072"/>
                        </a:lnTo>
                        <a:cubicBezTo>
                          <a:pt x="23217" y="-691"/>
                          <a:pt x="27789" y="-691"/>
                          <a:pt x="30551" y="2072"/>
                        </a:cubicBezTo>
                        <a:cubicBezTo>
                          <a:pt x="33314" y="4834"/>
                          <a:pt x="33314" y="9406"/>
                          <a:pt x="30551" y="12168"/>
                        </a:cubicBezTo>
                        <a:lnTo>
                          <a:pt x="12168" y="30551"/>
                        </a:lnTo>
                        <a:cubicBezTo>
                          <a:pt x="10835" y="31885"/>
                          <a:pt x="9025" y="32647"/>
                          <a:pt x="7120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7" name="Grafik 19">
                    <a:extLst>
                      <a:ext uri="{FF2B5EF4-FFF2-40B4-BE49-F238E27FC236}">
                        <a16:creationId xmlns:a16="http://schemas.microsoft.com/office/drawing/2014/main" id="{F58F00A0-5642-132E-A78D-6CB74468C81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338" y="3338250"/>
                    <a:ext cx="32623" cy="32646"/>
                  </a:xfrm>
                  <a:custGeom>
                    <a:avLst/>
                    <a:gdLst>
                      <a:gd name="connsiteX0" fmla="*/ 25503 w 32623"/>
                      <a:gd name="connsiteY0" fmla="*/ 32647 h 32646"/>
                      <a:gd name="connsiteX1" fmla="*/ 20455 w 32623"/>
                      <a:gd name="connsiteY1" fmla="*/ 30551 h 32646"/>
                      <a:gd name="connsiteX2" fmla="*/ 2072 w 32623"/>
                      <a:gd name="connsiteY2" fmla="*/ 12168 h 32646"/>
                      <a:gd name="connsiteX3" fmla="*/ 2072 w 32623"/>
                      <a:gd name="connsiteY3" fmla="*/ 2072 h 32646"/>
                      <a:gd name="connsiteX4" fmla="*/ 12168 w 32623"/>
                      <a:gd name="connsiteY4" fmla="*/ 2072 h 32646"/>
                      <a:gd name="connsiteX5" fmla="*/ 30551 w 32623"/>
                      <a:gd name="connsiteY5" fmla="*/ 20455 h 32646"/>
                      <a:gd name="connsiteX6" fmla="*/ 30551 w 32623"/>
                      <a:gd name="connsiteY6" fmla="*/ 30551 h 32646"/>
                      <a:gd name="connsiteX7" fmla="*/ 25503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25503" y="32647"/>
                        </a:moveTo>
                        <a:cubicBezTo>
                          <a:pt x="23693" y="32647"/>
                          <a:pt x="21884" y="31980"/>
                          <a:pt x="20455" y="30551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0551" y="20455"/>
                        </a:lnTo>
                        <a:cubicBezTo>
                          <a:pt x="33314" y="23217"/>
                          <a:pt x="33314" y="27789"/>
                          <a:pt x="30551" y="30551"/>
                        </a:cubicBezTo>
                        <a:cubicBezTo>
                          <a:pt x="29218" y="31885"/>
                          <a:pt x="27408" y="32647"/>
                          <a:pt x="25503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307" name="Grafik 19">
                  <a:extLst>
                    <a:ext uri="{FF2B5EF4-FFF2-40B4-BE49-F238E27FC236}">
                      <a16:creationId xmlns:a16="http://schemas.microsoft.com/office/drawing/2014/main" id="{A98AF211-82E5-AD6B-6FD1-C91D68826AE6}"/>
                    </a:ext>
                  </a:extLst>
                </p:cNvPr>
                <p:cNvGrpSpPr/>
                <p:nvPr/>
              </p:nvGrpSpPr>
              <p:grpSpPr bwMode="gray">
                <a:xfrm>
                  <a:off x="6104953" y="3239571"/>
                  <a:ext cx="119514" cy="51030"/>
                  <a:chOff x="6104953" y="3239571"/>
                  <a:chExt cx="119514" cy="51030"/>
                </a:xfrm>
                <a:grpFill/>
              </p:grpSpPr>
              <p:sp>
                <p:nvSpPr>
                  <p:cNvPr id="312" name="Grafik 19">
                    <a:extLst>
                      <a:ext uri="{FF2B5EF4-FFF2-40B4-BE49-F238E27FC236}">
                        <a16:creationId xmlns:a16="http://schemas.microsoft.com/office/drawing/2014/main" id="{C8D6CE79-5F59-516D-71D4-9BE3C54E404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04953" y="3257930"/>
                    <a:ext cx="109346" cy="14287"/>
                  </a:xfrm>
                  <a:custGeom>
                    <a:avLst/>
                    <a:gdLst>
                      <a:gd name="connsiteX0" fmla="*/ 102203 w 109346"/>
                      <a:gd name="connsiteY0" fmla="*/ 14288 h 14287"/>
                      <a:gd name="connsiteX1" fmla="*/ 7144 w 109346"/>
                      <a:gd name="connsiteY1" fmla="*/ 14288 h 14287"/>
                      <a:gd name="connsiteX2" fmla="*/ 0 w 109346"/>
                      <a:gd name="connsiteY2" fmla="*/ 7144 h 14287"/>
                      <a:gd name="connsiteX3" fmla="*/ 7144 w 109346"/>
                      <a:gd name="connsiteY3" fmla="*/ 0 h 14287"/>
                      <a:gd name="connsiteX4" fmla="*/ 102203 w 109346"/>
                      <a:gd name="connsiteY4" fmla="*/ 0 h 14287"/>
                      <a:gd name="connsiteX5" fmla="*/ 109347 w 109346"/>
                      <a:gd name="connsiteY5" fmla="*/ 7144 h 14287"/>
                      <a:gd name="connsiteX6" fmla="*/ 102203 w 109346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09346" h="14287">
                        <a:moveTo>
                          <a:pt x="102203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102203" y="0"/>
                        </a:lnTo>
                        <a:cubicBezTo>
                          <a:pt x="106109" y="0"/>
                          <a:pt x="109347" y="3239"/>
                          <a:pt x="109347" y="7144"/>
                        </a:cubicBezTo>
                        <a:cubicBezTo>
                          <a:pt x="109347" y="11049"/>
                          <a:pt x="106109" y="14288"/>
                          <a:pt x="102203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3" name="Grafik 19">
                    <a:extLst>
                      <a:ext uri="{FF2B5EF4-FFF2-40B4-BE49-F238E27FC236}">
                        <a16:creationId xmlns:a16="http://schemas.microsoft.com/office/drawing/2014/main" id="{78F092EB-92EB-2E35-2D1B-7D04C45C201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91844" y="3239571"/>
                    <a:ext cx="32623" cy="32646"/>
                  </a:xfrm>
                  <a:custGeom>
                    <a:avLst/>
                    <a:gdLst>
                      <a:gd name="connsiteX0" fmla="*/ 25503 w 32623"/>
                      <a:gd name="connsiteY0" fmla="*/ 32647 h 32646"/>
                      <a:gd name="connsiteX1" fmla="*/ 20455 w 32623"/>
                      <a:gd name="connsiteY1" fmla="*/ 30551 h 32646"/>
                      <a:gd name="connsiteX2" fmla="*/ 2072 w 32623"/>
                      <a:gd name="connsiteY2" fmla="*/ 12168 h 32646"/>
                      <a:gd name="connsiteX3" fmla="*/ 2072 w 32623"/>
                      <a:gd name="connsiteY3" fmla="*/ 2072 h 32646"/>
                      <a:gd name="connsiteX4" fmla="*/ 12168 w 32623"/>
                      <a:gd name="connsiteY4" fmla="*/ 2072 h 32646"/>
                      <a:gd name="connsiteX5" fmla="*/ 30551 w 32623"/>
                      <a:gd name="connsiteY5" fmla="*/ 20455 h 32646"/>
                      <a:gd name="connsiteX6" fmla="*/ 30551 w 32623"/>
                      <a:gd name="connsiteY6" fmla="*/ 30551 h 32646"/>
                      <a:gd name="connsiteX7" fmla="*/ 25503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25503" y="32647"/>
                        </a:moveTo>
                        <a:cubicBezTo>
                          <a:pt x="23693" y="32647"/>
                          <a:pt x="21884" y="31980"/>
                          <a:pt x="20455" y="30551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0551" y="20455"/>
                        </a:lnTo>
                        <a:cubicBezTo>
                          <a:pt x="33314" y="23217"/>
                          <a:pt x="33314" y="27789"/>
                          <a:pt x="30551" y="30551"/>
                        </a:cubicBezTo>
                        <a:cubicBezTo>
                          <a:pt x="29123" y="31980"/>
                          <a:pt x="27313" y="32647"/>
                          <a:pt x="25503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4" name="Grafik 19">
                    <a:extLst>
                      <a:ext uri="{FF2B5EF4-FFF2-40B4-BE49-F238E27FC236}">
                        <a16:creationId xmlns:a16="http://schemas.microsoft.com/office/drawing/2014/main" id="{8DBBA768-8268-535E-B44E-35741BA113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91844" y="3257954"/>
                    <a:ext cx="32623" cy="32646"/>
                  </a:xfrm>
                  <a:custGeom>
                    <a:avLst/>
                    <a:gdLst>
                      <a:gd name="connsiteX0" fmla="*/ 7120 w 32623"/>
                      <a:gd name="connsiteY0" fmla="*/ 32647 h 32646"/>
                      <a:gd name="connsiteX1" fmla="*/ 2072 w 32623"/>
                      <a:gd name="connsiteY1" fmla="*/ 30551 h 32646"/>
                      <a:gd name="connsiteX2" fmla="*/ 2072 w 32623"/>
                      <a:gd name="connsiteY2" fmla="*/ 20455 h 32646"/>
                      <a:gd name="connsiteX3" fmla="*/ 20455 w 32623"/>
                      <a:gd name="connsiteY3" fmla="*/ 2072 h 32646"/>
                      <a:gd name="connsiteX4" fmla="*/ 30551 w 32623"/>
                      <a:gd name="connsiteY4" fmla="*/ 2072 h 32646"/>
                      <a:gd name="connsiteX5" fmla="*/ 30551 w 32623"/>
                      <a:gd name="connsiteY5" fmla="*/ 12168 h 32646"/>
                      <a:gd name="connsiteX6" fmla="*/ 12168 w 32623"/>
                      <a:gd name="connsiteY6" fmla="*/ 30551 h 32646"/>
                      <a:gd name="connsiteX7" fmla="*/ 7120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7120" y="32647"/>
                        </a:moveTo>
                        <a:cubicBezTo>
                          <a:pt x="5310" y="32647"/>
                          <a:pt x="3500" y="31980"/>
                          <a:pt x="2072" y="30551"/>
                        </a:cubicBezTo>
                        <a:cubicBezTo>
                          <a:pt x="-691" y="27789"/>
                          <a:pt x="-691" y="23217"/>
                          <a:pt x="2072" y="20455"/>
                        </a:cubicBezTo>
                        <a:lnTo>
                          <a:pt x="20455" y="2072"/>
                        </a:lnTo>
                        <a:cubicBezTo>
                          <a:pt x="23217" y="-691"/>
                          <a:pt x="27789" y="-691"/>
                          <a:pt x="30551" y="2072"/>
                        </a:cubicBezTo>
                        <a:cubicBezTo>
                          <a:pt x="33314" y="4834"/>
                          <a:pt x="33314" y="9406"/>
                          <a:pt x="30551" y="12168"/>
                        </a:cubicBezTo>
                        <a:lnTo>
                          <a:pt x="12168" y="30551"/>
                        </a:lnTo>
                        <a:cubicBezTo>
                          <a:pt x="10739" y="31980"/>
                          <a:pt x="8930" y="32647"/>
                          <a:pt x="7120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308" name="Grafik 19">
                  <a:extLst>
                    <a:ext uri="{FF2B5EF4-FFF2-40B4-BE49-F238E27FC236}">
                      <a16:creationId xmlns:a16="http://schemas.microsoft.com/office/drawing/2014/main" id="{B5A79B27-A10C-E475-9A25-7DF4944DE6A2}"/>
                    </a:ext>
                  </a:extLst>
                </p:cNvPr>
                <p:cNvGrpSpPr/>
                <p:nvPr/>
              </p:nvGrpSpPr>
              <p:grpSpPr bwMode="gray">
                <a:xfrm>
                  <a:off x="6104953" y="3319866"/>
                  <a:ext cx="131135" cy="51030"/>
                  <a:chOff x="6104953" y="3319866"/>
                  <a:chExt cx="131135" cy="51030"/>
                </a:xfrm>
                <a:grpFill/>
              </p:grpSpPr>
              <p:sp>
                <p:nvSpPr>
                  <p:cNvPr id="309" name="Grafik 19">
                    <a:extLst>
                      <a:ext uri="{FF2B5EF4-FFF2-40B4-BE49-F238E27FC236}">
                        <a16:creationId xmlns:a16="http://schemas.microsoft.com/office/drawing/2014/main" id="{9A5C20A5-E289-32BD-AB17-38BAFD0CF0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04953" y="3338226"/>
                    <a:ext cx="120967" cy="14287"/>
                  </a:xfrm>
                  <a:custGeom>
                    <a:avLst/>
                    <a:gdLst>
                      <a:gd name="connsiteX0" fmla="*/ 113824 w 120967"/>
                      <a:gd name="connsiteY0" fmla="*/ 14288 h 14287"/>
                      <a:gd name="connsiteX1" fmla="*/ 7144 w 120967"/>
                      <a:gd name="connsiteY1" fmla="*/ 14288 h 14287"/>
                      <a:gd name="connsiteX2" fmla="*/ 0 w 120967"/>
                      <a:gd name="connsiteY2" fmla="*/ 7144 h 14287"/>
                      <a:gd name="connsiteX3" fmla="*/ 7144 w 120967"/>
                      <a:gd name="connsiteY3" fmla="*/ 0 h 14287"/>
                      <a:gd name="connsiteX4" fmla="*/ 113824 w 120967"/>
                      <a:gd name="connsiteY4" fmla="*/ 0 h 14287"/>
                      <a:gd name="connsiteX5" fmla="*/ 120967 w 120967"/>
                      <a:gd name="connsiteY5" fmla="*/ 7144 h 14287"/>
                      <a:gd name="connsiteX6" fmla="*/ 113824 w 12096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20967" h="14287">
                        <a:moveTo>
                          <a:pt x="11382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113824" y="0"/>
                        </a:lnTo>
                        <a:cubicBezTo>
                          <a:pt x="117729" y="0"/>
                          <a:pt x="120967" y="3239"/>
                          <a:pt x="120967" y="7144"/>
                        </a:cubicBezTo>
                        <a:cubicBezTo>
                          <a:pt x="120967" y="11049"/>
                          <a:pt x="117729" y="14288"/>
                          <a:pt x="11382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0" name="Grafik 19">
                    <a:extLst>
                      <a:ext uri="{FF2B5EF4-FFF2-40B4-BE49-F238E27FC236}">
                        <a16:creationId xmlns:a16="http://schemas.microsoft.com/office/drawing/2014/main" id="{823DA0CF-DDCD-E222-8D15-0B172384A80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03465" y="3319866"/>
                    <a:ext cx="32623" cy="32646"/>
                  </a:xfrm>
                  <a:custGeom>
                    <a:avLst/>
                    <a:gdLst>
                      <a:gd name="connsiteX0" fmla="*/ 25503 w 32623"/>
                      <a:gd name="connsiteY0" fmla="*/ 32647 h 32646"/>
                      <a:gd name="connsiteX1" fmla="*/ 20455 w 32623"/>
                      <a:gd name="connsiteY1" fmla="*/ 30551 h 32646"/>
                      <a:gd name="connsiteX2" fmla="*/ 2072 w 32623"/>
                      <a:gd name="connsiteY2" fmla="*/ 12168 h 32646"/>
                      <a:gd name="connsiteX3" fmla="*/ 2072 w 32623"/>
                      <a:gd name="connsiteY3" fmla="*/ 2072 h 32646"/>
                      <a:gd name="connsiteX4" fmla="*/ 12168 w 32623"/>
                      <a:gd name="connsiteY4" fmla="*/ 2072 h 32646"/>
                      <a:gd name="connsiteX5" fmla="*/ 30551 w 32623"/>
                      <a:gd name="connsiteY5" fmla="*/ 20455 h 32646"/>
                      <a:gd name="connsiteX6" fmla="*/ 30551 w 32623"/>
                      <a:gd name="connsiteY6" fmla="*/ 30551 h 32646"/>
                      <a:gd name="connsiteX7" fmla="*/ 25503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25503" y="32647"/>
                        </a:moveTo>
                        <a:cubicBezTo>
                          <a:pt x="23693" y="32647"/>
                          <a:pt x="21884" y="31980"/>
                          <a:pt x="20455" y="30551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0551" y="20455"/>
                        </a:lnTo>
                        <a:cubicBezTo>
                          <a:pt x="33314" y="23217"/>
                          <a:pt x="33314" y="27789"/>
                          <a:pt x="30551" y="30551"/>
                        </a:cubicBezTo>
                        <a:cubicBezTo>
                          <a:pt x="29123" y="31885"/>
                          <a:pt x="27313" y="32647"/>
                          <a:pt x="25503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1" name="Grafik 19">
                    <a:extLst>
                      <a:ext uri="{FF2B5EF4-FFF2-40B4-BE49-F238E27FC236}">
                        <a16:creationId xmlns:a16="http://schemas.microsoft.com/office/drawing/2014/main" id="{02EF42C8-2A53-7FD8-C863-157388D03C3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03465" y="3338250"/>
                    <a:ext cx="32623" cy="32646"/>
                  </a:xfrm>
                  <a:custGeom>
                    <a:avLst/>
                    <a:gdLst>
                      <a:gd name="connsiteX0" fmla="*/ 7120 w 32623"/>
                      <a:gd name="connsiteY0" fmla="*/ 32647 h 32646"/>
                      <a:gd name="connsiteX1" fmla="*/ 2072 w 32623"/>
                      <a:gd name="connsiteY1" fmla="*/ 30551 h 32646"/>
                      <a:gd name="connsiteX2" fmla="*/ 2072 w 32623"/>
                      <a:gd name="connsiteY2" fmla="*/ 20455 h 32646"/>
                      <a:gd name="connsiteX3" fmla="*/ 20455 w 32623"/>
                      <a:gd name="connsiteY3" fmla="*/ 2072 h 32646"/>
                      <a:gd name="connsiteX4" fmla="*/ 30551 w 32623"/>
                      <a:gd name="connsiteY4" fmla="*/ 2072 h 32646"/>
                      <a:gd name="connsiteX5" fmla="*/ 30551 w 32623"/>
                      <a:gd name="connsiteY5" fmla="*/ 12168 h 32646"/>
                      <a:gd name="connsiteX6" fmla="*/ 12168 w 32623"/>
                      <a:gd name="connsiteY6" fmla="*/ 30551 h 32646"/>
                      <a:gd name="connsiteX7" fmla="*/ 7120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7120" y="32647"/>
                        </a:moveTo>
                        <a:cubicBezTo>
                          <a:pt x="5310" y="32647"/>
                          <a:pt x="3500" y="31980"/>
                          <a:pt x="2072" y="30551"/>
                        </a:cubicBezTo>
                        <a:cubicBezTo>
                          <a:pt x="-691" y="27789"/>
                          <a:pt x="-691" y="23217"/>
                          <a:pt x="2072" y="20455"/>
                        </a:cubicBezTo>
                        <a:lnTo>
                          <a:pt x="20455" y="2072"/>
                        </a:lnTo>
                        <a:cubicBezTo>
                          <a:pt x="23217" y="-691"/>
                          <a:pt x="27789" y="-691"/>
                          <a:pt x="30551" y="2072"/>
                        </a:cubicBezTo>
                        <a:cubicBezTo>
                          <a:pt x="33314" y="4834"/>
                          <a:pt x="33314" y="9406"/>
                          <a:pt x="30551" y="12168"/>
                        </a:cubicBezTo>
                        <a:lnTo>
                          <a:pt x="12168" y="30551"/>
                        </a:lnTo>
                        <a:cubicBezTo>
                          <a:pt x="10739" y="31885"/>
                          <a:pt x="8930" y="32647"/>
                          <a:pt x="7120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  <p:grpSp>
          <p:nvGrpSpPr>
            <p:cNvPr id="295" name="Grafik 19">
              <a:extLst>
                <a:ext uri="{FF2B5EF4-FFF2-40B4-BE49-F238E27FC236}">
                  <a16:creationId xmlns:a16="http://schemas.microsoft.com/office/drawing/2014/main" id="{47763523-DFE6-B90E-B8EE-39520C1A9288}"/>
                </a:ext>
              </a:extLst>
            </p:cNvPr>
            <p:cNvGrpSpPr/>
            <p:nvPr/>
          </p:nvGrpSpPr>
          <p:grpSpPr bwMode="gray">
            <a:xfrm>
              <a:off x="6053327" y="3468242"/>
              <a:ext cx="111537" cy="160019"/>
              <a:chOff x="6053327" y="3468242"/>
              <a:chExt cx="111537" cy="160019"/>
            </a:xfrm>
            <a:grpFill/>
          </p:grpSpPr>
          <p:sp>
            <p:nvSpPr>
              <p:cNvPr id="296" name="Grafik 19">
                <a:extLst>
                  <a:ext uri="{FF2B5EF4-FFF2-40B4-BE49-F238E27FC236}">
                    <a16:creationId xmlns:a16="http://schemas.microsoft.com/office/drawing/2014/main" id="{4EAFFCA0-C58E-F3DB-B6CE-80BF0D4A11DF}"/>
                  </a:ext>
                </a:extLst>
              </p:cNvPr>
              <p:cNvSpPr/>
              <p:nvPr/>
            </p:nvSpPr>
            <p:spPr bwMode="gray">
              <a:xfrm>
                <a:off x="6053327" y="3516724"/>
                <a:ext cx="111537" cy="111537"/>
              </a:xfrm>
              <a:custGeom>
                <a:avLst/>
                <a:gdLst>
                  <a:gd name="connsiteX0" fmla="*/ 90868 w 111537"/>
                  <a:gd name="connsiteY0" fmla="*/ 111538 h 111537"/>
                  <a:gd name="connsiteX1" fmla="*/ 20669 w 111537"/>
                  <a:gd name="connsiteY1" fmla="*/ 111538 h 111537"/>
                  <a:gd name="connsiteX2" fmla="*/ 0 w 111537"/>
                  <a:gd name="connsiteY2" fmla="*/ 90869 h 111537"/>
                  <a:gd name="connsiteX3" fmla="*/ 0 w 111537"/>
                  <a:gd name="connsiteY3" fmla="*/ 20669 h 111537"/>
                  <a:gd name="connsiteX4" fmla="*/ 20669 w 111537"/>
                  <a:gd name="connsiteY4" fmla="*/ 0 h 111537"/>
                  <a:gd name="connsiteX5" fmla="*/ 90868 w 111537"/>
                  <a:gd name="connsiteY5" fmla="*/ 0 h 111537"/>
                  <a:gd name="connsiteX6" fmla="*/ 111538 w 111537"/>
                  <a:gd name="connsiteY6" fmla="*/ 20669 h 111537"/>
                  <a:gd name="connsiteX7" fmla="*/ 111538 w 111537"/>
                  <a:gd name="connsiteY7" fmla="*/ 90869 h 111537"/>
                  <a:gd name="connsiteX8" fmla="*/ 90868 w 111537"/>
                  <a:gd name="connsiteY8" fmla="*/ 111538 h 111537"/>
                  <a:gd name="connsiteX9" fmla="*/ 20669 w 111537"/>
                  <a:gd name="connsiteY9" fmla="*/ 14383 h 111537"/>
                  <a:gd name="connsiteX10" fmla="*/ 14288 w 111537"/>
                  <a:gd name="connsiteY10" fmla="*/ 20765 h 111537"/>
                  <a:gd name="connsiteX11" fmla="*/ 14288 w 111537"/>
                  <a:gd name="connsiteY11" fmla="*/ 90964 h 111537"/>
                  <a:gd name="connsiteX12" fmla="*/ 20669 w 111537"/>
                  <a:gd name="connsiteY12" fmla="*/ 97346 h 111537"/>
                  <a:gd name="connsiteX13" fmla="*/ 90868 w 111537"/>
                  <a:gd name="connsiteY13" fmla="*/ 97346 h 111537"/>
                  <a:gd name="connsiteX14" fmla="*/ 97250 w 111537"/>
                  <a:gd name="connsiteY14" fmla="*/ 90964 h 111537"/>
                  <a:gd name="connsiteX15" fmla="*/ 97250 w 111537"/>
                  <a:gd name="connsiteY15" fmla="*/ 20765 h 111537"/>
                  <a:gd name="connsiteX16" fmla="*/ 90868 w 111537"/>
                  <a:gd name="connsiteY16" fmla="*/ 14383 h 111537"/>
                  <a:gd name="connsiteX17" fmla="*/ 20669 w 111537"/>
                  <a:gd name="connsiteY17" fmla="*/ 14383 h 111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11537" h="111537">
                    <a:moveTo>
                      <a:pt x="90868" y="111538"/>
                    </a:moveTo>
                    <a:lnTo>
                      <a:pt x="20669" y="111538"/>
                    </a:lnTo>
                    <a:cubicBezTo>
                      <a:pt x="9239" y="111538"/>
                      <a:pt x="0" y="102299"/>
                      <a:pt x="0" y="90869"/>
                    </a:cubicBezTo>
                    <a:lnTo>
                      <a:pt x="0" y="20669"/>
                    </a:lnTo>
                    <a:cubicBezTo>
                      <a:pt x="0" y="9239"/>
                      <a:pt x="9239" y="0"/>
                      <a:pt x="20669" y="0"/>
                    </a:cubicBezTo>
                    <a:lnTo>
                      <a:pt x="90868" y="0"/>
                    </a:lnTo>
                    <a:cubicBezTo>
                      <a:pt x="102298" y="0"/>
                      <a:pt x="111538" y="9239"/>
                      <a:pt x="111538" y="20669"/>
                    </a:cubicBezTo>
                    <a:lnTo>
                      <a:pt x="111538" y="90869"/>
                    </a:lnTo>
                    <a:cubicBezTo>
                      <a:pt x="111443" y="102299"/>
                      <a:pt x="102203" y="111538"/>
                      <a:pt x="90868" y="111538"/>
                    </a:cubicBezTo>
                    <a:close/>
                    <a:moveTo>
                      <a:pt x="20669" y="14383"/>
                    </a:moveTo>
                    <a:cubicBezTo>
                      <a:pt x="17145" y="14383"/>
                      <a:pt x="14288" y="17240"/>
                      <a:pt x="14288" y="20765"/>
                    </a:cubicBezTo>
                    <a:lnTo>
                      <a:pt x="14288" y="90964"/>
                    </a:lnTo>
                    <a:cubicBezTo>
                      <a:pt x="14288" y="94488"/>
                      <a:pt x="17145" y="97346"/>
                      <a:pt x="20669" y="97346"/>
                    </a:cubicBezTo>
                    <a:lnTo>
                      <a:pt x="90868" y="97346"/>
                    </a:lnTo>
                    <a:cubicBezTo>
                      <a:pt x="94393" y="97346"/>
                      <a:pt x="97250" y="94488"/>
                      <a:pt x="97250" y="90964"/>
                    </a:cubicBezTo>
                    <a:lnTo>
                      <a:pt x="97250" y="20765"/>
                    </a:lnTo>
                    <a:cubicBezTo>
                      <a:pt x="97250" y="17240"/>
                      <a:pt x="94393" y="14383"/>
                      <a:pt x="90868" y="14383"/>
                    </a:cubicBezTo>
                    <a:lnTo>
                      <a:pt x="20669" y="1438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297" name="Grafik 19">
                <a:extLst>
                  <a:ext uri="{FF2B5EF4-FFF2-40B4-BE49-F238E27FC236}">
                    <a16:creationId xmlns:a16="http://schemas.microsoft.com/office/drawing/2014/main" id="{73A2DE02-4693-3CC0-18F1-708317792BCD}"/>
                  </a:ext>
                </a:extLst>
              </p:cNvPr>
              <p:cNvGrpSpPr/>
              <p:nvPr/>
            </p:nvGrpSpPr>
            <p:grpSpPr bwMode="gray">
              <a:xfrm>
                <a:off x="6069519" y="3468242"/>
                <a:ext cx="79057" cy="62865"/>
                <a:chOff x="6069519" y="3468242"/>
                <a:chExt cx="79057" cy="62865"/>
              </a:xfrm>
              <a:grpFill/>
            </p:grpSpPr>
            <p:sp>
              <p:nvSpPr>
                <p:cNvPr id="299" name="Grafik 19">
                  <a:extLst>
                    <a:ext uri="{FF2B5EF4-FFF2-40B4-BE49-F238E27FC236}">
                      <a16:creationId xmlns:a16="http://schemas.microsoft.com/office/drawing/2014/main" id="{5B37321B-B304-294B-08E9-464DC2CDD642}"/>
                    </a:ext>
                  </a:extLst>
                </p:cNvPr>
                <p:cNvSpPr/>
                <p:nvPr/>
              </p:nvSpPr>
              <p:spPr bwMode="gray">
                <a:xfrm>
                  <a:off x="6069519" y="3468242"/>
                  <a:ext cx="79057" cy="46672"/>
                </a:xfrm>
                <a:custGeom>
                  <a:avLst/>
                  <a:gdLst>
                    <a:gd name="connsiteX0" fmla="*/ 71914 w 79057"/>
                    <a:gd name="connsiteY0" fmla="*/ 46672 h 46672"/>
                    <a:gd name="connsiteX1" fmla="*/ 64770 w 79057"/>
                    <a:gd name="connsiteY1" fmla="*/ 39529 h 46672"/>
                    <a:gd name="connsiteX2" fmla="*/ 39529 w 79057"/>
                    <a:gd name="connsiteY2" fmla="*/ 14287 h 46672"/>
                    <a:gd name="connsiteX3" fmla="*/ 14288 w 79057"/>
                    <a:gd name="connsiteY3" fmla="*/ 39529 h 46672"/>
                    <a:gd name="connsiteX4" fmla="*/ 7144 w 79057"/>
                    <a:gd name="connsiteY4" fmla="*/ 46672 h 46672"/>
                    <a:gd name="connsiteX5" fmla="*/ 0 w 79057"/>
                    <a:gd name="connsiteY5" fmla="*/ 39529 h 46672"/>
                    <a:gd name="connsiteX6" fmla="*/ 39529 w 79057"/>
                    <a:gd name="connsiteY6" fmla="*/ 0 h 46672"/>
                    <a:gd name="connsiteX7" fmla="*/ 79058 w 79057"/>
                    <a:gd name="connsiteY7" fmla="*/ 39529 h 46672"/>
                    <a:gd name="connsiteX8" fmla="*/ 71914 w 79057"/>
                    <a:gd name="connsiteY8" fmla="*/ 46672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9057" h="46672">
                      <a:moveTo>
                        <a:pt x="71914" y="46672"/>
                      </a:moveTo>
                      <a:cubicBezTo>
                        <a:pt x="68009" y="46672"/>
                        <a:pt x="64770" y="43434"/>
                        <a:pt x="64770" y="39529"/>
                      </a:cubicBezTo>
                      <a:cubicBezTo>
                        <a:pt x="64770" y="25622"/>
                        <a:pt x="53435" y="14287"/>
                        <a:pt x="39529" y="14287"/>
                      </a:cubicBezTo>
                      <a:cubicBezTo>
                        <a:pt x="25622" y="14287"/>
                        <a:pt x="14288" y="25622"/>
                        <a:pt x="14288" y="39529"/>
                      </a:cubicBezTo>
                      <a:cubicBezTo>
                        <a:pt x="14288" y="43434"/>
                        <a:pt x="11049" y="46672"/>
                        <a:pt x="7144" y="46672"/>
                      </a:cubicBezTo>
                      <a:cubicBezTo>
                        <a:pt x="3239" y="46672"/>
                        <a:pt x="0" y="43434"/>
                        <a:pt x="0" y="39529"/>
                      </a:cubicBezTo>
                      <a:cubicBezTo>
                        <a:pt x="0" y="17716"/>
                        <a:pt x="17717" y="0"/>
                        <a:pt x="39529" y="0"/>
                      </a:cubicBezTo>
                      <a:cubicBezTo>
                        <a:pt x="61341" y="0"/>
                        <a:pt x="79058" y="17716"/>
                        <a:pt x="79058" y="39529"/>
                      </a:cubicBezTo>
                      <a:cubicBezTo>
                        <a:pt x="79058" y="43434"/>
                        <a:pt x="75914" y="46672"/>
                        <a:pt x="71914" y="46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00" name="Grafik 19">
                  <a:extLst>
                    <a:ext uri="{FF2B5EF4-FFF2-40B4-BE49-F238E27FC236}">
                      <a16:creationId xmlns:a16="http://schemas.microsoft.com/office/drawing/2014/main" id="{095E877D-E834-0B64-0A27-012C7651EE84}"/>
                    </a:ext>
                  </a:extLst>
                </p:cNvPr>
                <p:cNvSpPr/>
                <p:nvPr/>
              </p:nvSpPr>
              <p:spPr bwMode="gray">
                <a:xfrm>
                  <a:off x="6069519" y="3500627"/>
                  <a:ext cx="14287" cy="30480"/>
                </a:xfrm>
                <a:custGeom>
                  <a:avLst/>
                  <a:gdLst>
                    <a:gd name="connsiteX0" fmla="*/ 7144 w 14287"/>
                    <a:gd name="connsiteY0" fmla="*/ 30480 h 30480"/>
                    <a:gd name="connsiteX1" fmla="*/ 0 w 14287"/>
                    <a:gd name="connsiteY1" fmla="*/ 23336 h 30480"/>
                    <a:gd name="connsiteX2" fmla="*/ 0 w 14287"/>
                    <a:gd name="connsiteY2" fmla="*/ 7144 h 30480"/>
                    <a:gd name="connsiteX3" fmla="*/ 7144 w 14287"/>
                    <a:gd name="connsiteY3" fmla="*/ 0 h 30480"/>
                    <a:gd name="connsiteX4" fmla="*/ 14288 w 14287"/>
                    <a:gd name="connsiteY4" fmla="*/ 7144 h 30480"/>
                    <a:gd name="connsiteX5" fmla="*/ 14288 w 14287"/>
                    <a:gd name="connsiteY5" fmla="*/ 23336 h 30480"/>
                    <a:gd name="connsiteX6" fmla="*/ 7144 w 14287"/>
                    <a:gd name="connsiteY6" fmla="*/ 30480 h 30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0480">
                      <a:moveTo>
                        <a:pt x="7144" y="30480"/>
                      </a:moveTo>
                      <a:cubicBezTo>
                        <a:pt x="3239" y="30480"/>
                        <a:pt x="0" y="27242"/>
                        <a:pt x="0" y="2333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3336"/>
                      </a:lnTo>
                      <a:cubicBezTo>
                        <a:pt x="14288" y="27242"/>
                        <a:pt x="11049" y="30480"/>
                        <a:pt x="7144" y="304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01" name="Grafik 19">
                  <a:extLst>
                    <a:ext uri="{FF2B5EF4-FFF2-40B4-BE49-F238E27FC236}">
                      <a16:creationId xmlns:a16="http://schemas.microsoft.com/office/drawing/2014/main" id="{30F40AC5-30A4-14C9-C6C3-9464FDFC9F2C}"/>
                    </a:ext>
                  </a:extLst>
                </p:cNvPr>
                <p:cNvSpPr/>
                <p:nvPr/>
              </p:nvSpPr>
              <p:spPr bwMode="gray">
                <a:xfrm>
                  <a:off x="6134290" y="3500627"/>
                  <a:ext cx="14287" cy="30480"/>
                </a:xfrm>
                <a:custGeom>
                  <a:avLst/>
                  <a:gdLst>
                    <a:gd name="connsiteX0" fmla="*/ 7144 w 14287"/>
                    <a:gd name="connsiteY0" fmla="*/ 30480 h 30480"/>
                    <a:gd name="connsiteX1" fmla="*/ 0 w 14287"/>
                    <a:gd name="connsiteY1" fmla="*/ 23336 h 30480"/>
                    <a:gd name="connsiteX2" fmla="*/ 0 w 14287"/>
                    <a:gd name="connsiteY2" fmla="*/ 7144 h 30480"/>
                    <a:gd name="connsiteX3" fmla="*/ 7144 w 14287"/>
                    <a:gd name="connsiteY3" fmla="*/ 0 h 30480"/>
                    <a:gd name="connsiteX4" fmla="*/ 14288 w 14287"/>
                    <a:gd name="connsiteY4" fmla="*/ 7144 h 30480"/>
                    <a:gd name="connsiteX5" fmla="*/ 14288 w 14287"/>
                    <a:gd name="connsiteY5" fmla="*/ 23336 h 30480"/>
                    <a:gd name="connsiteX6" fmla="*/ 7144 w 14287"/>
                    <a:gd name="connsiteY6" fmla="*/ 30480 h 30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0480">
                      <a:moveTo>
                        <a:pt x="7144" y="30480"/>
                      </a:moveTo>
                      <a:cubicBezTo>
                        <a:pt x="3239" y="30480"/>
                        <a:pt x="0" y="27242"/>
                        <a:pt x="0" y="2333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3336"/>
                      </a:lnTo>
                      <a:cubicBezTo>
                        <a:pt x="14288" y="27242"/>
                        <a:pt x="11144" y="30480"/>
                        <a:pt x="7144" y="304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298" name="Grafik 19">
                <a:extLst>
                  <a:ext uri="{FF2B5EF4-FFF2-40B4-BE49-F238E27FC236}">
                    <a16:creationId xmlns:a16="http://schemas.microsoft.com/office/drawing/2014/main" id="{0005C0CF-F4F2-3D1E-07E4-3BBCD7870855}"/>
                  </a:ext>
                </a:extLst>
              </p:cNvPr>
              <p:cNvSpPr/>
              <p:nvPr/>
            </p:nvSpPr>
            <p:spPr bwMode="gray">
              <a:xfrm>
                <a:off x="6087331" y="3538632"/>
                <a:ext cx="43479" cy="67722"/>
              </a:xfrm>
              <a:custGeom>
                <a:avLst/>
                <a:gdLst>
                  <a:gd name="connsiteX0" fmla="*/ 36290 w 43479"/>
                  <a:gd name="connsiteY0" fmla="*/ 67723 h 67722"/>
                  <a:gd name="connsiteX1" fmla="*/ 7144 w 43479"/>
                  <a:gd name="connsiteY1" fmla="*/ 67723 h 67722"/>
                  <a:gd name="connsiteX2" fmla="*/ 1524 w 43479"/>
                  <a:gd name="connsiteY2" fmla="*/ 64961 h 67722"/>
                  <a:gd name="connsiteX3" fmla="*/ 191 w 43479"/>
                  <a:gd name="connsiteY3" fmla="*/ 58865 h 67722"/>
                  <a:gd name="connsiteX4" fmla="*/ 5810 w 43479"/>
                  <a:gd name="connsiteY4" fmla="*/ 36481 h 67722"/>
                  <a:gd name="connsiteX5" fmla="*/ 0 w 43479"/>
                  <a:gd name="connsiteY5" fmla="*/ 21717 h 67722"/>
                  <a:gd name="connsiteX6" fmla="*/ 21717 w 43479"/>
                  <a:gd name="connsiteY6" fmla="*/ 0 h 67722"/>
                  <a:gd name="connsiteX7" fmla="*/ 43434 w 43479"/>
                  <a:gd name="connsiteY7" fmla="*/ 21717 h 67722"/>
                  <a:gd name="connsiteX8" fmla="*/ 37624 w 43479"/>
                  <a:gd name="connsiteY8" fmla="*/ 36481 h 67722"/>
                  <a:gd name="connsiteX9" fmla="*/ 43243 w 43479"/>
                  <a:gd name="connsiteY9" fmla="*/ 58865 h 67722"/>
                  <a:gd name="connsiteX10" fmla="*/ 41910 w 43479"/>
                  <a:gd name="connsiteY10" fmla="*/ 64961 h 67722"/>
                  <a:gd name="connsiteX11" fmla="*/ 36290 w 43479"/>
                  <a:gd name="connsiteY11" fmla="*/ 67723 h 67722"/>
                  <a:gd name="connsiteX12" fmla="*/ 16288 w 43479"/>
                  <a:gd name="connsiteY12" fmla="*/ 53435 h 67722"/>
                  <a:gd name="connsiteX13" fmla="*/ 27146 w 43479"/>
                  <a:gd name="connsiteY13" fmla="*/ 53435 h 67722"/>
                  <a:gd name="connsiteX14" fmla="*/ 22669 w 43479"/>
                  <a:gd name="connsiteY14" fmla="*/ 35624 h 67722"/>
                  <a:gd name="connsiteX15" fmla="*/ 25718 w 43479"/>
                  <a:gd name="connsiteY15" fmla="*/ 27908 h 67722"/>
                  <a:gd name="connsiteX16" fmla="*/ 29146 w 43479"/>
                  <a:gd name="connsiteY16" fmla="*/ 21717 h 67722"/>
                  <a:gd name="connsiteX17" fmla="*/ 21717 w 43479"/>
                  <a:gd name="connsiteY17" fmla="*/ 14288 h 67722"/>
                  <a:gd name="connsiteX18" fmla="*/ 14288 w 43479"/>
                  <a:gd name="connsiteY18" fmla="*/ 21717 h 67722"/>
                  <a:gd name="connsiteX19" fmla="*/ 17717 w 43479"/>
                  <a:gd name="connsiteY19" fmla="*/ 27908 h 67722"/>
                  <a:gd name="connsiteX20" fmla="*/ 20765 w 43479"/>
                  <a:gd name="connsiteY20" fmla="*/ 35624 h 67722"/>
                  <a:gd name="connsiteX21" fmla="*/ 16288 w 43479"/>
                  <a:gd name="connsiteY21" fmla="*/ 53435 h 67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43479" h="67722">
                    <a:moveTo>
                      <a:pt x="36290" y="67723"/>
                    </a:moveTo>
                    <a:lnTo>
                      <a:pt x="7144" y="67723"/>
                    </a:lnTo>
                    <a:cubicBezTo>
                      <a:pt x="4953" y="67723"/>
                      <a:pt x="2857" y="66675"/>
                      <a:pt x="1524" y="64961"/>
                    </a:cubicBezTo>
                    <a:cubicBezTo>
                      <a:pt x="191" y="63246"/>
                      <a:pt x="-286" y="60960"/>
                      <a:pt x="191" y="58865"/>
                    </a:cubicBezTo>
                    <a:lnTo>
                      <a:pt x="5810" y="36481"/>
                    </a:lnTo>
                    <a:cubicBezTo>
                      <a:pt x="2095" y="32480"/>
                      <a:pt x="0" y="27242"/>
                      <a:pt x="0" y="21717"/>
                    </a:cubicBezTo>
                    <a:cubicBezTo>
                      <a:pt x="0" y="9716"/>
                      <a:pt x="9716" y="0"/>
                      <a:pt x="21717" y="0"/>
                    </a:cubicBezTo>
                    <a:cubicBezTo>
                      <a:pt x="33718" y="0"/>
                      <a:pt x="43434" y="9716"/>
                      <a:pt x="43434" y="21717"/>
                    </a:cubicBezTo>
                    <a:cubicBezTo>
                      <a:pt x="43434" y="27242"/>
                      <a:pt x="41339" y="32480"/>
                      <a:pt x="37624" y="36481"/>
                    </a:cubicBezTo>
                    <a:lnTo>
                      <a:pt x="43243" y="58865"/>
                    </a:lnTo>
                    <a:cubicBezTo>
                      <a:pt x="43815" y="60960"/>
                      <a:pt x="43339" y="63246"/>
                      <a:pt x="41910" y="64961"/>
                    </a:cubicBezTo>
                    <a:cubicBezTo>
                      <a:pt x="40577" y="66770"/>
                      <a:pt x="38481" y="67723"/>
                      <a:pt x="36290" y="67723"/>
                    </a:cubicBezTo>
                    <a:close/>
                    <a:moveTo>
                      <a:pt x="16288" y="53435"/>
                    </a:moveTo>
                    <a:lnTo>
                      <a:pt x="27146" y="53435"/>
                    </a:lnTo>
                    <a:lnTo>
                      <a:pt x="22669" y="35624"/>
                    </a:lnTo>
                    <a:cubicBezTo>
                      <a:pt x="21907" y="32671"/>
                      <a:pt x="23146" y="29528"/>
                      <a:pt x="25718" y="27908"/>
                    </a:cubicBezTo>
                    <a:cubicBezTo>
                      <a:pt x="27813" y="26480"/>
                      <a:pt x="29146" y="24194"/>
                      <a:pt x="29146" y="21717"/>
                    </a:cubicBezTo>
                    <a:cubicBezTo>
                      <a:pt x="29146" y="17621"/>
                      <a:pt x="25813" y="14288"/>
                      <a:pt x="21717" y="14288"/>
                    </a:cubicBezTo>
                    <a:cubicBezTo>
                      <a:pt x="17621" y="14288"/>
                      <a:pt x="14288" y="17621"/>
                      <a:pt x="14288" y="21717"/>
                    </a:cubicBezTo>
                    <a:cubicBezTo>
                      <a:pt x="14288" y="24194"/>
                      <a:pt x="15526" y="26575"/>
                      <a:pt x="17717" y="27908"/>
                    </a:cubicBezTo>
                    <a:cubicBezTo>
                      <a:pt x="20288" y="29528"/>
                      <a:pt x="21527" y="32671"/>
                      <a:pt x="20765" y="35624"/>
                    </a:cubicBezTo>
                    <a:lnTo>
                      <a:pt x="16288" y="5343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321" name="Grafik 21">
            <a:extLst>
              <a:ext uri="{FF2B5EF4-FFF2-40B4-BE49-F238E27FC236}">
                <a16:creationId xmlns:a16="http://schemas.microsoft.com/office/drawing/2014/main" id="{3F9F2306-8C02-B3D1-9817-ABF757B92803}"/>
              </a:ext>
            </a:extLst>
          </p:cNvPr>
          <p:cNvGrpSpPr/>
          <p:nvPr/>
        </p:nvGrpSpPr>
        <p:grpSpPr bwMode="gray">
          <a:xfrm>
            <a:off x="2724271" y="240493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22" name="Grafik 21">
              <a:extLst>
                <a:ext uri="{FF2B5EF4-FFF2-40B4-BE49-F238E27FC236}">
                  <a16:creationId xmlns:a16="http://schemas.microsoft.com/office/drawing/2014/main" id="{ABDEA0BD-479A-342B-E4A1-74C5CEB7A9BC}"/>
                </a:ext>
              </a:extLst>
            </p:cNvPr>
            <p:cNvGrpSpPr/>
            <p:nvPr/>
          </p:nvGrpSpPr>
          <p:grpSpPr bwMode="gray">
            <a:xfrm>
              <a:off x="5970248" y="3239716"/>
              <a:ext cx="247025" cy="130799"/>
              <a:chOff x="5970248" y="3239716"/>
              <a:chExt cx="247025" cy="130799"/>
            </a:xfrm>
            <a:grpFill/>
          </p:grpSpPr>
          <p:grpSp>
            <p:nvGrpSpPr>
              <p:cNvPr id="346" name="Grafik 21">
                <a:extLst>
                  <a:ext uri="{FF2B5EF4-FFF2-40B4-BE49-F238E27FC236}">
                    <a16:creationId xmlns:a16="http://schemas.microsoft.com/office/drawing/2014/main" id="{BB00FAED-D1F6-92F9-2119-8E8406FF409E}"/>
                  </a:ext>
                </a:extLst>
              </p:cNvPr>
              <p:cNvGrpSpPr/>
              <p:nvPr/>
            </p:nvGrpSpPr>
            <p:grpSpPr bwMode="gray">
              <a:xfrm>
                <a:off x="6114361" y="3239716"/>
                <a:ext cx="102912" cy="58695"/>
                <a:chOff x="6114361" y="3239716"/>
                <a:chExt cx="102912" cy="58695"/>
              </a:xfrm>
              <a:grpFill/>
            </p:grpSpPr>
            <p:sp>
              <p:nvSpPr>
                <p:cNvPr id="359" name="Grafik 21">
                  <a:extLst>
                    <a:ext uri="{FF2B5EF4-FFF2-40B4-BE49-F238E27FC236}">
                      <a16:creationId xmlns:a16="http://schemas.microsoft.com/office/drawing/2014/main" id="{DAE41D92-A775-266C-D4F1-F70D92609EB8}"/>
                    </a:ext>
                  </a:extLst>
                </p:cNvPr>
                <p:cNvSpPr/>
                <p:nvPr/>
              </p:nvSpPr>
              <p:spPr bwMode="gray">
                <a:xfrm>
                  <a:off x="6114361" y="3239716"/>
                  <a:ext cx="102912" cy="58695"/>
                </a:xfrm>
                <a:custGeom>
                  <a:avLst/>
                  <a:gdLst>
                    <a:gd name="connsiteX0" fmla="*/ 7165 w 102912"/>
                    <a:gd name="connsiteY0" fmla="*/ 58695 h 58695"/>
                    <a:gd name="connsiteX1" fmla="*/ 783 w 102912"/>
                    <a:gd name="connsiteY1" fmla="*/ 54695 h 58695"/>
                    <a:gd name="connsiteX2" fmla="*/ 4022 w 102912"/>
                    <a:gd name="connsiteY2" fmla="*/ 45074 h 58695"/>
                    <a:gd name="connsiteX3" fmla="*/ 92509 w 102912"/>
                    <a:gd name="connsiteY3" fmla="*/ 783 h 58695"/>
                    <a:gd name="connsiteX4" fmla="*/ 102129 w 102912"/>
                    <a:gd name="connsiteY4" fmla="*/ 4022 h 58695"/>
                    <a:gd name="connsiteX5" fmla="*/ 98891 w 102912"/>
                    <a:gd name="connsiteY5" fmla="*/ 13642 h 58695"/>
                    <a:gd name="connsiteX6" fmla="*/ 10403 w 102912"/>
                    <a:gd name="connsiteY6" fmla="*/ 57933 h 58695"/>
                    <a:gd name="connsiteX7" fmla="*/ 7165 w 102912"/>
                    <a:gd name="connsiteY7" fmla="*/ 58695 h 586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2912" h="58695">
                      <a:moveTo>
                        <a:pt x="7165" y="58695"/>
                      </a:moveTo>
                      <a:cubicBezTo>
                        <a:pt x="4498" y="58695"/>
                        <a:pt x="2021" y="57266"/>
                        <a:pt x="783" y="54695"/>
                      </a:cubicBezTo>
                      <a:cubicBezTo>
                        <a:pt x="-1027" y="51170"/>
                        <a:pt x="402" y="46884"/>
                        <a:pt x="4022" y="45074"/>
                      </a:cubicBezTo>
                      <a:lnTo>
                        <a:pt x="92509" y="783"/>
                      </a:lnTo>
                      <a:cubicBezTo>
                        <a:pt x="96033" y="-1027"/>
                        <a:pt x="100319" y="402"/>
                        <a:pt x="102129" y="4022"/>
                      </a:cubicBezTo>
                      <a:cubicBezTo>
                        <a:pt x="103939" y="7546"/>
                        <a:pt x="102510" y="11832"/>
                        <a:pt x="98891" y="13642"/>
                      </a:cubicBezTo>
                      <a:lnTo>
                        <a:pt x="10403" y="57933"/>
                      </a:lnTo>
                      <a:cubicBezTo>
                        <a:pt x="9356" y="58505"/>
                        <a:pt x="8308" y="58695"/>
                        <a:pt x="7165" y="5869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0" name="Grafik 21">
                  <a:extLst>
                    <a:ext uri="{FF2B5EF4-FFF2-40B4-BE49-F238E27FC236}">
                      <a16:creationId xmlns:a16="http://schemas.microsoft.com/office/drawing/2014/main" id="{77A9DB7E-B637-F916-FB89-45804512136D}"/>
                    </a:ext>
                  </a:extLst>
                </p:cNvPr>
                <p:cNvSpPr/>
                <p:nvPr/>
              </p:nvSpPr>
              <p:spPr bwMode="gray">
                <a:xfrm>
                  <a:off x="6147243" y="3239928"/>
                  <a:ext cx="69913" cy="14287"/>
                </a:xfrm>
                <a:custGeom>
                  <a:avLst/>
                  <a:gdLst>
                    <a:gd name="connsiteX0" fmla="*/ 62770 w 69913"/>
                    <a:gd name="connsiteY0" fmla="*/ 14287 h 14287"/>
                    <a:gd name="connsiteX1" fmla="*/ 7144 w 69913"/>
                    <a:gd name="connsiteY1" fmla="*/ 14287 h 14287"/>
                    <a:gd name="connsiteX2" fmla="*/ 0 w 69913"/>
                    <a:gd name="connsiteY2" fmla="*/ 7144 h 14287"/>
                    <a:gd name="connsiteX3" fmla="*/ 7144 w 69913"/>
                    <a:gd name="connsiteY3" fmla="*/ 0 h 14287"/>
                    <a:gd name="connsiteX4" fmla="*/ 62770 w 69913"/>
                    <a:gd name="connsiteY4" fmla="*/ 0 h 14287"/>
                    <a:gd name="connsiteX5" fmla="*/ 69914 w 69913"/>
                    <a:gd name="connsiteY5" fmla="*/ 7144 h 14287"/>
                    <a:gd name="connsiteX6" fmla="*/ 62770 w 69913"/>
                    <a:gd name="connsiteY6" fmla="*/ 14287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9913" h="14287">
                      <a:moveTo>
                        <a:pt x="62770" y="14287"/>
                      </a:moveTo>
                      <a:lnTo>
                        <a:pt x="7144" y="14287"/>
                      </a:lnTo>
                      <a:cubicBezTo>
                        <a:pt x="3239" y="14287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62770" y="0"/>
                      </a:lnTo>
                      <a:cubicBezTo>
                        <a:pt x="66675" y="0"/>
                        <a:pt x="69914" y="3238"/>
                        <a:pt x="69914" y="7144"/>
                      </a:cubicBezTo>
                      <a:cubicBezTo>
                        <a:pt x="69914" y="11049"/>
                        <a:pt x="66770" y="14287"/>
                        <a:pt x="62770" y="1428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1" name="Grafik 21">
                  <a:extLst>
                    <a:ext uri="{FF2B5EF4-FFF2-40B4-BE49-F238E27FC236}">
                      <a16:creationId xmlns:a16="http://schemas.microsoft.com/office/drawing/2014/main" id="{477788CA-AA4B-1A45-0066-E837473F96AD}"/>
                    </a:ext>
                  </a:extLst>
                </p:cNvPr>
                <p:cNvSpPr/>
                <p:nvPr/>
              </p:nvSpPr>
              <p:spPr bwMode="gray">
                <a:xfrm>
                  <a:off x="6202870" y="3239928"/>
                  <a:ext cx="14287" cy="42100"/>
                </a:xfrm>
                <a:custGeom>
                  <a:avLst/>
                  <a:gdLst>
                    <a:gd name="connsiteX0" fmla="*/ 7144 w 14287"/>
                    <a:gd name="connsiteY0" fmla="*/ 42100 h 42100"/>
                    <a:gd name="connsiteX1" fmla="*/ 0 w 14287"/>
                    <a:gd name="connsiteY1" fmla="*/ 34957 h 42100"/>
                    <a:gd name="connsiteX2" fmla="*/ 0 w 14287"/>
                    <a:gd name="connsiteY2" fmla="*/ 7144 h 42100"/>
                    <a:gd name="connsiteX3" fmla="*/ 7144 w 14287"/>
                    <a:gd name="connsiteY3" fmla="*/ 0 h 42100"/>
                    <a:gd name="connsiteX4" fmla="*/ 14288 w 14287"/>
                    <a:gd name="connsiteY4" fmla="*/ 7144 h 42100"/>
                    <a:gd name="connsiteX5" fmla="*/ 14288 w 14287"/>
                    <a:gd name="connsiteY5" fmla="*/ 34957 h 42100"/>
                    <a:gd name="connsiteX6" fmla="*/ 7144 w 14287"/>
                    <a:gd name="connsiteY6" fmla="*/ 42100 h 42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2100">
                      <a:moveTo>
                        <a:pt x="7144" y="42100"/>
                      </a:moveTo>
                      <a:cubicBezTo>
                        <a:pt x="3239" y="42100"/>
                        <a:pt x="0" y="38862"/>
                        <a:pt x="0" y="34957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4957"/>
                      </a:lnTo>
                      <a:cubicBezTo>
                        <a:pt x="14288" y="38862"/>
                        <a:pt x="11144" y="42100"/>
                        <a:pt x="7144" y="4210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7" name="Grafik 21">
                <a:extLst>
                  <a:ext uri="{FF2B5EF4-FFF2-40B4-BE49-F238E27FC236}">
                    <a16:creationId xmlns:a16="http://schemas.microsoft.com/office/drawing/2014/main" id="{5A5EF508-8BAC-430E-C62B-FAF50E5EEA53}"/>
                  </a:ext>
                </a:extLst>
              </p:cNvPr>
              <p:cNvGrpSpPr/>
              <p:nvPr/>
            </p:nvGrpSpPr>
            <p:grpSpPr bwMode="gray">
              <a:xfrm>
                <a:off x="5970248" y="3311862"/>
                <a:ext cx="102912" cy="58653"/>
                <a:chOff x="5970248" y="3311862"/>
                <a:chExt cx="102912" cy="58653"/>
              </a:xfrm>
              <a:grpFill/>
            </p:grpSpPr>
            <p:sp>
              <p:nvSpPr>
                <p:cNvPr id="356" name="Grafik 21">
                  <a:extLst>
                    <a:ext uri="{FF2B5EF4-FFF2-40B4-BE49-F238E27FC236}">
                      <a16:creationId xmlns:a16="http://schemas.microsoft.com/office/drawing/2014/main" id="{0285011E-9F6D-F720-AEE4-524339B28CE2}"/>
                    </a:ext>
                  </a:extLst>
                </p:cNvPr>
                <p:cNvSpPr/>
                <p:nvPr/>
              </p:nvSpPr>
              <p:spPr bwMode="gray">
                <a:xfrm>
                  <a:off x="5970248" y="3311862"/>
                  <a:ext cx="102912" cy="58653"/>
                </a:xfrm>
                <a:custGeom>
                  <a:avLst/>
                  <a:gdLst>
                    <a:gd name="connsiteX0" fmla="*/ 7165 w 102912"/>
                    <a:gd name="connsiteY0" fmla="*/ 58653 h 58653"/>
                    <a:gd name="connsiteX1" fmla="*/ 783 w 102912"/>
                    <a:gd name="connsiteY1" fmla="*/ 54653 h 58653"/>
                    <a:gd name="connsiteX2" fmla="*/ 4022 w 102912"/>
                    <a:gd name="connsiteY2" fmla="*/ 45032 h 58653"/>
                    <a:gd name="connsiteX3" fmla="*/ 92509 w 102912"/>
                    <a:gd name="connsiteY3" fmla="*/ 741 h 58653"/>
                    <a:gd name="connsiteX4" fmla="*/ 102129 w 102912"/>
                    <a:gd name="connsiteY4" fmla="*/ 3980 h 58653"/>
                    <a:gd name="connsiteX5" fmla="*/ 98891 w 102912"/>
                    <a:gd name="connsiteY5" fmla="*/ 13600 h 58653"/>
                    <a:gd name="connsiteX6" fmla="*/ 10403 w 102912"/>
                    <a:gd name="connsiteY6" fmla="*/ 57891 h 58653"/>
                    <a:gd name="connsiteX7" fmla="*/ 7165 w 102912"/>
                    <a:gd name="connsiteY7" fmla="*/ 58653 h 586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2912" h="58653">
                      <a:moveTo>
                        <a:pt x="7165" y="58653"/>
                      </a:moveTo>
                      <a:cubicBezTo>
                        <a:pt x="4498" y="58653"/>
                        <a:pt x="2021" y="57224"/>
                        <a:pt x="783" y="54653"/>
                      </a:cubicBezTo>
                      <a:cubicBezTo>
                        <a:pt x="-1027" y="51128"/>
                        <a:pt x="402" y="46842"/>
                        <a:pt x="4022" y="45032"/>
                      </a:cubicBezTo>
                      <a:lnTo>
                        <a:pt x="92509" y="741"/>
                      </a:lnTo>
                      <a:cubicBezTo>
                        <a:pt x="96033" y="-973"/>
                        <a:pt x="100319" y="360"/>
                        <a:pt x="102129" y="3980"/>
                      </a:cubicBezTo>
                      <a:cubicBezTo>
                        <a:pt x="103939" y="7504"/>
                        <a:pt x="102510" y="11790"/>
                        <a:pt x="98891" y="13600"/>
                      </a:cubicBezTo>
                      <a:lnTo>
                        <a:pt x="10403" y="57891"/>
                      </a:lnTo>
                      <a:cubicBezTo>
                        <a:pt x="9356" y="58463"/>
                        <a:pt x="8213" y="58653"/>
                        <a:pt x="7165" y="5865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7" name="Grafik 21">
                  <a:extLst>
                    <a:ext uri="{FF2B5EF4-FFF2-40B4-BE49-F238E27FC236}">
                      <a16:creationId xmlns:a16="http://schemas.microsoft.com/office/drawing/2014/main" id="{53F12363-BDDA-623B-9FCA-AC75638E9847}"/>
                    </a:ext>
                  </a:extLst>
                </p:cNvPr>
                <p:cNvSpPr/>
                <p:nvPr/>
              </p:nvSpPr>
              <p:spPr bwMode="gray">
                <a:xfrm>
                  <a:off x="5970269" y="3356228"/>
                  <a:ext cx="69913" cy="14287"/>
                </a:xfrm>
                <a:custGeom>
                  <a:avLst/>
                  <a:gdLst>
                    <a:gd name="connsiteX0" fmla="*/ 62770 w 69913"/>
                    <a:gd name="connsiteY0" fmla="*/ 14288 h 14287"/>
                    <a:gd name="connsiteX1" fmla="*/ 7144 w 69913"/>
                    <a:gd name="connsiteY1" fmla="*/ 14288 h 14287"/>
                    <a:gd name="connsiteX2" fmla="*/ 0 w 69913"/>
                    <a:gd name="connsiteY2" fmla="*/ 7144 h 14287"/>
                    <a:gd name="connsiteX3" fmla="*/ 7144 w 69913"/>
                    <a:gd name="connsiteY3" fmla="*/ 0 h 14287"/>
                    <a:gd name="connsiteX4" fmla="*/ 62770 w 69913"/>
                    <a:gd name="connsiteY4" fmla="*/ 0 h 14287"/>
                    <a:gd name="connsiteX5" fmla="*/ 69913 w 69913"/>
                    <a:gd name="connsiteY5" fmla="*/ 7144 h 14287"/>
                    <a:gd name="connsiteX6" fmla="*/ 62770 w 69913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9913" h="14287">
                      <a:moveTo>
                        <a:pt x="62770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62770" y="0"/>
                      </a:lnTo>
                      <a:cubicBezTo>
                        <a:pt x="66675" y="0"/>
                        <a:pt x="69913" y="3239"/>
                        <a:pt x="69913" y="7144"/>
                      </a:cubicBezTo>
                      <a:cubicBezTo>
                        <a:pt x="69913" y="11049"/>
                        <a:pt x="66675" y="14288"/>
                        <a:pt x="62770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8" name="Grafik 21">
                  <a:extLst>
                    <a:ext uri="{FF2B5EF4-FFF2-40B4-BE49-F238E27FC236}">
                      <a16:creationId xmlns:a16="http://schemas.microsoft.com/office/drawing/2014/main" id="{B093B294-2475-0A9B-EE74-279A50ED35E0}"/>
                    </a:ext>
                  </a:extLst>
                </p:cNvPr>
                <p:cNvSpPr/>
                <p:nvPr/>
              </p:nvSpPr>
              <p:spPr bwMode="gray">
                <a:xfrm>
                  <a:off x="5970269" y="3328415"/>
                  <a:ext cx="14287" cy="42100"/>
                </a:xfrm>
                <a:custGeom>
                  <a:avLst/>
                  <a:gdLst>
                    <a:gd name="connsiteX0" fmla="*/ 7144 w 14287"/>
                    <a:gd name="connsiteY0" fmla="*/ 42101 h 42100"/>
                    <a:gd name="connsiteX1" fmla="*/ 0 w 14287"/>
                    <a:gd name="connsiteY1" fmla="*/ 34957 h 42100"/>
                    <a:gd name="connsiteX2" fmla="*/ 0 w 14287"/>
                    <a:gd name="connsiteY2" fmla="*/ 7144 h 42100"/>
                    <a:gd name="connsiteX3" fmla="*/ 7144 w 14287"/>
                    <a:gd name="connsiteY3" fmla="*/ 0 h 42100"/>
                    <a:gd name="connsiteX4" fmla="*/ 14288 w 14287"/>
                    <a:gd name="connsiteY4" fmla="*/ 7144 h 42100"/>
                    <a:gd name="connsiteX5" fmla="*/ 14288 w 14287"/>
                    <a:gd name="connsiteY5" fmla="*/ 34957 h 42100"/>
                    <a:gd name="connsiteX6" fmla="*/ 7144 w 14287"/>
                    <a:gd name="connsiteY6" fmla="*/ 42101 h 42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2100">
                      <a:moveTo>
                        <a:pt x="7144" y="42101"/>
                      </a:moveTo>
                      <a:cubicBezTo>
                        <a:pt x="3239" y="42101"/>
                        <a:pt x="0" y="38862"/>
                        <a:pt x="0" y="3495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4957"/>
                      </a:lnTo>
                      <a:cubicBezTo>
                        <a:pt x="14288" y="38957"/>
                        <a:pt x="11049" y="42101"/>
                        <a:pt x="7144" y="4210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8" name="Grafik 21">
                <a:extLst>
                  <a:ext uri="{FF2B5EF4-FFF2-40B4-BE49-F238E27FC236}">
                    <a16:creationId xmlns:a16="http://schemas.microsoft.com/office/drawing/2014/main" id="{C20F969C-DB90-2D9B-6E2D-E47A9CF4C691}"/>
                  </a:ext>
                </a:extLst>
              </p:cNvPr>
              <p:cNvGrpSpPr/>
              <p:nvPr/>
            </p:nvGrpSpPr>
            <p:grpSpPr bwMode="gray">
              <a:xfrm>
                <a:off x="6114382" y="3311879"/>
                <a:ext cx="102832" cy="58636"/>
                <a:chOff x="6114382" y="3311879"/>
                <a:chExt cx="102832" cy="58636"/>
              </a:xfrm>
              <a:grpFill/>
            </p:grpSpPr>
            <p:sp>
              <p:nvSpPr>
                <p:cNvPr id="353" name="Grafik 21">
                  <a:extLst>
                    <a:ext uri="{FF2B5EF4-FFF2-40B4-BE49-F238E27FC236}">
                      <a16:creationId xmlns:a16="http://schemas.microsoft.com/office/drawing/2014/main" id="{0805D1F2-31AC-4743-9444-53C0F7F315E1}"/>
                    </a:ext>
                  </a:extLst>
                </p:cNvPr>
                <p:cNvSpPr/>
                <p:nvPr/>
              </p:nvSpPr>
              <p:spPr bwMode="gray">
                <a:xfrm>
                  <a:off x="6114420" y="3311879"/>
                  <a:ext cx="102794" cy="58636"/>
                </a:xfrm>
                <a:custGeom>
                  <a:avLst/>
                  <a:gdLst>
                    <a:gd name="connsiteX0" fmla="*/ 95593 w 102794"/>
                    <a:gd name="connsiteY0" fmla="*/ 58636 h 58636"/>
                    <a:gd name="connsiteX1" fmla="*/ 92450 w 102794"/>
                    <a:gd name="connsiteY1" fmla="*/ 57874 h 58636"/>
                    <a:gd name="connsiteX2" fmla="*/ 3963 w 102794"/>
                    <a:gd name="connsiteY2" fmla="*/ 13583 h 58636"/>
                    <a:gd name="connsiteX3" fmla="*/ 724 w 102794"/>
                    <a:gd name="connsiteY3" fmla="*/ 3963 h 58636"/>
                    <a:gd name="connsiteX4" fmla="*/ 10344 w 102794"/>
                    <a:gd name="connsiteY4" fmla="*/ 724 h 58636"/>
                    <a:gd name="connsiteX5" fmla="*/ 98832 w 102794"/>
                    <a:gd name="connsiteY5" fmla="*/ 45015 h 58636"/>
                    <a:gd name="connsiteX6" fmla="*/ 102070 w 102794"/>
                    <a:gd name="connsiteY6" fmla="*/ 54636 h 58636"/>
                    <a:gd name="connsiteX7" fmla="*/ 95593 w 102794"/>
                    <a:gd name="connsiteY7" fmla="*/ 58636 h 586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2794" h="58636">
                      <a:moveTo>
                        <a:pt x="95593" y="58636"/>
                      </a:moveTo>
                      <a:cubicBezTo>
                        <a:pt x="94545" y="58636"/>
                        <a:pt x="93403" y="58350"/>
                        <a:pt x="92450" y="57874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98832" y="45015"/>
                      </a:lnTo>
                      <a:cubicBezTo>
                        <a:pt x="102356" y="46825"/>
                        <a:pt x="103785" y="51111"/>
                        <a:pt x="102070" y="54636"/>
                      </a:cubicBezTo>
                      <a:cubicBezTo>
                        <a:pt x="100737" y="57207"/>
                        <a:pt x="98260" y="58636"/>
                        <a:pt x="95593" y="5863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4" name="Grafik 21">
                  <a:extLst>
                    <a:ext uri="{FF2B5EF4-FFF2-40B4-BE49-F238E27FC236}">
                      <a16:creationId xmlns:a16="http://schemas.microsoft.com/office/drawing/2014/main" id="{A5E1CD9A-82C8-B34D-2CE0-7D9D63662BFC}"/>
                    </a:ext>
                  </a:extLst>
                </p:cNvPr>
                <p:cNvSpPr/>
                <p:nvPr/>
              </p:nvSpPr>
              <p:spPr bwMode="gray">
                <a:xfrm>
                  <a:off x="6114382" y="3312032"/>
                  <a:ext cx="14287" cy="42100"/>
                </a:xfrm>
                <a:custGeom>
                  <a:avLst/>
                  <a:gdLst>
                    <a:gd name="connsiteX0" fmla="*/ 7144 w 14287"/>
                    <a:gd name="connsiteY0" fmla="*/ 42100 h 42100"/>
                    <a:gd name="connsiteX1" fmla="*/ 0 w 14287"/>
                    <a:gd name="connsiteY1" fmla="*/ 34957 h 42100"/>
                    <a:gd name="connsiteX2" fmla="*/ 0 w 14287"/>
                    <a:gd name="connsiteY2" fmla="*/ 7144 h 42100"/>
                    <a:gd name="connsiteX3" fmla="*/ 7144 w 14287"/>
                    <a:gd name="connsiteY3" fmla="*/ 0 h 42100"/>
                    <a:gd name="connsiteX4" fmla="*/ 14288 w 14287"/>
                    <a:gd name="connsiteY4" fmla="*/ 7144 h 42100"/>
                    <a:gd name="connsiteX5" fmla="*/ 14288 w 14287"/>
                    <a:gd name="connsiteY5" fmla="*/ 34957 h 42100"/>
                    <a:gd name="connsiteX6" fmla="*/ 7144 w 14287"/>
                    <a:gd name="connsiteY6" fmla="*/ 42100 h 42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2100">
                      <a:moveTo>
                        <a:pt x="7144" y="42100"/>
                      </a:moveTo>
                      <a:cubicBezTo>
                        <a:pt x="3239" y="42100"/>
                        <a:pt x="0" y="38862"/>
                        <a:pt x="0" y="3495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4957"/>
                      </a:lnTo>
                      <a:cubicBezTo>
                        <a:pt x="14288" y="38862"/>
                        <a:pt x="11144" y="42100"/>
                        <a:pt x="7144" y="4210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5" name="Grafik 21">
                  <a:extLst>
                    <a:ext uri="{FF2B5EF4-FFF2-40B4-BE49-F238E27FC236}">
                      <a16:creationId xmlns:a16="http://schemas.microsoft.com/office/drawing/2014/main" id="{A07BD3C1-739D-2721-4FA3-99E7AE5B043A}"/>
                    </a:ext>
                  </a:extLst>
                </p:cNvPr>
                <p:cNvSpPr/>
                <p:nvPr/>
              </p:nvSpPr>
              <p:spPr bwMode="gray">
                <a:xfrm>
                  <a:off x="6114478" y="3312032"/>
                  <a:ext cx="69913" cy="14287"/>
                </a:xfrm>
                <a:custGeom>
                  <a:avLst/>
                  <a:gdLst>
                    <a:gd name="connsiteX0" fmla="*/ 62770 w 69913"/>
                    <a:gd name="connsiteY0" fmla="*/ 14288 h 14287"/>
                    <a:gd name="connsiteX1" fmla="*/ 7144 w 69913"/>
                    <a:gd name="connsiteY1" fmla="*/ 14288 h 14287"/>
                    <a:gd name="connsiteX2" fmla="*/ 0 w 69913"/>
                    <a:gd name="connsiteY2" fmla="*/ 7144 h 14287"/>
                    <a:gd name="connsiteX3" fmla="*/ 7144 w 69913"/>
                    <a:gd name="connsiteY3" fmla="*/ 0 h 14287"/>
                    <a:gd name="connsiteX4" fmla="*/ 62770 w 69913"/>
                    <a:gd name="connsiteY4" fmla="*/ 0 h 14287"/>
                    <a:gd name="connsiteX5" fmla="*/ 69913 w 69913"/>
                    <a:gd name="connsiteY5" fmla="*/ 7144 h 14287"/>
                    <a:gd name="connsiteX6" fmla="*/ 62770 w 69913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9913" h="14287">
                      <a:moveTo>
                        <a:pt x="62770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62770" y="0"/>
                      </a:lnTo>
                      <a:cubicBezTo>
                        <a:pt x="66675" y="0"/>
                        <a:pt x="69913" y="3239"/>
                        <a:pt x="69913" y="7144"/>
                      </a:cubicBezTo>
                      <a:cubicBezTo>
                        <a:pt x="69913" y="11049"/>
                        <a:pt x="66675" y="14288"/>
                        <a:pt x="62770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9" name="Grafik 21">
                <a:extLst>
                  <a:ext uri="{FF2B5EF4-FFF2-40B4-BE49-F238E27FC236}">
                    <a16:creationId xmlns:a16="http://schemas.microsoft.com/office/drawing/2014/main" id="{E39962F9-C5D8-6CFC-7AA6-C4F1204EF938}"/>
                  </a:ext>
                </a:extLst>
              </p:cNvPr>
              <p:cNvGrpSpPr/>
              <p:nvPr/>
            </p:nvGrpSpPr>
            <p:grpSpPr bwMode="gray">
              <a:xfrm>
                <a:off x="5970307" y="3239775"/>
                <a:ext cx="102794" cy="58636"/>
                <a:chOff x="5970307" y="3239775"/>
                <a:chExt cx="102794" cy="58636"/>
              </a:xfrm>
              <a:grpFill/>
            </p:grpSpPr>
            <p:sp>
              <p:nvSpPr>
                <p:cNvPr id="350" name="Grafik 21">
                  <a:extLst>
                    <a:ext uri="{FF2B5EF4-FFF2-40B4-BE49-F238E27FC236}">
                      <a16:creationId xmlns:a16="http://schemas.microsoft.com/office/drawing/2014/main" id="{9B861AE4-B0B0-2919-0B26-77E60C3E0289}"/>
                    </a:ext>
                  </a:extLst>
                </p:cNvPr>
                <p:cNvSpPr/>
                <p:nvPr/>
              </p:nvSpPr>
              <p:spPr bwMode="gray">
                <a:xfrm>
                  <a:off x="5970307" y="3239775"/>
                  <a:ext cx="102794" cy="58636"/>
                </a:xfrm>
                <a:custGeom>
                  <a:avLst/>
                  <a:gdLst>
                    <a:gd name="connsiteX0" fmla="*/ 95593 w 102794"/>
                    <a:gd name="connsiteY0" fmla="*/ 58636 h 58636"/>
                    <a:gd name="connsiteX1" fmla="*/ 92450 w 102794"/>
                    <a:gd name="connsiteY1" fmla="*/ 57874 h 58636"/>
                    <a:gd name="connsiteX2" fmla="*/ 3963 w 102794"/>
                    <a:gd name="connsiteY2" fmla="*/ 13583 h 58636"/>
                    <a:gd name="connsiteX3" fmla="*/ 724 w 102794"/>
                    <a:gd name="connsiteY3" fmla="*/ 3963 h 58636"/>
                    <a:gd name="connsiteX4" fmla="*/ 10344 w 102794"/>
                    <a:gd name="connsiteY4" fmla="*/ 724 h 58636"/>
                    <a:gd name="connsiteX5" fmla="*/ 98832 w 102794"/>
                    <a:gd name="connsiteY5" fmla="*/ 45015 h 58636"/>
                    <a:gd name="connsiteX6" fmla="*/ 102070 w 102794"/>
                    <a:gd name="connsiteY6" fmla="*/ 54636 h 58636"/>
                    <a:gd name="connsiteX7" fmla="*/ 95593 w 102794"/>
                    <a:gd name="connsiteY7" fmla="*/ 58636 h 586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2794" h="58636">
                      <a:moveTo>
                        <a:pt x="95593" y="58636"/>
                      </a:moveTo>
                      <a:cubicBezTo>
                        <a:pt x="94545" y="58636"/>
                        <a:pt x="93402" y="58350"/>
                        <a:pt x="92450" y="57874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98832" y="45015"/>
                      </a:lnTo>
                      <a:cubicBezTo>
                        <a:pt x="102356" y="46825"/>
                        <a:pt x="103785" y="51111"/>
                        <a:pt x="102070" y="54636"/>
                      </a:cubicBezTo>
                      <a:cubicBezTo>
                        <a:pt x="100737" y="57207"/>
                        <a:pt x="98260" y="58636"/>
                        <a:pt x="95593" y="5863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1" name="Grafik 21">
                  <a:extLst>
                    <a:ext uri="{FF2B5EF4-FFF2-40B4-BE49-F238E27FC236}">
                      <a16:creationId xmlns:a16="http://schemas.microsoft.com/office/drawing/2014/main" id="{F59B4C6B-6EA1-A67A-F41F-F8E2D14FF1CD}"/>
                    </a:ext>
                  </a:extLst>
                </p:cNvPr>
                <p:cNvSpPr/>
                <p:nvPr/>
              </p:nvSpPr>
              <p:spPr bwMode="gray">
                <a:xfrm>
                  <a:off x="6058756" y="3256311"/>
                  <a:ext cx="14287" cy="42100"/>
                </a:xfrm>
                <a:custGeom>
                  <a:avLst/>
                  <a:gdLst>
                    <a:gd name="connsiteX0" fmla="*/ 7144 w 14287"/>
                    <a:gd name="connsiteY0" fmla="*/ 42101 h 42100"/>
                    <a:gd name="connsiteX1" fmla="*/ 0 w 14287"/>
                    <a:gd name="connsiteY1" fmla="*/ 34957 h 42100"/>
                    <a:gd name="connsiteX2" fmla="*/ 0 w 14287"/>
                    <a:gd name="connsiteY2" fmla="*/ 7144 h 42100"/>
                    <a:gd name="connsiteX3" fmla="*/ 7144 w 14287"/>
                    <a:gd name="connsiteY3" fmla="*/ 0 h 42100"/>
                    <a:gd name="connsiteX4" fmla="*/ 14288 w 14287"/>
                    <a:gd name="connsiteY4" fmla="*/ 7144 h 42100"/>
                    <a:gd name="connsiteX5" fmla="*/ 14288 w 14287"/>
                    <a:gd name="connsiteY5" fmla="*/ 34957 h 42100"/>
                    <a:gd name="connsiteX6" fmla="*/ 7144 w 14287"/>
                    <a:gd name="connsiteY6" fmla="*/ 42101 h 42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2100">
                      <a:moveTo>
                        <a:pt x="7144" y="42101"/>
                      </a:moveTo>
                      <a:cubicBezTo>
                        <a:pt x="3239" y="42101"/>
                        <a:pt x="0" y="38862"/>
                        <a:pt x="0" y="3495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4957"/>
                      </a:lnTo>
                      <a:cubicBezTo>
                        <a:pt x="14288" y="38957"/>
                        <a:pt x="11049" y="42101"/>
                        <a:pt x="7144" y="4210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2" name="Grafik 21">
                  <a:extLst>
                    <a:ext uri="{FF2B5EF4-FFF2-40B4-BE49-F238E27FC236}">
                      <a16:creationId xmlns:a16="http://schemas.microsoft.com/office/drawing/2014/main" id="{2AAB629F-4E85-2820-C41E-CD3DF743783D}"/>
                    </a:ext>
                  </a:extLst>
                </p:cNvPr>
                <p:cNvSpPr/>
                <p:nvPr/>
              </p:nvSpPr>
              <p:spPr bwMode="gray">
                <a:xfrm>
                  <a:off x="6003130" y="3284124"/>
                  <a:ext cx="69913" cy="14287"/>
                </a:xfrm>
                <a:custGeom>
                  <a:avLst/>
                  <a:gdLst>
                    <a:gd name="connsiteX0" fmla="*/ 62770 w 69913"/>
                    <a:gd name="connsiteY0" fmla="*/ 14288 h 14287"/>
                    <a:gd name="connsiteX1" fmla="*/ 7144 w 69913"/>
                    <a:gd name="connsiteY1" fmla="*/ 14288 h 14287"/>
                    <a:gd name="connsiteX2" fmla="*/ 0 w 69913"/>
                    <a:gd name="connsiteY2" fmla="*/ 7144 h 14287"/>
                    <a:gd name="connsiteX3" fmla="*/ 7144 w 69913"/>
                    <a:gd name="connsiteY3" fmla="*/ 0 h 14287"/>
                    <a:gd name="connsiteX4" fmla="*/ 62770 w 69913"/>
                    <a:gd name="connsiteY4" fmla="*/ 0 h 14287"/>
                    <a:gd name="connsiteX5" fmla="*/ 69914 w 69913"/>
                    <a:gd name="connsiteY5" fmla="*/ 7144 h 14287"/>
                    <a:gd name="connsiteX6" fmla="*/ 62770 w 69913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9913" h="14287">
                      <a:moveTo>
                        <a:pt x="62770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62770" y="0"/>
                      </a:lnTo>
                      <a:cubicBezTo>
                        <a:pt x="66675" y="0"/>
                        <a:pt x="69914" y="3239"/>
                        <a:pt x="69914" y="7144"/>
                      </a:cubicBezTo>
                      <a:cubicBezTo>
                        <a:pt x="69914" y="11049"/>
                        <a:pt x="66675" y="14288"/>
                        <a:pt x="62770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323" name="Grafik 21">
              <a:extLst>
                <a:ext uri="{FF2B5EF4-FFF2-40B4-BE49-F238E27FC236}">
                  <a16:creationId xmlns:a16="http://schemas.microsoft.com/office/drawing/2014/main" id="{B9E4BAF8-5B18-A001-F212-E80CD45A1207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4" name="Grafik 21">
              <a:extLst>
                <a:ext uri="{FF2B5EF4-FFF2-40B4-BE49-F238E27FC236}">
                  <a16:creationId xmlns:a16="http://schemas.microsoft.com/office/drawing/2014/main" id="{19D4FCDE-EE43-6803-1865-A62F01E72FCF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325" name="Grafik 21">
              <a:extLst>
                <a:ext uri="{FF2B5EF4-FFF2-40B4-BE49-F238E27FC236}">
                  <a16:creationId xmlns:a16="http://schemas.microsoft.com/office/drawing/2014/main" id="{166C0B74-2D26-5A9E-E8E6-26AB03428BDE}"/>
                </a:ext>
              </a:extLst>
            </p:cNvPr>
            <p:cNvGrpSpPr/>
            <p:nvPr/>
          </p:nvGrpSpPr>
          <p:grpSpPr bwMode="gray">
            <a:xfrm>
              <a:off x="5945695" y="3460455"/>
              <a:ext cx="296036" cy="175617"/>
              <a:chOff x="5945695" y="3460455"/>
              <a:chExt cx="296036" cy="175617"/>
            </a:xfrm>
            <a:grpFill/>
          </p:grpSpPr>
          <p:grpSp>
            <p:nvGrpSpPr>
              <p:cNvPr id="326" name="Grafik 21">
                <a:extLst>
                  <a:ext uri="{FF2B5EF4-FFF2-40B4-BE49-F238E27FC236}">
                    <a16:creationId xmlns:a16="http://schemas.microsoft.com/office/drawing/2014/main" id="{E8729CED-D061-0B2C-D894-906AC1A689BF}"/>
                  </a:ext>
                </a:extLst>
              </p:cNvPr>
              <p:cNvGrpSpPr/>
              <p:nvPr/>
            </p:nvGrpSpPr>
            <p:grpSpPr bwMode="gray">
              <a:xfrm>
                <a:off x="5945695" y="3460455"/>
                <a:ext cx="296036" cy="175521"/>
                <a:chOff x="5945695" y="3460455"/>
                <a:chExt cx="296036" cy="175521"/>
              </a:xfrm>
              <a:grpFill/>
            </p:grpSpPr>
            <p:grpSp>
              <p:nvGrpSpPr>
                <p:cNvPr id="337" name="Grafik 21">
                  <a:extLst>
                    <a:ext uri="{FF2B5EF4-FFF2-40B4-BE49-F238E27FC236}">
                      <a16:creationId xmlns:a16="http://schemas.microsoft.com/office/drawing/2014/main" id="{DC9D4159-9FBB-F744-E6CD-EEB122E60685}"/>
                    </a:ext>
                  </a:extLst>
                </p:cNvPr>
                <p:cNvGrpSpPr/>
                <p:nvPr/>
              </p:nvGrpSpPr>
              <p:grpSpPr bwMode="gray">
                <a:xfrm>
                  <a:off x="5945695" y="3460455"/>
                  <a:ext cx="95059" cy="58459"/>
                  <a:chOff x="5945695" y="3460455"/>
                  <a:chExt cx="95059" cy="58459"/>
                </a:xfrm>
                <a:grpFill/>
              </p:grpSpPr>
              <p:sp>
                <p:nvSpPr>
                  <p:cNvPr id="343" name="Grafik 21">
                    <a:extLst>
                      <a:ext uri="{FF2B5EF4-FFF2-40B4-BE49-F238E27FC236}">
                        <a16:creationId xmlns:a16="http://schemas.microsoft.com/office/drawing/2014/main" id="{D94FC032-F7EA-3D7A-4FF1-FA3ED37F3E8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45695" y="3482529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916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44" name="Grafik 21">
                    <a:extLst>
                      <a:ext uri="{FF2B5EF4-FFF2-40B4-BE49-F238E27FC236}">
                        <a16:creationId xmlns:a16="http://schemas.microsoft.com/office/drawing/2014/main" id="{3D42FE87-AC23-E850-FEE0-86F2101601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45718" y="3460455"/>
                    <a:ext cx="36337" cy="36361"/>
                  </a:xfrm>
                  <a:custGeom>
                    <a:avLst/>
                    <a:gdLst>
                      <a:gd name="connsiteX0" fmla="*/ 7120 w 36337"/>
                      <a:gd name="connsiteY0" fmla="*/ 36362 h 36361"/>
                      <a:gd name="connsiteX1" fmla="*/ 2072 w 36337"/>
                      <a:gd name="connsiteY1" fmla="*/ 34266 h 36361"/>
                      <a:gd name="connsiteX2" fmla="*/ 2072 w 36337"/>
                      <a:gd name="connsiteY2" fmla="*/ 24170 h 36361"/>
                      <a:gd name="connsiteX3" fmla="*/ 24170 w 36337"/>
                      <a:gd name="connsiteY3" fmla="*/ 2072 h 36361"/>
                      <a:gd name="connsiteX4" fmla="*/ 34266 w 36337"/>
                      <a:gd name="connsiteY4" fmla="*/ 2072 h 36361"/>
                      <a:gd name="connsiteX5" fmla="*/ 34266 w 36337"/>
                      <a:gd name="connsiteY5" fmla="*/ 12168 h 36361"/>
                      <a:gd name="connsiteX6" fmla="*/ 12168 w 36337"/>
                      <a:gd name="connsiteY6" fmla="*/ 34266 h 36361"/>
                      <a:gd name="connsiteX7" fmla="*/ 7120 w 36337"/>
                      <a:gd name="connsiteY7" fmla="*/ 36362 h 363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37" h="36361">
                        <a:moveTo>
                          <a:pt x="7120" y="36362"/>
                        </a:moveTo>
                        <a:cubicBezTo>
                          <a:pt x="5310" y="36362"/>
                          <a:pt x="3500" y="35695"/>
                          <a:pt x="2072" y="34266"/>
                        </a:cubicBezTo>
                        <a:cubicBezTo>
                          <a:pt x="-691" y="31504"/>
                          <a:pt x="-691" y="26932"/>
                          <a:pt x="2072" y="24170"/>
                        </a:cubicBezTo>
                        <a:lnTo>
                          <a:pt x="24170" y="2072"/>
                        </a:lnTo>
                        <a:cubicBezTo>
                          <a:pt x="26932" y="-691"/>
                          <a:pt x="31504" y="-691"/>
                          <a:pt x="34266" y="2072"/>
                        </a:cubicBezTo>
                        <a:cubicBezTo>
                          <a:pt x="37028" y="4834"/>
                          <a:pt x="37028" y="9406"/>
                          <a:pt x="34266" y="12168"/>
                        </a:cubicBezTo>
                        <a:lnTo>
                          <a:pt x="12168" y="34266"/>
                        </a:lnTo>
                        <a:cubicBezTo>
                          <a:pt x="10835" y="35600"/>
                          <a:pt x="9025" y="36362"/>
                          <a:pt x="7120" y="3636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45" name="Grafik 21">
                    <a:extLst>
                      <a:ext uri="{FF2B5EF4-FFF2-40B4-BE49-F238E27FC236}">
                        <a16:creationId xmlns:a16="http://schemas.microsoft.com/office/drawing/2014/main" id="{8CE13162-7DE6-9FEB-5C49-D3363490E76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45814" y="3482553"/>
                    <a:ext cx="36337" cy="36361"/>
                  </a:xfrm>
                  <a:custGeom>
                    <a:avLst/>
                    <a:gdLst>
                      <a:gd name="connsiteX0" fmla="*/ 29218 w 36337"/>
                      <a:gd name="connsiteY0" fmla="*/ 36362 h 36361"/>
                      <a:gd name="connsiteX1" fmla="*/ 24170 w 36337"/>
                      <a:gd name="connsiteY1" fmla="*/ 34266 h 36361"/>
                      <a:gd name="connsiteX2" fmla="*/ 2072 w 36337"/>
                      <a:gd name="connsiteY2" fmla="*/ 12168 h 36361"/>
                      <a:gd name="connsiteX3" fmla="*/ 2072 w 36337"/>
                      <a:gd name="connsiteY3" fmla="*/ 2072 h 36361"/>
                      <a:gd name="connsiteX4" fmla="*/ 12168 w 36337"/>
                      <a:gd name="connsiteY4" fmla="*/ 2072 h 36361"/>
                      <a:gd name="connsiteX5" fmla="*/ 34266 w 36337"/>
                      <a:gd name="connsiteY5" fmla="*/ 24170 h 36361"/>
                      <a:gd name="connsiteX6" fmla="*/ 34266 w 36337"/>
                      <a:gd name="connsiteY6" fmla="*/ 34266 h 36361"/>
                      <a:gd name="connsiteX7" fmla="*/ 29218 w 36337"/>
                      <a:gd name="connsiteY7" fmla="*/ 36362 h 363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37" h="36361">
                        <a:moveTo>
                          <a:pt x="29218" y="36362"/>
                        </a:moveTo>
                        <a:cubicBezTo>
                          <a:pt x="27408" y="36362"/>
                          <a:pt x="25598" y="35695"/>
                          <a:pt x="24170" y="34266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4266" y="24170"/>
                        </a:lnTo>
                        <a:cubicBezTo>
                          <a:pt x="37028" y="26932"/>
                          <a:pt x="37028" y="31504"/>
                          <a:pt x="34266" y="34266"/>
                        </a:cubicBezTo>
                        <a:cubicBezTo>
                          <a:pt x="32837" y="35695"/>
                          <a:pt x="31028" y="36362"/>
                          <a:pt x="29218" y="3636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38" name="Grafik 21">
                  <a:extLst>
                    <a:ext uri="{FF2B5EF4-FFF2-40B4-BE49-F238E27FC236}">
                      <a16:creationId xmlns:a16="http://schemas.microsoft.com/office/drawing/2014/main" id="{8D1ECDD5-0587-F6A2-7B58-A7EFC2D1EBF9}"/>
                    </a:ext>
                  </a:extLst>
                </p:cNvPr>
                <p:cNvSpPr/>
                <p:nvPr/>
              </p:nvSpPr>
              <p:spPr bwMode="gray">
                <a:xfrm>
                  <a:off x="6026871" y="3482553"/>
                  <a:ext cx="131206" cy="131230"/>
                </a:xfrm>
                <a:custGeom>
                  <a:avLst/>
                  <a:gdLst>
                    <a:gd name="connsiteX0" fmla="*/ 124087 w 131206"/>
                    <a:gd name="connsiteY0" fmla="*/ 131231 h 131230"/>
                    <a:gd name="connsiteX1" fmla="*/ 119039 w 131206"/>
                    <a:gd name="connsiteY1" fmla="*/ 129135 h 131230"/>
                    <a:gd name="connsiteX2" fmla="*/ 2072 w 131206"/>
                    <a:gd name="connsiteY2" fmla="*/ 12168 h 131230"/>
                    <a:gd name="connsiteX3" fmla="*/ 2072 w 131206"/>
                    <a:gd name="connsiteY3" fmla="*/ 2072 h 131230"/>
                    <a:gd name="connsiteX4" fmla="*/ 12168 w 131206"/>
                    <a:gd name="connsiteY4" fmla="*/ 2072 h 131230"/>
                    <a:gd name="connsiteX5" fmla="*/ 129135 w 131206"/>
                    <a:gd name="connsiteY5" fmla="*/ 119039 h 131230"/>
                    <a:gd name="connsiteX6" fmla="*/ 129135 w 131206"/>
                    <a:gd name="connsiteY6" fmla="*/ 129135 h 131230"/>
                    <a:gd name="connsiteX7" fmla="*/ 124087 w 131206"/>
                    <a:gd name="connsiteY7" fmla="*/ 131231 h 131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06" h="131230">
                      <a:moveTo>
                        <a:pt x="124087" y="131231"/>
                      </a:moveTo>
                      <a:cubicBezTo>
                        <a:pt x="122277" y="131231"/>
                        <a:pt x="120467" y="130564"/>
                        <a:pt x="119039" y="12913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129135" y="119039"/>
                      </a:lnTo>
                      <a:cubicBezTo>
                        <a:pt x="131897" y="121801"/>
                        <a:pt x="131897" y="126373"/>
                        <a:pt x="129135" y="129135"/>
                      </a:cubicBezTo>
                      <a:cubicBezTo>
                        <a:pt x="127802" y="130564"/>
                        <a:pt x="125897" y="131231"/>
                        <a:pt x="124087" y="13123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339" name="Grafik 21">
                  <a:extLst>
                    <a:ext uri="{FF2B5EF4-FFF2-40B4-BE49-F238E27FC236}">
                      <a16:creationId xmlns:a16="http://schemas.microsoft.com/office/drawing/2014/main" id="{F4EA56BC-1578-9D36-E5BB-FAD530C4C0EE}"/>
                    </a:ext>
                  </a:extLst>
                </p:cNvPr>
                <p:cNvGrpSpPr/>
                <p:nvPr/>
              </p:nvGrpSpPr>
              <p:grpSpPr bwMode="gray">
                <a:xfrm>
                  <a:off x="6146672" y="3577518"/>
                  <a:ext cx="95059" cy="58459"/>
                  <a:chOff x="6146672" y="3577518"/>
                  <a:chExt cx="95059" cy="58459"/>
                </a:xfrm>
                <a:grpFill/>
              </p:grpSpPr>
              <p:sp>
                <p:nvSpPr>
                  <p:cNvPr id="340" name="Grafik 21">
                    <a:extLst>
                      <a:ext uri="{FF2B5EF4-FFF2-40B4-BE49-F238E27FC236}">
                        <a16:creationId xmlns:a16="http://schemas.microsoft.com/office/drawing/2014/main" id="{B286D2AA-294B-1E5A-F519-4F162A6DF63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46672" y="35995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41" name="Grafik 21">
                    <a:extLst>
                      <a:ext uri="{FF2B5EF4-FFF2-40B4-BE49-F238E27FC236}">
                        <a16:creationId xmlns:a16="http://schemas.microsoft.com/office/drawing/2014/main" id="{703B2E25-CE25-4641-D63E-DB4280C3D4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05370" y="3577518"/>
                    <a:ext cx="36337" cy="36361"/>
                  </a:xfrm>
                  <a:custGeom>
                    <a:avLst/>
                    <a:gdLst>
                      <a:gd name="connsiteX0" fmla="*/ 29218 w 36337"/>
                      <a:gd name="connsiteY0" fmla="*/ 36362 h 36361"/>
                      <a:gd name="connsiteX1" fmla="*/ 24170 w 36337"/>
                      <a:gd name="connsiteY1" fmla="*/ 34266 h 36361"/>
                      <a:gd name="connsiteX2" fmla="*/ 2072 w 36337"/>
                      <a:gd name="connsiteY2" fmla="*/ 12168 h 36361"/>
                      <a:gd name="connsiteX3" fmla="*/ 2072 w 36337"/>
                      <a:gd name="connsiteY3" fmla="*/ 2072 h 36361"/>
                      <a:gd name="connsiteX4" fmla="*/ 12168 w 36337"/>
                      <a:gd name="connsiteY4" fmla="*/ 2072 h 36361"/>
                      <a:gd name="connsiteX5" fmla="*/ 34266 w 36337"/>
                      <a:gd name="connsiteY5" fmla="*/ 24170 h 36361"/>
                      <a:gd name="connsiteX6" fmla="*/ 34266 w 36337"/>
                      <a:gd name="connsiteY6" fmla="*/ 34266 h 36361"/>
                      <a:gd name="connsiteX7" fmla="*/ 29218 w 36337"/>
                      <a:gd name="connsiteY7" fmla="*/ 36362 h 363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37" h="36361">
                        <a:moveTo>
                          <a:pt x="29218" y="36362"/>
                        </a:moveTo>
                        <a:cubicBezTo>
                          <a:pt x="27408" y="36362"/>
                          <a:pt x="25598" y="35695"/>
                          <a:pt x="24170" y="34266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4266" y="24170"/>
                        </a:lnTo>
                        <a:cubicBezTo>
                          <a:pt x="37028" y="26932"/>
                          <a:pt x="37028" y="31504"/>
                          <a:pt x="34266" y="34266"/>
                        </a:cubicBezTo>
                        <a:cubicBezTo>
                          <a:pt x="32837" y="35695"/>
                          <a:pt x="31028" y="36362"/>
                          <a:pt x="29218" y="3636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42" name="Grafik 21">
                    <a:extLst>
                      <a:ext uri="{FF2B5EF4-FFF2-40B4-BE49-F238E27FC236}">
                        <a16:creationId xmlns:a16="http://schemas.microsoft.com/office/drawing/2014/main" id="{BD8A2068-A3A9-89E3-CE74-65A86C219D0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05370" y="3599616"/>
                    <a:ext cx="36337" cy="36361"/>
                  </a:xfrm>
                  <a:custGeom>
                    <a:avLst/>
                    <a:gdLst>
                      <a:gd name="connsiteX0" fmla="*/ 7120 w 36337"/>
                      <a:gd name="connsiteY0" fmla="*/ 36362 h 36361"/>
                      <a:gd name="connsiteX1" fmla="*/ 2072 w 36337"/>
                      <a:gd name="connsiteY1" fmla="*/ 34266 h 36361"/>
                      <a:gd name="connsiteX2" fmla="*/ 2072 w 36337"/>
                      <a:gd name="connsiteY2" fmla="*/ 24170 h 36361"/>
                      <a:gd name="connsiteX3" fmla="*/ 24170 w 36337"/>
                      <a:gd name="connsiteY3" fmla="*/ 2072 h 36361"/>
                      <a:gd name="connsiteX4" fmla="*/ 34266 w 36337"/>
                      <a:gd name="connsiteY4" fmla="*/ 2072 h 36361"/>
                      <a:gd name="connsiteX5" fmla="*/ 34266 w 36337"/>
                      <a:gd name="connsiteY5" fmla="*/ 12168 h 36361"/>
                      <a:gd name="connsiteX6" fmla="*/ 12168 w 36337"/>
                      <a:gd name="connsiteY6" fmla="*/ 34266 h 36361"/>
                      <a:gd name="connsiteX7" fmla="*/ 7120 w 36337"/>
                      <a:gd name="connsiteY7" fmla="*/ 36362 h 363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37" h="36361">
                        <a:moveTo>
                          <a:pt x="7120" y="36362"/>
                        </a:moveTo>
                        <a:cubicBezTo>
                          <a:pt x="5310" y="36362"/>
                          <a:pt x="3500" y="35695"/>
                          <a:pt x="2072" y="34266"/>
                        </a:cubicBezTo>
                        <a:cubicBezTo>
                          <a:pt x="-691" y="31504"/>
                          <a:pt x="-691" y="26932"/>
                          <a:pt x="2072" y="24170"/>
                        </a:cubicBezTo>
                        <a:lnTo>
                          <a:pt x="24170" y="2072"/>
                        </a:lnTo>
                        <a:cubicBezTo>
                          <a:pt x="26932" y="-691"/>
                          <a:pt x="31504" y="-691"/>
                          <a:pt x="34266" y="2072"/>
                        </a:cubicBezTo>
                        <a:cubicBezTo>
                          <a:pt x="37028" y="4834"/>
                          <a:pt x="37028" y="9406"/>
                          <a:pt x="34266" y="12168"/>
                        </a:cubicBezTo>
                        <a:lnTo>
                          <a:pt x="12168" y="34266"/>
                        </a:lnTo>
                        <a:cubicBezTo>
                          <a:pt x="10739" y="35695"/>
                          <a:pt x="8930" y="36362"/>
                          <a:pt x="7120" y="3636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327" name="Grafik 21">
                <a:extLst>
                  <a:ext uri="{FF2B5EF4-FFF2-40B4-BE49-F238E27FC236}">
                    <a16:creationId xmlns:a16="http://schemas.microsoft.com/office/drawing/2014/main" id="{CDB85BFB-B5AF-7A3C-05E7-78A97411CAC6}"/>
                  </a:ext>
                </a:extLst>
              </p:cNvPr>
              <p:cNvGrpSpPr/>
              <p:nvPr/>
            </p:nvGrpSpPr>
            <p:grpSpPr bwMode="gray">
              <a:xfrm>
                <a:off x="5945695" y="3460455"/>
                <a:ext cx="296036" cy="175617"/>
                <a:chOff x="5945695" y="3460455"/>
                <a:chExt cx="296036" cy="175617"/>
              </a:xfrm>
              <a:grpFill/>
            </p:grpSpPr>
            <p:grpSp>
              <p:nvGrpSpPr>
                <p:cNvPr id="328" name="Grafik 21">
                  <a:extLst>
                    <a:ext uri="{FF2B5EF4-FFF2-40B4-BE49-F238E27FC236}">
                      <a16:creationId xmlns:a16="http://schemas.microsoft.com/office/drawing/2014/main" id="{C0C99718-6F36-9C9C-A98F-ED92512B432B}"/>
                    </a:ext>
                  </a:extLst>
                </p:cNvPr>
                <p:cNvGrpSpPr/>
                <p:nvPr/>
              </p:nvGrpSpPr>
              <p:grpSpPr bwMode="gray">
                <a:xfrm>
                  <a:off x="6146672" y="3460455"/>
                  <a:ext cx="95059" cy="58554"/>
                  <a:chOff x="6146672" y="3460455"/>
                  <a:chExt cx="95059" cy="58554"/>
                </a:xfrm>
                <a:grpFill/>
              </p:grpSpPr>
              <p:sp>
                <p:nvSpPr>
                  <p:cNvPr id="334" name="Grafik 21">
                    <a:extLst>
                      <a:ext uri="{FF2B5EF4-FFF2-40B4-BE49-F238E27FC236}">
                        <a16:creationId xmlns:a16="http://schemas.microsoft.com/office/drawing/2014/main" id="{26FF8F01-07A8-1910-5935-12A61B96048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46672" y="3482529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35" name="Grafik 21">
                    <a:extLst>
                      <a:ext uri="{FF2B5EF4-FFF2-40B4-BE49-F238E27FC236}">
                        <a16:creationId xmlns:a16="http://schemas.microsoft.com/office/drawing/2014/main" id="{E2C7BD4D-84D4-E3A6-0D02-F1C1FF6A7AF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05370" y="3460455"/>
                    <a:ext cx="36337" cy="36361"/>
                  </a:xfrm>
                  <a:custGeom>
                    <a:avLst/>
                    <a:gdLst>
                      <a:gd name="connsiteX0" fmla="*/ 29218 w 36337"/>
                      <a:gd name="connsiteY0" fmla="*/ 36362 h 36361"/>
                      <a:gd name="connsiteX1" fmla="*/ 24170 w 36337"/>
                      <a:gd name="connsiteY1" fmla="*/ 34266 h 36361"/>
                      <a:gd name="connsiteX2" fmla="*/ 2072 w 36337"/>
                      <a:gd name="connsiteY2" fmla="*/ 12168 h 36361"/>
                      <a:gd name="connsiteX3" fmla="*/ 2072 w 36337"/>
                      <a:gd name="connsiteY3" fmla="*/ 2072 h 36361"/>
                      <a:gd name="connsiteX4" fmla="*/ 12168 w 36337"/>
                      <a:gd name="connsiteY4" fmla="*/ 2072 h 36361"/>
                      <a:gd name="connsiteX5" fmla="*/ 34266 w 36337"/>
                      <a:gd name="connsiteY5" fmla="*/ 24170 h 36361"/>
                      <a:gd name="connsiteX6" fmla="*/ 34266 w 36337"/>
                      <a:gd name="connsiteY6" fmla="*/ 34266 h 36361"/>
                      <a:gd name="connsiteX7" fmla="*/ 29218 w 36337"/>
                      <a:gd name="connsiteY7" fmla="*/ 36362 h 363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37" h="36361">
                        <a:moveTo>
                          <a:pt x="29218" y="36362"/>
                        </a:moveTo>
                        <a:cubicBezTo>
                          <a:pt x="27408" y="36362"/>
                          <a:pt x="25598" y="35695"/>
                          <a:pt x="24170" y="34266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4266" y="24170"/>
                        </a:lnTo>
                        <a:cubicBezTo>
                          <a:pt x="37028" y="26932"/>
                          <a:pt x="37028" y="31504"/>
                          <a:pt x="34266" y="34266"/>
                        </a:cubicBezTo>
                        <a:cubicBezTo>
                          <a:pt x="32837" y="35695"/>
                          <a:pt x="31028" y="36362"/>
                          <a:pt x="29218" y="3636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36" name="Grafik 21">
                    <a:extLst>
                      <a:ext uri="{FF2B5EF4-FFF2-40B4-BE49-F238E27FC236}">
                        <a16:creationId xmlns:a16="http://schemas.microsoft.com/office/drawing/2014/main" id="{46361E0A-DD09-347D-05BA-1F388DD4BC7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05370" y="3482649"/>
                    <a:ext cx="36337" cy="36361"/>
                  </a:xfrm>
                  <a:custGeom>
                    <a:avLst/>
                    <a:gdLst>
                      <a:gd name="connsiteX0" fmla="*/ 7120 w 36337"/>
                      <a:gd name="connsiteY0" fmla="*/ 36362 h 36361"/>
                      <a:gd name="connsiteX1" fmla="*/ 2072 w 36337"/>
                      <a:gd name="connsiteY1" fmla="*/ 34266 h 36361"/>
                      <a:gd name="connsiteX2" fmla="*/ 2072 w 36337"/>
                      <a:gd name="connsiteY2" fmla="*/ 24170 h 36361"/>
                      <a:gd name="connsiteX3" fmla="*/ 24170 w 36337"/>
                      <a:gd name="connsiteY3" fmla="*/ 2072 h 36361"/>
                      <a:gd name="connsiteX4" fmla="*/ 34266 w 36337"/>
                      <a:gd name="connsiteY4" fmla="*/ 2072 h 36361"/>
                      <a:gd name="connsiteX5" fmla="*/ 34266 w 36337"/>
                      <a:gd name="connsiteY5" fmla="*/ 12168 h 36361"/>
                      <a:gd name="connsiteX6" fmla="*/ 12168 w 36337"/>
                      <a:gd name="connsiteY6" fmla="*/ 34266 h 36361"/>
                      <a:gd name="connsiteX7" fmla="*/ 7120 w 36337"/>
                      <a:gd name="connsiteY7" fmla="*/ 36362 h 363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37" h="36361">
                        <a:moveTo>
                          <a:pt x="7120" y="36362"/>
                        </a:moveTo>
                        <a:cubicBezTo>
                          <a:pt x="5310" y="36362"/>
                          <a:pt x="3500" y="35695"/>
                          <a:pt x="2072" y="34266"/>
                        </a:cubicBezTo>
                        <a:cubicBezTo>
                          <a:pt x="-691" y="31504"/>
                          <a:pt x="-691" y="26932"/>
                          <a:pt x="2072" y="24170"/>
                        </a:cubicBezTo>
                        <a:lnTo>
                          <a:pt x="24170" y="2072"/>
                        </a:lnTo>
                        <a:cubicBezTo>
                          <a:pt x="26932" y="-691"/>
                          <a:pt x="31504" y="-691"/>
                          <a:pt x="34266" y="2072"/>
                        </a:cubicBezTo>
                        <a:cubicBezTo>
                          <a:pt x="37028" y="4834"/>
                          <a:pt x="37028" y="9406"/>
                          <a:pt x="34266" y="12168"/>
                        </a:cubicBezTo>
                        <a:lnTo>
                          <a:pt x="12168" y="34266"/>
                        </a:lnTo>
                        <a:cubicBezTo>
                          <a:pt x="10739" y="35600"/>
                          <a:pt x="8930" y="36362"/>
                          <a:pt x="7120" y="3636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29" name="Grafik 21">
                  <a:extLst>
                    <a:ext uri="{FF2B5EF4-FFF2-40B4-BE49-F238E27FC236}">
                      <a16:creationId xmlns:a16="http://schemas.microsoft.com/office/drawing/2014/main" id="{5945F985-61E9-62DD-A1C3-9B9A2B855E1D}"/>
                    </a:ext>
                  </a:extLst>
                </p:cNvPr>
                <p:cNvSpPr/>
                <p:nvPr/>
              </p:nvSpPr>
              <p:spPr bwMode="gray">
                <a:xfrm>
                  <a:off x="6029348" y="3482649"/>
                  <a:ext cx="131302" cy="131230"/>
                </a:xfrm>
                <a:custGeom>
                  <a:avLst/>
                  <a:gdLst>
                    <a:gd name="connsiteX0" fmla="*/ 7120 w 131302"/>
                    <a:gd name="connsiteY0" fmla="*/ 131231 h 131230"/>
                    <a:gd name="connsiteX1" fmla="*/ 2072 w 131302"/>
                    <a:gd name="connsiteY1" fmla="*/ 129135 h 131230"/>
                    <a:gd name="connsiteX2" fmla="*/ 2072 w 131302"/>
                    <a:gd name="connsiteY2" fmla="*/ 119039 h 131230"/>
                    <a:gd name="connsiteX3" fmla="*/ 119134 w 131302"/>
                    <a:gd name="connsiteY3" fmla="*/ 2072 h 131230"/>
                    <a:gd name="connsiteX4" fmla="*/ 129230 w 131302"/>
                    <a:gd name="connsiteY4" fmla="*/ 2072 h 131230"/>
                    <a:gd name="connsiteX5" fmla="*/ 129230 w 131302"/>
                    <a:gd name="connsiteY5" fmla="*/ 12168 h 131230"/>
                    <a:gd name="connsiteX6" fmla="*/ 12168 w 131302"/>
                    <a:gd name="connsiteY6" fmla="*/ 129135 h 131230"/>
                    <a:gd name="connsiteX7" fmla="*/ 7120 w 131302"/>
                    <a:gd name="connsiteY7" fmla="*/ 131231 h 131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02" h="131230">
                      <a:moveTo>
                        <a:pt x="7120" y="131231"/>
                      </a:moveTo>
                      <a:cubicBezTo>
                        <a:pt x="5310" y="131231"/>
                        <a:pt x="3500" y="130564"/>
                        <a:pt x="2072" y="129135"/>
                      </a:cubicBezTo>
                      <a:cubicBezTo>
                        <a:pt x="-691" y="126373"/>
                        <a:pt x="-691" y="121801"/>
                        <a:pt x="2072" y="119039"/>
                      </a:cubicBezTo>
                      <a:lnTo>
                        <a:pt x="119134" y="2072"/>
                      </a:lnTo>
                      <a:cubicBezTo>
                        <a:pt x="121896" y="-691"/>
                        <a:pt x="126468" y="-691"/>
                        <a:pt x="129230" y="2072"/>
                      </a:cubicBezTo>
                      <a:cubicBezTo>
                        <a:pt x="131993" y="4834"/>
                        <a:pt x="131993" y="9406"/>
                        <a:pt x="129230" y="12168"/>
                      </a:cubicBezTo>
                      <a:lnTo>
                        <a:pt x="12168" y="129135"/>
                      </a:lnTo>
                      <a:cubicBezTo>
                        <a:pt x="10835" y="130469"/>
                        <a:pt x="8930" y="131231"/>
                        <a:pt x="7120" y="13123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330" name="Grafik 21">
                  <a:extLst>
                    <a:ext uri="{FF2B5EF4-FFF2-40B4-BE49-F238E27FC236}">
                      <a16:creationId xmlns:a16="http://schemas.microsoft.com/office/drawing/2014/main" id="{B747B0A3-C0B1-1B2A-CD75-6F6EA763E25A}"/>
                    </a:ext>
                  </a:extLst>
                </p:cNvPr>
                <p:cNvGrpSpPr/>
                <p:nvPr/>
              </p:nvGrpSpPr>
              <p:grpSpPr bwMode="gray">
                <a:xfrm>
                  <a:off x="5945695" y="3577613"/>
                  <a:ext cx="95059" cy="58459"/>
                  <a:chOff x="5945695" y="3577613"/>
                  <a:chExt cx="95059" cy="58459"/>
                </a:xfrm>
                <a:grpFill/>
              </p:grpSpPr>
              <p:sp>
                <p:nvSpPr>
                  <p:cNvPr id="331" name="Grafik 21">
                    <a:extLst>
                      <a:ext uri="{FF2B5EF4-FFF2-40B4-BE49-F238E27FC236}">
                        <a16:creationId xmlns:a16="http://schemas.microsoft.com/office/drawing/2014/main" id="{3F06426B-8E02-1CF9-994B-D464104EC40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45695" y="359968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916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32" name="Grafik 21">
                    <a:extLst>
                      <a:ext uri="{FF2B5EF4-FFF2-40B4-BE49-F238E27FC236}">
                        <a16:creationId xmlns:a16="http://schemas.microsoft.com/office/drawing/2014/main" id="{823ABCDA-3F68-1FB6-F80B-A350B3EBFAC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45718" y="3577613"/>
                    <a:ext cx="36337" cy="36361"/>
                  </a:xfrm>
                  <a:custGeom>
                    <a:avLst/>
                    <a:gdLst>
                      <a:gd name="connsiteX0" fmla="*/ 7120 w 36337"/>
                      <a:gd name="connsiteY0" fmla="*/ 36362 h 36361"/>
                      <a:gd name="connsiteX1" fmla="*/ 2072 w 36337"/>
                      <a:gd name="connsiteY1" fmla="*/ 34266 h 36361"/>
                      <a:gd name="connsiteX2" fmla="*/ 2072 w 36337"/>
                      <a:gd name="connsiteY2" fmla="*/ 24170 h 36361"/>
                      <a:gd name="connsiteX3" fmla="*/ 24170 w 36337"/>
                      <a:gd name="connsiteY3" fmla="*/ 2072 h 36361"/>
                      <a:gd name="connsiteX4" fmla="*/ 34266 w 36337"/>
                      <a:gd name="connsiteY4" fmla="*/ 2072 h 36361"/>
                      <a:gd name="connsiteX5" fmla="*/ 34266 w 36337"/>
                      <a:gd name="connsiteY5" fmla="*/ 12168 h 36361"/>
                      <a:gd name="connsiteX6" fmla="*/ 12168 w 36337"/>
                      <a:gd name="connsiteY6" fmla="*/ 34266 h 36361"/>
                      <a:gd name="connsiteX7" fmla="*/ 7120 w 36337"/>
                      <a:gd name="connsiteY7" fmla="*/ 36362 h 363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37" h="36361">
                        <a:moveTo>
                          <a:pt x="7120" y="36362"/>
                        </a:moveTo>
                        <a:cubicBezTo>
                          <a:pt x="5310" y="36362"/>
                          <a:pt x="3500" y="35695"/>
                          <a:pt x="2072" y="34266"/>
                        </a:cubicBezTo>
                        <a:cubicBezTo>
                          <a:pt x="-691" y="31504"/>
                          <a:pt x="-691" y="26932"/>
                          <a:pt x="2072" y="24170"/>
                        </a:cubicBezTo>
                        <a:lnTo>
                          <a:pt x="24170" y="2072"/>
                        </a:lnTo>
                        <a:cubicBezTo>
                          <a:pt x="26932" y="-691"/>
                          <a:pt x="31504" y="-691"/>
                          <a:pt x="34266" y="2072"/>
                        </a:cubicBezTo>
                        <a:cubicBezTo>
                          <a:pt x="37028" y="4834"/>
                          <a:pt x="37028" y="9406"/>
                          <a:pt x="34266" y="12168"/>
                        </a:cubicBezTo>
                        <a:lnTo>
                          <a:pt x="12168" y="34266"/>
                        </a:lnTo>
                        <a:cubicBezTo>
                          <a:pt x="10835" y="35695"/>
                          <a:pt x="9025" y="36362"/>
                          <a:pt x="7120" y="3636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33" name="Grafik 21">
                    <a:extLst>
                      <a:ext uri="{FF2B5EF4-FFF2-40B4-BE49-F238E27FC236}">
                        <a16:creationId xmlns:a16="http://schemas.microsoft.com/office/drawing/2014/main" id="{F92E0BE6-8D76-737C-B135-C63AE0E4850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45814" y="3599711"/>
                    <a:ext cx="36337" cy="36361"/>
                  </a:xfrm>
                  <a:custGeom>
                    <a:avLst/>
                    <a:gdLst>
                      <a:gd name="connsiteX0" fmla="*/ 29218 w 36337"/>
                      <a:gd name="connsiteY0" fmla="*/ 36362 h 36361"/>
                      <a:gd name="connsiteX1" fmla="*/ 24170 w 36337"/>
                      <a:gd name="connsiteY1" fmla="*/ 34266 h 36361"/>
                      <a:gd name="connsiteX2" fmla="*/ 2072 w 36337"/>
                      <a:gd name="connsiteY2" fmla="*/ 12168 h 36361"/>
                      <a:gd name="connsiteX3" fmla="*/ 2072 w 36337"/>
                      <a:gd name="connsiteY3" fmla="*/ 2072 h 36361"/>
                      <a:gd name="connsiteX4" fmla="*/ 12168 w 36337"/>
                      <a:gd name="connsiteY4" fmla="*/ 2072 h 36361"/>
                      <a:gd name="connsiteX5" fmla="*/ 34266 w 36337"/>
                      <a:gd name="connsiteY5" fmla="*/ 24170 h 36361"/>
                      <a:gd name="connsiteX6" fmla="*/ 34266 w 36337"/>
                      <a:gd name="connsiteY6" fmla="*/ 34266 h 36361"/>
                      <a:gd name="connsiteX7" fmla="*/ 29218 w 36337"/>
                      <a:gd name="connsiteY7" fmla="*/ 36362 h 363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37" h="36361">
                        <a:moveTo>
                          <a:pt x="29218" y="36362"/>
                        </a:moveTo>
                        <a:cubicBezTo>
                          <a:pt x="27408" y="36362"/>
                          <a:pt x="25598" y="35695"/>
                          <a:pt x="24170" y="34266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4266" y="24170"/>
                        </a:lnTo>
                        <a:cubicBezTo>
                          <a:pt x="37028" y="26932"/>
                          <a:pt x="37028" y="31504"/>
                          <a:pt x="34266" y="34266"/>
                        </a:cubicBezTo>
                        <a:cubicBezTo>
                          <a:pt x="32837" y="35695"/>
                          <a:pt x="31028" y="36362"/>
                          <a:pt x="29218" y="3636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362" name="Grafik 23">
            <a:extLst>
              <a:ext uri="{FF2B5EF4-FFF2-40B4-BE49-F238E27FC236}">
                <a16:creationId xmlns:a16="http://schemas.microsoft.com/office/drawing/2014/main" id="{AF3A967A-CFC2-8AA9-1D18-4535B396234D}"/>
              </a:ext>
            </a:extLst>
          </p:cNvPr>
          <p:cNvGrpSpPr/>
          <p:nvPr/>
        </p:nvGrpSpPr>
        <p:grpSpPr bwMode="gray">
          <a:xfrm>
            <a:off x="2724271" y="2940797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63" name="Grafik 23">
              <a:extLst>
                <a:ext uri="{FF2B5EF4-FFF2-40B4-BE49-F238E27FC236}">
                  <a16:creationId xmlns:a16="http://schemas.microsoft.com/office/drawing/2014/main" id="{793FBFED-972C-DD50-135B-A23718CBD1CB}"/>
                </a:ext>
              </a:extLst>
            </p:cNvPr>
            <p:cNvGrpSpPr/>
            <p:nvPr/>
          </p:nvGrpSpPr>
          <p:grpSpPr bwMode="gray">
            <a:xfrm>
              <a:off x="6022109" y="3421474"/>
              <a:ext cx="78462" cy="75342"/>
              <a:chOff x="6022109" y="3421474"/>
              <a:chExt cx="78462" cy="75342"/>
            </a:xfrm>
            <a:grpFill/>
          </p:grpSpPr>
          <p:grpSp>
            <p:nvGrpSpPr>
              <p:cNvPr id="399" name="Grafik 23">
                <a:extLst>
                  <a:ext uri="{FF2B5EF4-FFF2-40B4-BE49-F238E27FC236}">
                    <a16:creationId xmlns:a16="http://schemas.microsoft.com/office/drawing/2014/main" id="{E8716EBE-756B-1527-C265-90726ED4D09C}"/>
                  </a:ext>
                </a:extLst>
              </p:cNvPr>
              <p:cNvGrpSpPr/>
              <p:nvPr/>
            </p:nvGrpSpPr>
            <p:grpSpPr bwMode="gray">
              <a:xfrm>
                <a:off x="6022109" y="3421474"/>
                <a:ext cx="46553" cy="46291"/>
                <a:chOff x="6022109" y="3421474"/>
                <a:chExt cx="46553" cy="46291"/>
              </a:xfrm>
              <a:grpFill/>
            </p:grpSpPr>
            <p:sp>
              <p:nvSpPr>
                <p:cNvPr id="404" name="Grafik 23">
                  <a:extLst>
                    <a:ext uri="{FF2B5EF4-FFF2-40B4-BE49-F238E27FC236}">
                      <a16:creationId xmlns:a16="http://schemas.microsoft.com/office/drawing/2014/main" id="{F60A0997-4DCF-3FD4-DD5C-E991B25040D3}"/>
                    </a:ext>
                  </a:extLst>
                </p:cNvPr>
                <p:cNvSpPr/>
                <p:nvPr/>
              </p:nvSpPr>
              <p:spPr bwMode="gray">
                <a:xfrm>
                  <a:off x="6022109" y="3421498"/>
                  <a:ext cx="46243" cy="46267"/>
                </a:xfrm>
                <a:custGeom>
                  <a:avLst/>
                  <a:gdLst>
                    <a:gd name="connsiteX0" fmla="*/ 7120 w 46243"/>
                    <a:gd name="connsiteY0" fmla="*/ 46268 h 46267"/>
                    <a:gd name="connsiteX1" fmla="*/ 2072 w 46243"/>
                    <a:gd name="connsiteY1" fmla="*/ 44172 h 46267"/>
                    <a:gd name="connsiteX2" fmla="*/ 2072 w 46243"/>
                    <a:gd name="connsiteY2" fmla="*/ 34076 h 46267"/>
                    <a:gd name="connsiteX3" fmla="*/ 34076 w 46243"/>
                    <a:gd name="connsiteY3" fmla="*/ 2072 h 46267"/>
                    <a:gd name="connsiteX4" fmla="*/ 44172 w 46243"/>
                    <a:gd name="connsiteY4" fmla="*/ 2072 h 46267"/>
                    <a:gd name="connsiteX5" fmla="*/ 44172 w 46243"/>
                    <a:gd name="connsiteY5" fmla="*/ 12168 h 46267"/>
                    <a:gd name="connsiteX6" fmla="*/ 12168 w 46243"/>
                    <a:gd name="connsiteY6" fmla="*/ 44172 h 46267"/>
                    <a:gd name="connsiteX7" fmla="*/ 7120 w 46243"/>
                    <a:gd name="connsiteY7" fmla="*/ 46268 h 462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6243" h="46267">
                      <a:moveTo>
                        <a:pt x="7120" y="46268"/>
                      </a:moveTo>
                      <a:cubicBezTo>
                        <a:pt x="5310" y="46268"/>
                        <a:pt x="3500" y="45601"/>
                        <a:pt x="2072" y="44172"/>
                      </a:cubicBezTo>
                      <a:cubicBezTo>
                        <a:pt x="-691" y="41410"/>
                        <a:pt x="-691" y="36838"/>
                        <a:pt x="2072" y="34076"/>
                      </a:cubicBezTo>
                      <a:lnTo>
                        <a:pt x="34076" y="2072"/>
                      </a:lnTo>
                      <a:cubicBezTo>
                        <a:pt x="36838" y="-691"/>
                        <a:pt x="41410" y="-691"/>
                        <a:pt x="44172" y="2072"/>
                      </a:cubicBezTo>
                      <a:cubicBezTo>
                        <a:pt x="46934" y="4834"/>
                        <a:pt x="46934" y="9406"/>
                        <a:pt x="44172" y="12168"/>
                      </a:cubicBezTo>
                      <a:lnTo>
                        <a:pt x="12168" y="44172"/>
                      </a:lnTo>
                      <a:cubicBezTo>
                        <a:pt x="10739" y="45601"/>
                        <a:pt x="8930" y="46268"/>
                        <a:pt x="7120" y="4626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5" name="Grafik 23">
                  <a:extLst>
                    <a:ext uri="{FF2B5EF4-FFF2-40B4-BE49-F238E27FC236}">
                      <a16:creationId xmlns:a16="http://schemas.microsoft.com/office/drawing/2014/main" id="{B6143DE4-3BF9-9FB3-52DC-0DD3DF8CFCAE}"/>
                    </a:ext>
                  </a:extLst>
                </p:cNvPr>
                <p:cNvSpPr/>
                <p:nvPr/>
              </p:nvSpPr>
              <p:spPr bwMode="gray">
                <a:xfrm>
                  <a:off x="6037134" y="3421474"/>
                  <a:ext cx="31146" cy="14287"/>
                </a:xfrm>
                <a:custGeom>
                  <a:avLst/>
                  <a:gdLst>
                    <a:gd name="connsiteX0" fmla="*/ 24003 w 31146"/>
                    <a:gd name="connsiteY0" fmla="*/ 14288 h 14287"/>
                    <a:gd name="connsiteX1" fmla="*/ 7144 w 31146"/>
                    <a:gd name="connsiteY1" fmla="*/ 14288 h 14287"/>
                    <a:gd name="connsiteX2" fmla="*/ 0 w 31146"/>
                    <a:gd name="connsiteY2" fmla="*/ 7144 h 14287"/>
                    <a:gd name="connsiteX3" fmla="*/ 7144 w 31146"/>
                    <a:gd name="connsiteY3" fmla="*/ 0 h 14287"/>
                    <a:gd name="connsiteX4" fmla="*/ 24003 w 31146"/>
                    <a:gd name="connsiteY4" fmla="*/ 0 h 14287"/>
                    <a:gd name="connsiteX5" fmla="*/ 31147 w 31146"/>
                    <a:gd name="connsiteY5" fmla="*/ 7144 h 14287"/>
                    <a:gd name="connsiteX6" fmla="*/ 24003 w 311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1146" h="14287">
                      <a:moveTo>
                        <a:pt x="240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24003" y="0"/>
                      </a:lnTo>
                      <a:cubicBezTo>
                        <a:pt x="27908" y="0"/>
                        <a:pt x="31147" y="3239"/>
                        <a:pt x="31147" y="7144"/>
                      </a:cubicBezTo>
                      <a:cubicBezTo>
                        <a:pt x="31147" y="11049"/>
                        <a:pt x="27908" y="14288"/>
                        <a:pt x="24003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6" name="Grafik 23">
                  <a:extLst>
                    <a:ext uri="{FF2B5EF4-FFF2-40B4-BE49-F238E27FC236}">
                      <a16:creationId xmlns:a16="http://schemas.microsoft.com/office/drawing/2014/main" id="{9BCB0672-A80D-9A81-B5B7-2674A55FF990}"/>
                    </a:ext>
                  </a:extLst>
                </p:cNvPr>
                <p:cNvSpPr/>
                <p:nvPr/>
              </p:nvSpPr>
              <p:spPr bwMode="gray">
                <a:xfrm>
                  <a:off x="6054375" y="3421474"/>
                  <a:ext cx="14287" cy="31813"/>
                </a:xfrm>
                <a:custGeom>
                  <a:avLst/>
                  <a:gdLst>
                    <a:gd name="connsiteX0" fmla="*/ 7144 w 14287"/>
                    <a:gd name="connsiteY0" fmla="*/ 31814 h 31813"/>
                    <a:gd name="connsiteX1" fmla="*/ 0 w 14287"/>
                    <a:gd name="connsiteY1" fmla="*/ 24670 h 31813"/>
                    <a:gd name="connsiteX2" fmla="*/ 0 w 14287"/>
                    <a:gd name="connsiteY2" fmla="*/ 7144 h 31813"/>
                    <a:gd name="connsiteX3" fmla="*/ 7144 w 14287"/>
                    <a:gd name="connsiteY3" fmla="*/ 0 h 31813"/>
                    <a:gd name="connsiteX4" fmla="*/ 14288 w 14287"/>
                    <a:gd name="connsiteY4" fmla="*/ 7144 h 31813"/>
                    <a:gd name="connsiteX5" fmla="*/ 14288 w 14287"/>
                    <a:gd name="connsiteY5" fmla="*/ 24670 h 31813"/>
                    <a:gd name="connsiteX6" fmla="*/ 7144 w 14287"/>
                    <a:gd name="connsiteY6" fmla="*/ 31814 h 318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1813">
                      <a:moveTo>
                        <a:pt x="7144" y="31814"/>
                      </a:moveTo>
                      <a:cubicBezTo>
                        <a:pt x="3239" y="31814"/>
                        <a:pt x="0" y="28575"/>
                        <a:pt x="0" y="24670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4670"/>
                      </a:lnTo>
                      <a:cubicBezTo>
                        <a:pt x="14288" y="28575"/>
                        <a:pt x="11144" y="31814"/>
                        <a:pt x="7144" y="3181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00" name="Grafik 23">
                <a:extLst>
                  <a:ext uri="{FF2B5EF4-FFF2-40B4-BE49-F238E27FC236}">
                    <a16:creationId xmlns:a16="http://schemas.microsoft.com/office/drawing/2014/main" id="{79834A7E-2EE8-D294-D27D-D068FF00E51D}"/>
                  </a:ext>
                </a:extLst>
              </p:cNvPr>
              <p:cNvGrpSpPr/>
              <p:nvPr/>
            </p:nvGrpSpPr>
            <p:grpSpPr bwMode="gray">
              <a:xfrm>
                <a:off x="6054018" y="3450526"/>
                <a:ext cx="46553" cy="46291"/>
                <a:chOff x="6054018" y="3450526"/>
                <a:chExt cx="46553" cy="46291"/>
              </a:xfrm>
              <a:grpFill/>
            </p:grpSpPr>
            <p:sp>
              <p:nvSpPr>
                <p:cNvPr id="401" name="Grafik 23">
                  <a:extLst>
                    <a:ext uri="{FF2B5EF4-FFF2-40B4-BE49-F238E27FC236}">
                      <a16:creationId xmlns:a16="http://schemas.microsoft.com/office/drawing/2014/main" id="{E7F10C07-38D1-74E2-86AF-214E2945F692}"/>
                    </a:ext>
                  </a:extLst>
                </p:cNvPr>
                <p:cNvSpPr/>
                <p:nvPr/>
              </p:nvSpPr>
              <p:spPr bwMode="gray">
                <a:xfrm>
                  <a:off x="6054018" y="3450549"/>
                  <a:ext cx="46243" cy="46267"/>
                </a:xfrm>
                <a:custGeom>
                  <a:avLst/>
                  <a:gdLst>
                    <a:gd name="connsiteX0" fmla="*/ 7120 w 46243"/>
                    <a:gd name="connsiteY0" fmla="*/ 46268 h 46267"/>
                    <a:gd name="connsiteX1" fmla="*/ 2072 w 46243"/>
                    <a:gd name="connsiteY1" fmla="*/ 44172 h 46267"/>
                    <a:gd name="connsiteX2" fmla="*/ 2072 w 46243"/>
                    <a:gd name="connsiteY2" fmla="*/ 34076 h 46267"/>
                    <a:gd name="connsiteX3" fmla="*/ 34076 w 46243"/>
                    <a:gd name="connsiteY3" fmla="*/ 2072 h 46267"/>
                    <a:gd name="connsiteX4" fmla="*/ 44172 w 46243"/>
                    <a:gd name="connsiteY4" fmla="*/ 2072 h 46267"/>
                    <a:gd name="connsiteX5" fmla="*/ 44172 w 46243"/>
                    <a:gd name="connsiteY5" fmla="*/ 12168 h 46267"/>
                    <a:gd name="connsiteX6" fmla="*/ 12168 w 46243"/>
                    <a:gd name="connsiteY6" fmla="*/ 44172 h 46267"/>
                    <a:gd name="connsiteX7" fmla="*/ 7120 w 46243"/>
                    <a:gd name="connsiteY7" fmla="*/ 46268 h 462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6243" h="46267">
                      <a:moveTo>
                        <a:pt x="7120" y="46268"/>
                      </a:moveTo>
                      <a:cubicBezTo>
                        <a:pt x="5310" y="46268"/>
                        <a:pt x="3500" y="45601"/>
                        <a:pt x="2072" y="44172"/>
                      </a:cubicBezTo>
                      <a:cubicBezTo>
                        <a:pt x="-691" y="41410"/>
                        <a:pt x="-691" y="36838"/>
                        <a:pt x="2072" y="34076"/>
                      </a:cubicBezTo>
                      <a:lnTo>
                        <a:pt x="34076" y="2072"/>
                      </a:lnTo>
                      <a:cubicBezTo>
                        <a:pt x="36838" y="-691"/>
                        <a:pt x="41410" y="-691"/>
                        <a:pt x="44172" y="2072"/>
                      </a:cubicBezTo>
                      <a:cubicBezTo>
                        <a:pt x="46934" y="4834"/>
                        <a:pt x="46934" y="9406"/>
                        <a:pt x="44172" y="12168"/>
                      </a:cubicBezTo>
                      <a:lnTo>
                        <a:pt x="12168" y="44172"/>
                      </a:lnTo>
                      <a:cubicBezTo>
                        <a:pt x="10739" y="45601"/>
                        <a:pt x="8930" y="46268"/>
                        <a:pt x="7120" y="4626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2" name="Grafik 23">
                  <a:extLst>
                    <a:ext uri="{FF2B5EF4-FFF2-40B4-BE49-F238E27FC236}">
                      <a16:creationId xmlns:a16="http://schemas.microsoft.com/office/drawing/2014/main" id="{19BDD20D-B57C-D65E-EB35-ABD83439A9DA}"/>
                    </a:ext>
                  </a:extLst>
                </p:cNvPr>
                <p:cNvSpPr/>
                <p:nvPr/>
              </p:nvSpPr>
              <p:spPr bwMode="gray">
                <a:xfrm>
                  <a:off x="6068948" y="3450526"/>
                  <a:ext cx="31146" cy="14287"/>
                </a:xfrm>
                <a:custGeom>
                  <a:avLst/>
                  <a:gdLst>
                    <a:gd name="connsiteX0" fmla="*/ 24003 w 31146"/>
                    <a:gd name="connsiteY0" fmla="*/ 14288 h 14287"/>
                    <a:gd name="connsiteX1" fmla="*/ 7144 w 31146"/>
                    <a:gd name="connsiteY1" fmla="*/ 14288 h 14287"/>
                    <a:gd name="connsiteX2" fmla="*/ 0 w 31146"/>
                    <a:gd name="connsiteY2" fmla="*/ 7144 h 14287"/>
                    <a:gd name="connsiteX3" fmla="*/ 7144 w 31146"/>
                    <a:gd name="connsiteY3" fmla="*/ 0 h 14287"/>
                    <a:gd name="connsiteX4" fmla="*/ 24003 w 31146"/>
                    <a:gd name="connsiteY4" fmla="*/ 0 h 14287"/>
                    <a:gd name="connsiteX5" fmla="*/ 31147 w 31146"/>
                    <a:gd name="connsiteY5" fmla="*/ 7144 h 14287"/>
                    <a:gd name="connsiteX6" fmla="*/ 24003 w 311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1146" h="14287">
                      <a:moveTo>
                        <a:pt x="240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24003" y="0"/>
                      </a:lnTo>
                      <a:cubicBezTo>
                        <a:pt x="27908" y="0"/>
                        <a:pt x="31147" y="3239"/>
                        <a:pt x="31147" y="7144"/>
                      </a:cubicBezTo>
                      <a:cubicBezTo>
                        <a:pt x="31147" y="11049"/>
                        <a:pt x="28004" y="14288"/>
                        <a:pt x="24003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3" name="Grafik 23">
                  <a:extLst>
                    <a:ext uri="{FF2B5EF4-FFF2-40B4-BE49-F238E27FC236}">
                      <a16:creationId xmlns:a16="http://schemas.microsoft.com/office/drawing/2014/main" id="{447F7514-238D-194E-93F3-B74F9A70718E}"/>
                    </a:ext>
                  </a:extLst>
                </p:cNvPr>
                <p:cNvSpPr/>
                <p:nvPr/>
              </p:nvSpPr>
              <p:spPr bwMode="gray">
                <a:xfrm>
                  <a:off x="6086283" y="3450526"/>
                  <a:ext cx="14287" cy="31813"/>
                </a:xfrm>
                <a:custGeom>
                  <a:avLst/>
                  <a:gdLst>
                    <a:gd name="connsiteX0" fmla="*/ 7144 w 14287"/>
                    <a:gd name="connsiteY0" fmla="*/ 31813 h 31813"/>
                    <a:gd name="connsiteX1" fmla="*/ 0 w 14287"/>
                    <a:gd name="connsiteY1" fmla="*/ 24670 h 31813"/>
                    <a:gd name="connsiteX2" fmla="*/ 0 w 14287"/>
                    <a:gd name="connsiteY2" fmla="*/ 7144 h 31813"/>
                    <a:gd name="connsiteX3" fmla="*/ 7144 w 14287"/>
                    <a:gd name="connsiteY3" fmla="*/ 0 h 31813"/>
                    <a:gd name="connsiteX4" fmla="*/ 14288 w 14287"/>
                    <a:gd name="connsiteY4" fmla="*/ 7144 h 31813"/>
                    <a:gd name="connsiteX5" fmla="*/ 14288 w 14287"/>
                    <a:gd name="connsiteY5" fmla="*/ 24670 h 31813"/>
                    <a:gd name="connsiteX6" fmla="*/ 7144 w 14287"/>
                    <a:gd name="connsiteY6" fmla="*/ 31813 h 318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1813">
                      <a:moveTo>
                        <a:pt x="7144" y="31813"/>
                      </a:moveTo>
                      <a:cubicBezTo>
                        <a:pt x="3239" y="31813"/>
                        <a:pt x="0" y="28575"/>
                        <a:pt x="0" y="24670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4670"/>
                      </a:lnTo>
                      <a:cubicBezTo>
                        <a:pt x="14288" y="28670"/>
                        <a:pt x="11144" y="31813"/>
                        <a:pt x="7144" y="3181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grpSp>
          <p:nvGrpSpPr>
            <p:cNvPr id="364" name="Grafik 23">
              <a:extLst>
                <a:ext uri="{FF2B5EF4-FFF2-40B4-BE49-F238E27FC236}">
                  <a16:creationId xmlns:a16="http://schemas.microsoft.com/office/drawing/2014/main" id="{F7EDB83F-36C1-0E18-DF60-CACEA8471E09}"/>
                </a:ext>
              </a:extLst>
            </p:cNvPr>
            <p:cNvGrpSpPr/>
            <p:nvPr/>
          </p:nvGrpSpPr>
          <p:grpSpPr bwMode="gray">
            <a:xfrm>
              <a:off x="5892164" y="3290029"/>
              <a:ext cx="117324" cy="117347"/>
              <a:chOff x="5892164" y="3290029"/>
              <a:chExt cx="117324" cy="117347"/>
            </a:xfrm>
            <a:grpFill/>
          </p:grpSpPr>
          <p:grpSp>
            <p:nvGrpSpPr>
              <p:cNvPr id="393" name="Grafik 23">
                <a:extLst>
                  <a:ext uri="{FF2B5EF4-FFF2-40B4-BE49-F238E27FC236}">
                    <a16:creationId xmlns:a16="http://schemas.microsoft.com/office/drawing/2014/main" id="{E293ADC3-3692-A25E-7DFB-5898DC9621C5}"/>
                  </a:ext>
                </a:extLst>
              </p:cNvPr>
              <p:cNvGrpSpPr/>
              <p:nvPr/>
            </p:nvGrpSpPr>
            <p:grpSpPr bwMode="gray">
              <a:xfrm>
                <a:off x="5892164" y="3290029"/>
                <a:ext cx="79152" cy="79057"/>
                <a:chOff x="5892164" y="3290029"/>
                <a:chExt cx="79152" cy="79057"/>
              </a:xfrm>
              <a:grpFill/>
            </p:grpSpPr>
            <p:sp>
              <p:nvSpPr>
                <p:cNvPr id="397" name="Grafik 23">
                  <a:extLst>
                    <a:ext uri="{FF2B5EF4-FFF2-40B4-BE49-F238E27FC236}">
                      <a16:creationId xmlns:a16="http://schemas.microsoft.com/office/drawing/2014/main" id="{2B3476FE-9BEE-A7DD-DF9B-DEC7DB8BBD0E}"/>
                    </a:ext>
                  </a:extLst>
                </p:cNvPr>
                <p:cNvSpPr/>
                <p:nvPr/>
              </p:nvSpPr>
              <p:spPr bwMode="gray">
                <a:xfrm>
                  <a:off x="5892164" y="3290029"/>
                  <a:ext cx="14287" cy="79057"/>
                </a:xfrm>
                <a:custGeom>
                  <a:avLst/>
                  <a:gdLst>
                    <a:gd name="connsiteX0" fmla="*/ 7144 w 14287"/>
                    <a:gd name="connsiteY0" fmla="*/ 79057 h 79057"/>
                    <a:gd name="connsiteX1" fmla="*/ 0 w 14287"/>
                    <a:gd name="connsiteY1" fmla="*/ 71914 h 79057"/>
                    <a:gd name="connsiteX2" fmla="*/ 0 w 14287"/>
                    <a:gd name="connsiteY2" fmla="*/ 7144 h 79057"/>
                    <a:gd name="connsiteX3" fmla="*/ 7144 w 14287"/>
                    <a:gd name="connsiteY3" fmla="*/ 0 h 79057"/>
                    <a:gd name="connsiteX4" fmla="*/ 14288 w 14287"/>
                    <a:gd name="connsiteY4" fmla="*/ 7144 h 79057"/>
                    <a:gd name="connsiteX5" fmla="*/ 14288 w 14287"/>
                    <a:gd name="connsiteY5" fmla="*/ 71914 h 79057"/>
                    <a:gd name="connsiteX6" fmla="*/ 7144 w 14287"/>
                    <a:gd name="connsiteY6" fmla="*/ 79057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79057">
                      <a:moveTo>
                        <a:pt x="7144" y="79057"/>
                      </a:moveTo>
                      <a:cubicBezTo>
                        <a:pt x="3239" y="79057"/>
                        <a:pt x="0" y="75819"/>
                        <a:pt x="0" y="7191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1914"/>
                      </a:lnTo>
                      <a:cubicBezTo>
                        <a:pt x="14288" y="75819"/>
                        <a:pt x="11144" y="79057"/>
                        <a:pt x="7144" y="7905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8" name="Grafik 23">
                  <a:extLst>
                    <a:ext uri="{FF2B5EF4-FFF2-40B4-BE49-F238E27FC236}">
                      <a16:creationId xmlns:a16="http://schemas.microsoft.com/office/drawing/2014/main" id="{A17355D4-82D7-7F9D-A5CE-2FFE053A2539}"/>
                    </a:ext>
                  </a:extLst>
                </p:cNvPr>
                <p:cNvSpPr/>
                <p:nvPr/>
              </p:nvSpPr>
              <p:spPr bwMode="gray">
                <a:xfrm>
                  <a:off x="5892259" y="3290029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394" name="Grafik 23">
                <a:extLst>
                  <a:ext uri="{FF2B5EF4-FFF2-40B4-BE49-F238E27FC236}">
                    <a16:creationId xmlns:a16="http://schemas.microsoft.com/office/drawing/2014/main" id="{FE3096BD-9C93-6D46-CAF4-FF90951BFEA4}"/>
                  </a:ext>
                </a:extLst>
              </p:cNvPr>
              <p:cNvSpPr/>
              <p:nvPr/>
            </p:nvSpPr>
            <p:spPr bwMode="gray">
              <a:xfrm>
                <a:off x="5914286" y="3312056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6932" y="29789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5" name="Grafik 23">
                <a:extLst>
                  <a:ext uri="{FF2B5EF4-FFF2-40B4-BE49-F238E27FC236}">
                    <a16:creationId xmlns:a16="http://schemas.microsoft.com/office/drawing/2014/main" id="{F1783B14-983A-4A4F-5D7B-55518573BB10}"/>
                  </a:ext>
                </a:extLst>
              </p:cNvPr>
              <p:cNvSpPr/>
              <p:nvPr/>
            </p:nvSpPr>
            <p:spPr bwMode="gray">
              <a:xfrm>
                <a:off x="5946671" y="3344441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7027" y="29789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6" name="Grafik 23">
                <a:extLst>
                  <a:ext uri="{FF2B5EF4-FFF2-40B4-BE49-F238E27FC236}">
                    <a16:creationId xmlns:a16="http://schemas.microsoft.com/office/drawing/2014/main" id="{6E145148-AE90-314E-175F-AD78FE038AE9}"/>
                  </a:ext>
                </a:extLst>
              </p:cNvPr>
              <p:cNvSpPr/>
              <p:nvPr/>
            </p:nvSpPr>
            <p:spPr bwMode="gray">
              <a:xfrm>
                <a:off x="5979056" y="3376921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7027" y="29694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65" name="Grafik 23">
              <a:extLst>
                <a:ext uri="{FF2B5EF4-FFF2-40B4-BE49-F238E27FC236}">
                  <a16:creationId xmlns:a16="http://schemas.microsoft.com/office/drawing/2014/main" id="{64B4BB9E-FD9A-9743-292E-669B906B5E10}"/>
                </a:ext>
              </a:extLst>
            </p:cNvPr>
            <p:cNvGrpSpPr/>
            <p:nvPr/>
          </p:nvGrpSpPr>
          <p:grpSpPr bwMode="gray">
            <a:xfrm>
              <a:off x="6113168" y="3510938"/>
              <a:ext cx="117324" cy="117324"/>
              <a:chOff x="6113168" y="3510938"/>
              <a:chExt cx="117324" cy="117324"/>
            </a:xfrm>
            <a:grpFill/>
          </p:grpSpPr>
          <p:grpSp>
            <p:nvGrpSpPr>
              <p:cNvPr id="387" name="Grafik 23">
                <a:extLst>
                  <a:ext uri="{FF2B5EF4-FFF2-40B4-BE49-F238E27FC236}">
                    <a16:creationId xmlns:a16="http://schemas.microsoft.com/office/drawing/2014/main" id="{EE89B18F-FDB0-928A-613E-EDE0CB7A0B12}"/>
                  </a:ext>
                </a:extLst>
              </p:cNvPr>
              <p:cNvGrpSpPr/>
              <p:nvPr/>
            </p:nvGrpSpPr>
            <p:grpSpPr bwMode="gray">
              <a:xfrm>
                <a:off x="6151434" y="3549204"/>
                <a:ext cx="79057" cy="79057"/>
                <a:chOff x="6151434" y="3549204"/>
                <a:chExt cx="79057" cy="79057"/>
              </a:xfrm>
              <a:grpFill/>
            </p:grpSpPr>
            <p:sp>
              <p:nvSpPr>
                <p:cNvPr id="391" name="Grafik 23">
                  <a:extLst>
                    <a:ext uri="{FF2B5EF4-FFF2-40B4-BE49-F238E27FC236}">
                      <a16:creationId xmlns:a16="http://schemas.microsoft.com/office/drawing/2014/main" id="{A0DE5CF1-A10D-04CC-6AF2-567748B0C3E1}"/>
                    </a:ext>
                  </a:extLst>
                </p:cNvPr>
                <p:cNvSpPr/>
                <p:nvPr/>
              </p:nvSpPr>
              <p:spPr bwMode="gray">
                <a:xfrm>
                  <a:off x="6216204" y="3549204"/>
                  <a:ext cx="14287" cy="79057"/>
                </a:xfrm>
                <a:custGeom>
                  <a:avLst/>
                  <a:gdLst>
                    <a:gd name="connsiteX0" fmla="*/ 7144 w 14287"/>
                    <a:gd name="connsiteY0" fmla="*/ 79057 h 79057"/>
                    <a:gd name="connsiteX1" fmla="*/ 0 w 14287"/>
                    <a:gd name="connsiteY1" fmla="*/ 71914 h 79057"/>
                    <a:gd name="connsiteX2" fmla="*/ 0 w 14287"/>
                    <a:gd name="connsiteY2" fmla="*/ 7144 h 79057"/>
                    <a:gd name="connsiteX3" fmla="*/ 7144 w 14287"/>
                    <a:gd name="connsiteY3" fmla="*/ 0 h 79057"/>
                    <a:gd name="connsiteX4" fmla="*/ 14288 w 14287"/>
                    <a:gd name="connsiteY4" fmla="*/ 7144 h 79057"/>
                    <a:gd name="connsiteX5" fmla="*/ 14288 w 14287"/>
                    <a:gd name="connsiteY5" fmla="*/ 71914 h 79057"/>
                    <a:gd name="connsiteX6" fmla="*/ 7144 w 14287"/>
                    <a:gd name="connsiteY6" fmla="*/ 79057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79057">
                      <a:moveTo>
                        <a:pt x="7144" y="79057"/>
                      </a:moveTo>
                      <a:cubicBezTo>
                        <a:pt x="3239" y="79057"/>
                        <a:pt x="0" y="75819"/>
                        <a:pt x="0" y="7191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1914"/>
                      </a:lnTo>
                      <a:cubicBezTo>
                        <a:pt x="14288" y="75914"/>
                        <a:pt x="11049" y="79057"/>
                        <a:pt x="7144" y="7905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2" name="Grafik 23">
                  <a:extLst>
                    <a:ext uri="{FF2B5EF4-FFF2-40B4-BE49-F238E27FC236}">
                      <a16:creationId xmlns:a16="http://schemas.microsoft.com/office/drawing/2014/main" id="{4048BBC5-0136-18BB-E0D5-ED4A3D63A460}"/>
                    </a:ext>
                  </a:extLst>
                </p:cNvPr>
                <p:cNvSpPr/>
                <p:nvPr/>
              </p:nvSpPr>
              <p:spPr bwMode="gray">
                <a:xfrm>
                  <a:off x="6151434" y="3613974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388" name="Grafik 23">
                <a:extLst>
                  <a:ext uri="{FF2B5EF4-FFF2-40B4-BE49-F238E27FC236}">
                    <a16:creationId xmlns:a16="http://schemas.microsoft.com/office/drawing/2014/main" id="{C2A412F7-7F28-9FAD-01EC-4341648BE3F8}"/>
                  </a:ext>
                </a:extLst>
              </p:cNvPr>
              <p:cNvSpPr/>
              <p:nvPr/>
            </p:nvSpPr>
            <p:spPr bwMode="gray">
              <a:xfrm>
                <a:off x="6177938" y="3575803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7027" y="29694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89" name="Grafik 23">
                <a:extLst>
                  <a:ext uri="{FF2B5EF4-FFF2-40B4-BE49-F238E27FC236}">
                    <a16:creationId xmlns:a16="http://schemas.microsoft.com/office/drawing/2014/main" id="{E9E5789C-7330-20DE-330A-14493CFDED51}"/>
                  </a:ext>
                </a:extLst>
              </p:cNvPr>
              <p:cNvSpPr/>
              <p:nvPr/>
            </p:nvSpPr>
            <p:spPr bwMode="gray">
              <a:xfrm>
                <a:off x="6145553" y="3543323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6932" y="29789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0" name="Grafik 23">
                <a:extLst>
                  <a:ext uri="{FF2B5EF4-FFF2-40B4-BE49-F238E27FC236}">
                    <a16:creationId xmlns:a16="http://schemas.microsoft.com/office/drawing/2014/main" id="{D9F57DC0-C074-97E5-7385-36B546B18BC6}"/>
                  </a:ext>
                </a:extLst>
              </p:cNvPr>
              <p:cNvSpPr/>
              <p:nvPr/>
            </p:nvSpPr>
            <p:spPr bwMode="gray">
              <a:xfrm>
                <a:off x="6113168" y="3510938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6932" y="29789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66" name="Grafik 23">
              <a:extLst>
                <a:ext uri="{FF2B5EF4-FFF2-40B4-BE49-F238E27FC236}">
                  <a16:creationId xmlns:a16="http://schemas.microsoft.com/office/drawing/2014/main" id="{B7EAD534-11BE-054B-F5EC-460A2F5155C9}"/>
                </a:ext>
              </a:extLst>
            </p:cNvPr>
            <p:cNvGrpSpPr/>
            <p:nvPr/>
          </p:nvGrpSpPr>
          <p:grpSpPr bwMode="gray">
            <a:xfrm>
              <a:off x="5892164" y="3510938"/>
              <a:ext cx="117324" cy="117324"/>
              <a:chOff x="5892164" y="3510938"/>
              <a:chExt cx="117324" cy="117324"/>
            </a:xfrm>
            <a:grpFill/>
          </p:grpSpPr>
          <p:grpSp>
            <p:nvGrpSpPr>
              <p:cNvPr id="381" name="Grafik 23">
                <a:extLst>
                  <a:ext uri="{FF2B5EF4-FFF2-40B4-BE49-F238E27FC236}">
                    <a16:creationId xmlns:a16="http://schemas.microsoft.com/office/drawing/2014/main" id="{D4555781-92AD-89A6-A849-D4C8313932EB}"/>
                  </a:ext>
                </a:extLst>
              </p:cNvPr>
              <p:cNvGrpSpPr/>
              <p:nvPr/>
            </p:nvGrpSpPr>
            <p:grpSpPr bwMode="gray">
              <a:xfrm>
                <a:off x="5892164" y="3549204"/>
                <a:ext cx="79152" cy="79057"/>
                <a:chOff x="5892164" y="3549204"/>
                <a:chExt cx="79152" cy="79057"/>
              </a:xfrm>
              <a:grpFill/>
            </p:grpSpPr>
            <p:sp>
              <p:nvSpPr>
                <p:cNvPr id="385" name="Grafik 23">
                  <a:extLst>
                    <a:ext uri="{FF2B5EF4-FFF2-40B4-BE49-F238E27FC236}">
                      <a16:creationId xmlns:a16="http://schemas.microsoft.com/office/drawing/2014/main" id="{AE1F872E-554C-DDBC-55D3-863C42D5A98F}"/>
                    </a:ext>
                  </a:extLst>
                </p:cNvPr>
                <p:cNvSpPr/>
                <p:nvPr/>
              </p:nvSpPr>
              <p:spPr bwMode="gray">
                <a:xfrm>
                  <a:off x="5892259" y="3613974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86" name="Grafik 23">
                  <a:extLst>
                    <a:ext uri="{FF2B5EF4-FFF2-40B4-BE49-F238E27FC236}">
                      <a16:creationId xmlns:a16="http://schemas.microsoft.com/office/drawing/2014/main" id="{D6E061A2-E0AB-C88E-8FDF-19EB670CD9F6}"/>
                    </a:ext>
                  </a:extLst>
                </p:cNvPr>
                <p:cNvSpPr/>
                <p:nvPr/>
              </p:nvSpPr>
              <p:spPr bwMode="gray">
                <a:xfrm>
                  <a:off x="5892164" y="3549204"/>
                  <a:ext cx="14287" cy="79057"/>
                </a:xfrm>
                <a:custGeom>
                  <a:avLst/>
                  <a:gdLst>
                    <a:gd name="connsiteX0" fmla="*/ 7144 w 14287"/>
                    <a:gd name="connsiteY0" fmla="*/ 79057 h 79057"/>
                    <a:gd name="connsiteX1" fmla="*/ 0 w 14287"/>
                    <a:gd name="connsiteY1" fmla="*/ 71914 h 79057"/>
                    <a:gd name="connsiteX2" fmla="*/ 0 w 14287"/>
                    <a:gd name="connsiteY2" fmla="*/ 7144 h 79057"/>
                    <a:gd name="connsiteX3" fmla="*/ 7144 w 14287"/>
                    <a:gd name="connsiteY3" fmla="*/ 0 h 79057"/>
                    <a:gd name="connsiteX4" fmla="*/ 14288 w 14287"/>
                    <a:gd name="connsiteY4" fmla="*/ 7144 h 79057"/>
                    <a:gd name="connsiteX5" fmla="*/ 14288 w 14287"/>
                    <a:gd name="connsiteY5" fmla="*/ 71914 h 79057"/>
                    <a:gd name="connsiteX6" fmla="*/ 7144 w 14287"/>
                    <a:gd name="connsiteY6" fmla="*/ 79057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79057">
                      <a:moveTo>
                        <a:pt x="7144" y="79057"/>
                      </a:moveTo>
                      <a:cubicBezTo>
                        <a:pt x="3239" y="79057"/>
                        <a:pt x="0" y="75819"/>
                        <a:pt x="0" y="7191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1914"/>
                      </a:lnTo>
                      <a:cubicBezTo>
                        <a:pt x="14288" y="75914"/>
                        <a:pt x="11144" y="79057"/>
                        <a:pt x="7144" y="7905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382" name="Grafik 23">
                <a:extLst>
                  <a:ext uri="{FF2B5EF4-FFF2-40B4-BE49-F238E27FC236}">
                    <a16:creationId xmlns:a16="http://schemas.microsoft.com/office/drawing/2014/main" id="{97278E4E-0FDF-D308-9A89-6D3717F49343}"/>
                  </a:ext>
                </a:extLst>
              </p:cNvPr>
              <p:cNvSpPr/>
              <p:nvPr/>
            </p:nvSpPr>
            <p:spPr bwMode="gray">
              <a:xfrm>
                <a:off x="5914286" y="3575803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739" y="29694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83" name="Grafik 23">
                <a:extLst>
                  <a:ext uri="{FF2B5EF4-FFF2-40B4-BE49-F238E27FC236}">
                    <a16:creationId xmlns:a16="http://schemas.microsoft.com/office/drawing/2014/main" id="{6A179D53-4089-E355-D531-C81E377342FA}"/>
                  </a:ext>
                </a:extLst>
              </p:cNvPr>
              <p:cNvSpPr/>
              <p:nvPr/>
            </p:nvSpPr>
            <p:spPr bwMode="gray">
              <a:xfrm>
                <a:off x="5946671" y="3543323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739" y="29789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84" name="Grafik 23">
                <a:extLst>
                  <a:ext uri="{FF2B5EF4-FFF2-40B4-BE49-F238E27FC236}">
                    <a16:creationId xmlns:a16="http://schemas.microsoft.com/office/drawing/2014/main" id="{A9556E4E-6892-214A-195F-E829716E3C4D}"/>
                  </a:ext>
                </a:extLst>
              </p:cNvPr>
              <p:cNvSpPr/>
              <p:nvPr/>
            </p:nvSpPr>
            <p:spPr bwMode="gray">
              <a:xfrm>
                <a:off x="5979056" y="3510938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835" y="29789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67" name="Grafik 23">
              <a:extLst>
                <a:ext uri="{FF2B5EF4-FFF2-40B4-BE49-F238E27FC236}">
                  <a16:creationId xmlns:a16="http://schemas.microsoft.com/office/drawing/2014/main" id="{240864A1-991F-E258-E111-5AEA3FEE2E94}"/>
                </a:ext>
              </a:extLst>
            </p:cNvPr>
            <p:cNvGrpSpPr/>
            <p:nvPr/>
          </p:nvGrpSpPr>
          <p:grpSpPr bwMode="gray">
            <a:xfrm>
              <a:off x="6113168" y="3290029"/>
              <a:ext cx="117324" cy="117347"/>
              <a:chOff x="6113168" y="3290029"/>
              <a:chExt cx="117324" cy="117347"/>
            </a:xfrm>
            <a:grpFill/>
          </p:grpSpPr>
          <p:grpSp>
            <p:nvGrpSpPr>
              <p:cNvPr id="375" name="Grafik 23">
                <a:extLst>
                  <a:ext uri="{FF2B5EF4-FFF2-40B4-BE49-F238E27FC236}">
                    <a16:creationId xmlns:a16="http://schemas.microsoft.com/office/drawing/2014/main" id="{4B50FB2E-64E2-1E36-4A08-1605B4D700D7}"/>
                  </a:ext>
                </a:extLst>
              </p:cNvPr>
              <p:cNvGrpSpPr/>
              <p:nvPr/>
            </p:nvGrpSpPr>
            <p:grpSpPr bwMode="gray">
              <a:xfrm>
                <a:off x="6151434" y="3290029"/>
                <a:ext cx="79057" cy="79057"/>
                <a:chOff x="6151434" y="3290029"/>
                <a:chExt cx="79057" cy="79057"/>
              </a:xfrm>
              <a:grpFill/>
            </p:grpSpPr>
            <p:sp>
              <p:nvSpPr>
                <p:cNvPr id="379" name="Grafik 23">
                  <a:extLst>
                    <a:ext uri="{FF2B5EF4-FFF2-40B4-BE49-F238E27FC236}">
                      <a16:creationId xmlns:a16="http://schemas.microsoft.com/office/drawing/2014/main" id="{CDA54CEE-5035-3221-00CC-BCE9A31E9FFB}"/>
                    </a:ext>
                  </a:extLst>
                </p:cNvPr>
                <p:cNvSpPr/>
                <p:nvPr/>
              </p:nvSpPr>
              <p:spPr bwMode="gray">
                <a:xfrm>
                  <a:off x="6151434" y="3290029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80" name="Grafik 23">
                  <a:extLst>
                    <a:ext uri="{FF2B5EF4-FFF2-40B4-BE49-F238E27FC236}">
                      <a16:creationId xmlns:a16="http://schemas.microsoft.com/office/drawing/2014/main" id="{86682C9E-DDCE-79A6-4F21-349B3EB25FDA}"/>
                    </a:ext>
                  </a:extLst>
                </p:cNvPr>
                <p:cNvSpPr/>
                <p:nvPr/>
              </p:nvSpPr>
              <p:spPr bwMode="gray">
                <a:xfrm>
                  <a:off x="6216204" y="3290029"/>
                  <a:ext cx="14287" cy="79057"/>
                </a:xfrm>
                <a:custGeom>
                  <a:avLst/>
                  <a:gdLst>
                    <a:gd name="connsiteX0" fmla="*/ 7144 w 14287"/>
                    <a:gd name="connsiteY0" fmla="*/ 79057 h 79057"/>
                    <a:gd name="connsiteX1" fmla="*/ 0 w 14287"/>
                    <a:gd name="connsiteY1" fmla="*/ 71914 h 79057"/>
                    <a:gd name="connsiteX2" fmla="*/ 0 w 14287"/>
                    <a:gd name="connsiteY2" fmla="*/ 7144 h 79057"/>
                    <a:gd name="connsiteX3" fmla="*/ 7144 w 14287"/>
                    <a:gd name="connsiteY3" fmla="*/ 0 h 79057"/>
                    <a:gd name="connsiteX4" fmla="*/ 14288 w 14287"/>
                    <a:gd name="connsiteY4" fmla="*/ 7144 h 79057"/>
                    <a:gd name="connsiteX5" fmla="*/ 14288 w 14287"/>
                    <a:gd name="connsiteY5" fmla="*/ 71914 h 79057"/>
                    <a:gd name="connsiteX6" fmla="*/ 7144 w 14287"/>
                    <a:gd name="connsiteY6" fmla="*/ 79057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79057">
                      <a:moveTo>
                        <a:pt x="7144" y="79057"/>
                      </a:moveTo>
                      <a:cubicBezTo>
                        <a:pt x="3239" y="79057"/>
                        <a:pt x="0" y="75819"/>
                        <a:pt x="0" y="7191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1914"/>
                      </a:lnTo>
                      <a:cubicBezTo>
                        <a:pt x="14288" y="75819"/>
                        <a:pt x="11049" y="79057"/>
                        <a:pt x="7144" y="7905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376" name="Grafik 23">
                <a:extLst>
                  <a:ext uri="{FF2B5EF4-FFF2-40B4-BE49-F238E27FC236}">
                    <a16:creationId xmlns:a16="http://schemas.microsoft.com/office/drawing/2014/main" id="{51C7EB89-9495-9A76-5CCA-776CA4746A63}"/>
                  </a:ext>
                </a:extLst>
              </p:cNvPr>
              <p:cNvSpPr/>
              <p:nvPr/>
            </p:nvSpPr>
            <p:spPr bwMode="gray">
              <a:xfrm>
                <a:off x="6177938" y="3312056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739" y="29789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7" name="Grafik 23">
                <a:extLst>
                  <a:ext uri="{FF2B5EF4-FFF2-40B4-BE49-F238E27FC236}">
                    <a16:creationId xmlns:a16="http://schemas.microsoft.com/office/drawing/2014/main" id="{EB500A95-AA18-FF2F-ADF5-EF954E540F3E}"/>
                  </a:ext>
                </a:extLst>
              </p:cNvPr>
              <p:cNvSpPr/>
              <p:nvPr/>
            </p:nvSpPr>
            <p:spPr bwMode="gray">
              <a:xfrm>
                <a:off x="6145553" y="3344441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739" y="29789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8" name="Grafik 23">
                <a:extLst>
                  <a:ext uri="{FF2B5EF4-FFF2-40B4-BE49-F238E27FC236}">
                    <a16:creationId xmlns:a16="http://schemas.microsoft.com/office/drawing/2014/main" id="{168CCFF4-ED79-366A-A94B-24E682AE43B4}"/>
                  </a:ext>
                </a:extLst>
              </p:cNvPr>
              <p:cNvSpPr/>
              <p:nvPr/>
            </p:nvSpPr>
            <p:spPr bwMode="gray">
              <a:xfrm>
                <a:off x="6113168" y="3376921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739" y="29694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68" name="Grafik 23">
              <a:extLst>
                <a:ext uri="{FF2B5EF4-FFF2-40B4-BE49-F238E27FC236}">
                  <a16:creationId xmlns:a16="http://schemas.microsoft.com/office/drawing/2014/main" id="{06D476B1-7FD2-BEF3-AD3C-E57DCC30481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70" name="Grafik 23">
                <a:extLst>
                  <a:ext uri="{FF2B5EF4-FFF2-40B4-BE49-F238E27FC236}">
                    <a16:creationId xmlns:a16="http://schemas.microsoft.com/office/drawing/2014/main" id="{CAA0DF2D-B47C-95A5-2692-8756E549BEE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1" name="Grafik 23">
                <a:extLst>
                  <a:ext uri="{FF2B5EF4-FFF2-40B4-BE49-F238E27FC236}">
                    <a16:creationId xmlns:a16="http://schemas.microsoft.com/office/drawing/2014/main" id="{A69053D8-B15F-587B-EE44-E2EF38B20EC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2" name="Grafik 23">
                <a:extLst>
                  <a:ext uri="{FF2B5EF4-FFF2-40B4-BE49-F238E27FC236}">
                    <a16:creationId xmlns:a16="http://schemas.microsoft.com/office/drawing/2014/main" id="{8DC85A23-9E8D-38B5-AC60-CDF9B754B31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3" name="Grafik 23">
                <a:extLst>
                  <a:ext uri="{FF2B5EF4-FFF2-40B4-BE49-F238E27FC236}">
                    <a16:creationId xmlns:a16="http://schemas.microsoft.com/office/drawing/2014/main" id="{4489A63C-7A3C-CF97-1320-533E96E5506B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4" name="Grafik 23">
                <a:extLst>
                  <a:ext uri="{FF2B5EF4-FFF2-40B4-BE49-F238E27FC236}">
                    <a16:creationId xmlns:a16="http://schemas.microsoft.com/office/drawing/2014/main" id="{2F34DD00-5AD4-139D-5DDA-EEE3C19BB35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369" name="Grafik 23">
              <a:extLst>
                <a:ext uri="{FF2B5EF4-FFF2-40B4-BE49-F238E27FC236}">
                  <a16:creationId xmlns:a16="http://schemas.microsoft.com/office/drawing/2014/main" id="{81EE41A7-B5D8-06D5-1B79-5CD441C4F2B4}"/>
                </a:ext>
              </a:extLst>
            </p:cNvPr>
            <p:cNvSpPr/>
            <p:nvPr/>
          </p:nvSpPr>
          <p:spPr bwMode="gray">
            <a:xfrm>
              <a:off x="5970888" y="3368610"/>
              <a:ext cx="180927" cy="180975"/>
            </a:xfrm>
            <a:custGeom>
              <a:avLst/>
              <a:gdLst>
                <a:gd name="connsiteX0" fmla="*/ 90440 w 180927"/>
                <a:gd name="connsiteY0" fmla="*/ 180975 h 180975"/>
                <a:gd name="connsiteX1" fmla="*/ 26432 w 180927"/>
                <a:gd name="connsiteY1" fmla="*/ 154496 h 180975"/>
                <a:gd name="connsiteX2" fmla="*/ 26432 w 180927"/>
                <a:gd name="connsiteY2" fmla="*/ 26480 h 180975"/>
                <a:gd name="connsiteX3" fmla="*/ 90440 w 180927"/>
                <a:gd name="connsiteY3" fmla="*/ 0 h 180975"/>
                <a:gd name="connsiteX4" fmla="*/ 154448 w 180927"/>
                <a:gd name="connsiteY4" fmla="*/ 26480 h 180975"/>
                <a:gd name="connsiteX5" fmla="*/ 154448 w 180927"/>
                <a:gd name="connsiteY5" fmla="*/ 26480 h 180975"/>
                <a:gd name="connsiteX6" fmla="*/ 154448 w 180927"/>
                <a:gd name="connsiteY6" fmla="*/ 26480 h 180975"/>
                <a:gd name="connsiteX7" fmla="*/ 180927 w 180927"/>
                <a:gd name="connsiteY7" fmla="*/ 90488 h 180975"/>
                <a:gd name="connsiteX8" fmla="*/ 154448 w 180927"/>
                <a:gd name="connsiteY8" fmla="*/ 154496 h 180975"/>
                <a:gd name="connsiteX9" fmla="*/ 90440 w 180927"/>
                <a:gd name="connsiteY9" fmla="*/ 180975 h 180975"/>
                <a:gd name="connsiteX10" fmla="*/ 90440 w 180927"/>
                <a:gd name="connsiteY10" fmla="*/ 14288 h 180975"/>
                <a:gd name="connsiteX11" fmla="*/ 36528 w 180927"/>
                <a:gd name="connsiteY11" fmla="*/ 36576 h 180975"/>
                <a:gd name="connsiteX12" fmla="*/ 36528 w 180927"/>
                <a:gd name="connsiteY12" fmla="*/ 144304 h 180975"/>
                <a:gd name="connsiteX13" fmla="*/ 144256 w 180927"/>
                <a:gd name="connsiteY13" fmla="*/ 144304 h 180975"/>
                <a:gd name="connsiteX14" fmla="*/ 166545 w 180927"/>
                <a:gd name="connsiteY14" fmla="*/ 90392 h 180975"/>
                <a:gd name="connsiteX15" fmla="*/ 144256 w 180927"/>
                <a:gd name="connsiteY15" fmla="*/ 36481 h 180975"/>
                <a:gd name="connsiteX16" fmla="*/ 144256 w 180927"/>
                <a:gd name="connsiteY16" fmla="*/ 36481 h 180975"/>
                <a:gd name="connsiteX17" fmla="*/ 90440 w 180927"/>
                <a:gd name="connsiteY17" fmla="*/ 14288 h 180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80927" h="180975">
                  <a:moveTo>
                    <a:pt x="90440" y="180975"/>
                  </a:moveTo>
                  <a:cubicBezTo>
                    <a:pt x="67294" y="180975"/>
                    <a:pt x="44053" y="172117"/>
                    <a:pt x="26432" y="154496"/>
                  </a:cubicBezTo>
                  <a:cubicBezTo>
                    <a:pt x="-8811" y="119158"/>
                    <a:pt x="-8811" y="61817"/>
                    <a:pt x="26432" y="26480"/>
                  </a:cubicBezTo>
                  <a:cubicBezTo>
                    <a:pt x="43482" y="9430"/>
                    <a:pt x="66246" y="0"/>
                    <a:pt x="90440" y="0"/>
                  </a:cubicBezTo>
                  <a:cubicBezTo>
                    <a:pt x="114633" y="0"/>
                    <a:pt x="137303" y="9430"/>
                    <a:pt x="154448" y="26480"/>
                  </a:cubicBezTo>
                  <a:lnTo>
                    <a:pt x="154448" y="26480"/>
                  </a:lnTo>
                  <a:lnTo>
                    <a:pt x="154448" y="26480"/>
                  </a:lnTo>
                  <a:cubicBezTo>
                    <a:pt x="171498" y="43529"/>
                    <a:pt x="180927" y="66294"/>
                    <a:pt x="180927" y="90488"/>
                  </a:cubicBezTo>
                  <a:cubicBezTo>
                    <a:pt x="180927" y="114681"/>
                    <a:pt x="171498" y="137351"/>
                    <a:pt x="154448" y="154496"/>
                  </a:cubicBezTo>
                  <a:cubicBezTo>
                    <a:pt x="136827" y="172117"/>
                    <a:pt x="113586" y="180975"/>
                    <a:pt x="90440" y="180975"/>
                  </a:cubicBezTo>
                  <a:close/>
                  <a:moveTo>
                    <a:pt x="90440" y="14288"/>
                  </a:moveTo>
                  <a:cubicBezTo>
                    <a:pt x="70056" y="14288"/>
                    <a:pt x="50911" y="22193"/>
                    <a:pt x="36528" y="36576"/>
                  </a:cubicBezTo>
                  <a:cubicBezTo>
                    <a:pt x="6810" y="66294"/>
                    <a:pt x="6810" y="114586"/>
                    <a:pt x="36528" y="144304"/>
                  </a:cubicBezTo>
                  <a:cubicBezTo>
                    <a:pt x="66246" y="174022"/>
                    <a:pt x="114633" y="174022"/>
                    <a:pt x="144256" y="144304"/>
                  </a:cubicBezTo>
                  <a:cubicBezTo>
                    <a:pt x="158639" y="129921"/>
                    <a:pt x="166545" y="110776"/>
                    <a:pt x="166545" y="90392"/>
                  </a:cubicBezTo>
                  <a:cubicBezTo>
                    <a:pt x="166545" y="70009"/>
                    <a:pt x="158639" y="50864"/>
                    <a:pt x="144256" y="36481"/>
                  </a:cubicBezTo>
                  <a:lnTo>
                    <a:pt x="144256" y="36481"/>
                  </a:lnTo>
                  <a:cubicBezTo>
                    <a:pt x="129969" y="22289"/>
                    <a:pt x="110823" y="14288"/>
                    <a:pt x="90440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407" name="Grafik 25">
            <a:extLst>
              <a:ext uri="{FF2B5EF4-FFF2-40B4-BE49-F238E27FC236}">
                <a16:creationId xmlns:a16="http://schemas.microsoft.com/office/drawing/2014/main" id="{493C3C9C-99E9-3FF0-992E-93CAA757F04D}"/>
              </a:ext>
            </a:extLst>
          </p:cNvPr>
          <p:cNvGrpSpPr/>
          <p:nvPr/>
        </p:nvGrpSpPr>
        <p:grpSpPr bwMode="gray">
          <a:xfrm>
            <a:off x="2724271" y="3476660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408" name="Grafik 25">
              <a:extLst>
                <a:ext uri="{FF2B5EF4-FFF2-40B4-BE49-F238E27FC236}">
                  <a16:creationId xmlns:a16="http://schemas.microsoft.com/office/drawing/2014/main" id="{D09CE1C9-AF8A-BBBE-E679-EE2CC0E2BDA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426" name="Grafik 25">
                <a:extLst>
                  <a:ext uri="{FF2B5EF4-FFF2-40B4-BE49-F238E27FC236}">
                    <a16:creationId xmlns:a16="http://schemas.microsoft.com/office/drawing/2014/main" id="{1AF783B7-CEB0-784B-5026-B6A6E2D87501}"/>
                  </a:ext>
                </a:extLst>
              </p:cNvPr>
              <p:cNvSpPr/>
              <p:nvPr/>
            </p:nvSpPr>
            <p:spPr bwMode="gray">
              <a:xfrm>
                <a:off x="5843597" y="3176587"/>
                <a:ext cx="500232" cy="257270"/>
              </a:xfrm>
              <a:custGeom>
                <a:avLst/>
                <a:gdLst>
                  <a:gd name="connsiteX0" fmla="*/ 493099 w 500232"/>
                  <a:gd name="connsiteY0" fmla="*/ 257270 h 257270"/>
                  <a:gd name="connsiteX1" fmla="*/ 7133 w 500232"/>
                  <a:gd name="connsiteY1" fmla="*/ 257270 h 257270"/>
                  <a:gd name="connsiteX2" fmla="*/ 1514 w 500232"/>
                  <a:gd name="connsiteY2" fmla="*/ 254603 h 257270"/>
                  <a:gd name="connsiteX3" fmla="*/ 180 w 500232"/>
                  <a:gd name="connsiteY3" fmla="*/ 248507 h 257270"/>
                  <a:gd name="connsiteX4" fmla="*/ 57330 w 500232"/>
                  <a:gd name="connsiteY4" fmla="*/ 5525 h 257270"/>
                  <a:gd name="connsiteX5" fmla="*/ 64283 w 500232"/>
                  <a:gd name="connsiteY5" fmla="*/ 0 h 257270"/>
                  <a:gd name="connsiteX6" fmla="*/ 435949 w 500232"/>
                  <a:gd name="connsiteY6" fmla="*/ 0 h 257270"/>
                  <a:gd name="connsiteX7" fmla="*/ 442902 w 500232"/>
                  <a:gd name="connsiteY7" fmla="*/ 5525 h 257270"/>
                  <a:gd name="connsiteX8" fmla="*/ 500052 w 500232"/>
                  <a:gd name="connsiteY8" fmla="*/ 248507 h 257270"/>
                  <a:gd name="connsiteX9" fmla="*/ 498719 w 500232"/>
                  <a:gd name="connsiteY9" fmla="*/ 254603 h 257270"/>
                  <a:gd name="connsiteX10" fmla="*/ 493099 w 500232"/>
                  <a:gd name="connsiteY10" fmla="*/ 257270 h 257270"/>
                  <a:gd name="connsiteX11" fmla="*/ 16182 w 500232"/>
                  <a:gd name="connsiteY11" fmla="*/ 242983 h 257270"/>
                  <a:gd name="connsiteX12" fmla="*/ 484145 w 500232"/>
                  <a:gd name="connsiteY12" fmla="*/ 242983 h 257270"/>
                  <a:gd name="connsiteX13" fmla="*/ 430329 w 500232"/>
                  <a:gd name="connsiteY13" fmla="*/ 14288 h 257270"/>
                  <a:gd name="connsiteX14" fmla="*/ 69903 w 500232"/>
                  <a:gd name="connsiteY14" fmla="*/ 14288 h 257270"/>
                  <a:gd name="connsiteX15" fmla="*/ 16182 w 500232"/>
                  <a:gd name="connsiteY15" fmla="*/ 242983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0232" h="257270">
                    <a:moveTo>
                      <a:pt x="493099" y="257270"/>
                    </a:moveTo>
                    <a:lnTo>
                      <a:pt x="7133" y="257270"/>
                    </a:lnTo>
                    <a:cubicBezTo>
                      <a:pt x="4943" y="257270"/>
                      <a:pt x="2847" y="256318"/>
                      <a:pt x="1514" y="254603"/>
                    </a:cubicBezTo>
                    <a:cubicBezTo>
                      <a:pt x="180" y="252889"/>
                      <a:pt x="-296" y="250698"/>
                      <a:pt x="180" y="248507"/>
                    </a:cubicBezTo>
                    <a:lnTo>
                      <a:pt x="57330" y="5525"/>
                    </a:lnTo>
                    <a:cubicBezTo>
                      <a:pt x="58092" y="2286"/>
                      <a:pt x="60950" y="0"/>
                      <a:pt x="64283" y="0"/>
                    </a:cubicBezTo>
                    <a:lnTo>
                      <a:pt x="435949" y="0"/>
                    </a:lnTo>
                    <a:cubicBezTo>
                      <a:pt x="439283" y="0"/>
                      <a:pt x="442140" y="2286"/>
                      <a:pt x="442902" y="5525"/>
                    </a:cubicBezTo>
                    <a:lnTo>
                      <a:pt x="500052" y="248507"/>
                    </a:lnTo>
                    <a:cubicBezTo>
                      <a:pt x="500528" y="250603"/>
                      <a:pt x="500052" y="252889"/>
                      <a:pt x="498719" y="254603"/>
                    </a:cubicBezTo>
                    <a:cubicBezTo>
                      <a:pt x="497385" y="256318"/>
                      <a:pt x="495290" y="257270"/>
                      <a:pt x="493099" y="257270"/>
                    </a:cubicBezTo>
                    <a:close/>
                    <a:moveTo>
                      <a:pt x="16182" y="242983"/>
                    </a:moveTo>
                    <a:lnTo>
                      <a:pt x="484145" y="242983"/>
                    </a:lnTo>
                    <a:lnTo>
                      <a:pt x="430329" y="14288"/>
                    </a:lnTo>
                    <a:lnTo>
                      <a:pt x="69903" y="14288"/>
                    </a:lnTo>
                    <a:lnTo>
                      <a:pt x="16182" y="24298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7" name="Grafik 25">
                <a:extLst>
                  <a:ext uri="{FF2B5EF4-FFF2-40B4-BE49-F238E27FC236}">
                    <a16:creationId xmlns:a16="http://schemas.microsoft.com/office/drawing/2014/main" id="{5A868420-AB41-5C64-437D-F087AD011178}"/>
                  </a:ext>
                </a:extLst>
              </p:cNvPr>
              <p:cNvSpPr/>
              <p:nvPr/>
            </p:nvSpPr>
            <p:spPr bwMode="gray">
              <a:xfrm>
                <a:off x="5843587" y="3419569"/>
                <a:ext cx="500253" cy="257270"/>
              </a:xfrm>
              <a:custGeom>
                <a:avLst/>
                <a:gdLst>
                  <a:gd name="connsiteX0" fmla="*/ 493109 w 500253"/>
                  <a:gd name="connsiteY0" fmla="*/ 257270 h 257270"/>
                  <a:gd name="connsiteX1" fmla="*/ 7144 w 500253"/>
                  <a:gd name="connsiteY1" fmla="*/ 257270 h 257270"/>
                  <a:gd name="connsiteX2" fmla="*/ 0 w 500253"/>
                  <a:gd name="connsiteY2" fmla="*/ 250127 h 257270"/>
                  <a:gd name="connsiteX3" fmla="*/ 0 w 500253"/>
                  <a:gd name="connsiteY3" fmla="*/ 7144 h 257270"/>
                  <a:gd name="connsiteX4" fmla="*/ 7144 w 500253"/>
                  <a:gd name="connsiteY4" fmla="*/ 0 h 257270"/>
                  <a:gd name="connsiteX5" fmla="*/ 493109 w 500253"/>
                  <a:gd name="connsiteY5" fmla="*/ 0 h 257270"/>
                  <a:gd name="connsiteX6" fmla="*/ 500253 w 500253"/>
                  <a:gd name="connsiteY6" fmla="*/ 7144 h 257270"/>
                  <a:gd name="connsiteX7" fmla="*/ 500253 w 500253"/>
                  <a:gd name="connsiteY7" fmla="*/ 250127 h 257270"/>
                  <a:gd name="connsiteX8" fmla="*/ 493109 w 500253"/>
                  <a:gd name="connsiteY8" fmla="*/ 257270 h 257270"/>
                  <a:gd name="connsiteX9" fmla="*/ 14288 w 500253"/>
                  <a:gd name="connsiteY9" fmla="*/ 242983 h 257270"/>
                  <a:gd name="connsiteX10" fmla="*/ 485966 w 500253"/>
                  <a:gd name="connsiteY10" fmla="*/ 242983 h 257270"/>
                  <a:gd name="connsiteX11" fmla="*/ 485966 w 500253"/>
                  <a:gd name="connsiteY11" fmla="*/ 14288 h 257270"/>
                  <a:gd name="connsiteX12" fmla="*/ 14288 w 500253"/>
                  <a:gd name="connsiteY12" fmla="*/ 14288 h 257270"/>
                  <a:gd name="connsiteX13" fmla="*/ 14288 w 500253"/>
                  <a:gd name="connsiteY13" fmla="*/ 242983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00253" h="257270">
                    <a:moveTo>
                      <a:pt x="493109" y="257270"/>
                    </a:moveTo>
                    <a:lnTo>
                      <a:pt x="7144" y="257270"/>
                    </a:lnTo>
                    <a:cubicBezTo>
                      <a:pt x="3239" y="257270"/>
                      <a:pt x="0" y="254127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493109" y="0"/>
                    </a:ln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254127"/>
                      <a:pt x="497110" y="257270"/>
                      <a:pt x="493109" y="257270"/>
                    </a:cubicBezTo>
                    <a:close/>
                    <a:moveTo>
                      <a:pt x="14288" y="242983"/>
                    </a:moveTo>
                    <a:lnTo>
                      <a:pt x="485966" y="242983"/>
                    </a:lnTo>
                    <a:lnTo>
                      <a:pt x="485966" y="14288"/>
                    </a:lnTo>
                    <a:lnTo>
                      <a:pt x="14288" y="14288"/>
                    </a:lnTo>
                    <a:lnTo>
                      <a:pt x="14288" y="24298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428" name="Grafik 25">
                <a:extLst>
                  <a:ext uri="{FF2B5EF4-FFF2-40B4-BE49-F238E27FC236}">
                    <a16:creationId xmlns:a16="http://schemas.microsoft.com/office/drawing/2014/main" id="{193C8547-D7DD-1D32-695E-04B3AF268FE0}"/>
                  </a:ext>
                </a:extLst>
              </p:cNvPr>
              <p:cNvGrpSpPr/>
              <p:nvPr/>
            </p:nvGrpSpPr>
            <p:grpSpPr bwMode="gray">
              <a:xfrm>
                <a:off x="5951338" y="3239571"/>
                <a:ext cx="284749" cy="131325"/>
                <a:chOff x="5951338" y="3239571"/>
                <a:chExt cx="284749" cy="131325"/>
              </a:xfrm>
              <a:grpFill/>
            </p:grpSpPr>
            <p:grpSp>
              <p:nvGrpSpPr>
                <p:cNvPr id="429" name="Grafik 25">
                  <a:extLst>
                    <a:ext uri="{FF2B5EF4-FFF2-40B4-BE49-F238E27FC236}">
                      <a16:creationId xmlns:a16="http://schemas.microsoft.com/office/drawing/2014/main" id="{2DC61C06-AAA3-26C5-2446-42DDB5342E8A}"/>
                    </a:ext>
                  </a:extLst>
                </p:cNvPr>
                <p:cNvGrpSpPr/>
                <p:nvPr/>
              </p:nvGrpSpPr>
              <p:grpSpPr bwMode="gray">
                <a:xfrm>
                  <a:off x="5963149" y="3239571"/>
                  <a:ext cx="119419" cy="51030"/>
                  <a:chOff x="5963149" y="3239571"/>
                  <a:chExt cx="119419" cy="51030"/>
                </a:xfrm>
                <a:grpFill/>
              </p:grpSpPr>
              <p:sp>
                <p:nvSpPr>
                  <p:cNvPr id="442" name="Grafik 25">
                    <a:extLst>
                      <a:ext uri="{FF2B5EF4-FFF2-40B4-BE49-F238E27FC236}">
                        <a16:creationId xmlns:a16="http://schemas.microsoft.com/office/drawing/2014/main" id="{A0B7DAF2-FC1E-425F-E637-52A226AAA0D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73317" y="3257930"/>
                    <a:ext cx="109251" cy="14287"/>
                  </a:xfrm>
                  <a:custGeom>
                    <a:avLst/>
                    <a:gdLst>
                      <a:gd name="connsiteX0" fmla="*/ 102108 w 109251"/>
                      <a:gd name="connsiteY0" fmla="*/ 14288 h 14287"/>
                      <a:gd name="connsiteX1" fmla="*/ 7144 w 109251"/>
                      <a:gd name="connsiteY1" fmla="*/ 14288 h 14287"/>
                      <a:gd name="connsiteX2" fmla="*/ 0 w 109251"/>
                      <a:gd name="connsiteY2" fmla="*/ 7144 h 14287"/>
                      <a:gd name="connsiteX3" fmla="*/ 7144 w 109251"/>
                      <a:gd name="connsiteY3" fmla="*/ 0 h 14287"/>
                      <a:gd name="connsiteX4" fmla="*/ 102108 w 109251"/>
                      <a:gd name="connsiteY4" fmla="*/ 0 h 14287"/>
                      <a:gd name="connsiteX5" fmla="*/ 109252 w 109251"/>
                      <a:gd name="connsiteY5" fmla="*/ 7144 h 14287"/>
                      <a:gd name="connsiteX6" fmla="*/ 102108 w 109251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09251" h="14287">
                        <a:moveTo>
                          <a:pt x="102108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102108" y="0"/>
                        </a:lnTo>
                        <a:cubicBezTo>
                          <a:pt x="106013" y="0"/>
                          <a:pt x="109252" y="3239"/>
                          <a:pt x="109252" y="7144"/>
                        </a:cubicBezTo>
                        <a:cubicBezTo>
                          <a:pt x="109252" y="11049"/>
                          <a:pt x="106013" y="14288"/>
                          <a:pt x="102108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43" name="Grafik 25">
                    <a:extLst>
                      <a:ext uri="{FF2B5EF4-FFF2-40B4-BE49-F238E27FC236}">
                        <a16:creationId xmlns:a16="http://schemas.microsoft.com/office/drawing/2014/main" id="{4CE30689-11ED-F8CB-1D8C-C03C81F857D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63149" y="3239571"/>
                    <a:ext cx="32623" cy="32646"/>
                  </a:xfrm>
                  <a:custGeom>
                    <a:avLst/>
                    <a:gdLst>
                      <a:gd name="connsiteX0" fmla="*/ 7120 w 32623"/>
                      <a:gd name="connsiteY0" fmla="*/ 32647 h 32646"/>
                      <a:gd name="connsiteX1" fmla="*/ 2072 w 32623"/>
                      <a:gd name="connsiteY1" fmla="*/ 30551 h 32646"/>
                      <a:gd name="connsiteX2" fmla="*/ 2072 w 32623"/>
                      <a:gd name="connsiteY2" fmla="*/ 20455 h 32646"/>
                      <a:gd name="connsiteX3" fmla="*/ 20455 w 32623"/>
                      <a:gd name="connsiteY3" fmla="*/ 2072 h 32646"/>
                      <a:gd name="connsiteX4" fmla="*/ 30551 w 32623"/>
                      <a:gd name="connsiteY4" fmla="*/ 2072 h 32646"/>
                      <a:gd name="connsiteX5" fmla="*/ 30551 w 32623"/>
                      <a:gd name="connsiteY5" fmla="*/ 12168 h 32646"/>
                      <a:gd name="connsiteX6" fmla="*/ 12168 w 32623"/>
                      <a:gd name="connsiteY6" fmla="*/ 30551 h 32646"/>
                      <a:gd name="connsiteX7" fmla="*/ 7120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7120" y="32647"/>
                        </a:moveTo>
                        <a:cubicBezTo>
                          <a:pt x="5310" y="32647"/>
                          <a:pt x="3500" y="31980"/>
                          <a:pt x="2072" y="30551"/>
                        </a:cubicBezTo>
                        <a:cubicBezTo>
                          <a:pt x="-691" y="27789"/>
                          <a:pt x="-691" y="23217"/>
                          <a:pt x="2072" y="20455"/>
                        </a:cubicBezTo>
                        <a:lnTo>
                          <a:pt x="20455" y="2072"/>
                        </a:lnTo>
                        <a:cubicBezTo>
                          <a:pt x="23217" y="-691"/>
                          <a:pt x="27789" y="-691"/>
                          <a:pt x="30551" y="2072"/>
                        </a:cubicBezTo>
                        <a:cubicBezTo>
                          <a:pt x="33314" y="4834"/>
                          <a:pt x="33314" y="9406"/>
                          <a:pt x="30551" y="12168"/>
                        </a:cubicBezTo>
                        <a:lnTo>
                          <a:pt x="12168" y="30551"/>
                        </a:lnTo>
                        <a:cubicBezTo>
                          <a:pt x="10835" y="31980"/>
                          <a:pt x="9025" y="32647"/>
                          <a:pt x="7120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44" name="Grafik 25">
                    <a:extLst>
                      <a:ext uri="{FF2B5EF4-FFF2-40B4-BE49-F238E27FC236}">
                        <a16:creationId xmlns:a16="http://schemas.microsoft.com/office/drawing/2014/main" id="{C572CD6E-00F5-20CC-B617-4B7A0C5F2A6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63149" y="3257954"/>
                    <a:ext cx="32623" cy="32646"/>
                  </a:xfrm>
                  <a:custGeom>
                    <a:avLst/>
                    <a:gdLst>
                      <a:gd name="connsiteX0" fmla="*/ 25503 w 32623"/>
                      <a:gd name="connsiteY0" fmla="*/ 32647 h 32646"/>
                      <a:gd name="connsiteX1" fmla="*/ 20455 w 32623"/>
                      <a:gd name="connsiteY1" fmla="*/ 30551 h 32646"/>
                      <a:gd name="connsiteX2" fmla="*/ 2072 w 32623"/>
                      <a:gd name="connsiteY2" fmla="*/ 12168 h 32646"/>
                      <a:gd name="connsiteX3" fmla="*/ 2072 w 32623"/>
                      <a:gd name="connsiteY3" fmla="*/ 2072 h 32646"/>
                      <a:gd name="connsiteX4" fmla="*/ 12168 w 32623"/>
                      <a:gd name="connsiteY4" fmla="*/ 2072 h 32646"/>
                      <a:gd name="connsiteX5" fmla="*/ 30551 w 32623"/>
                      <a:gd name="connsiteY5" fmla="*/ 20455 h 32646"/>
                      <a:gd name="connsiteX6" fmla="*/ 30551 w 32623"/>
                      <a:gd name="connsiteY6" fmla="*/ 30551 h 32646"/>
                      <a:gd name="connsiteX7" fmla="*/ 25503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25503" y="32647"/>
                        </a:moveTo>
                        <a:cubicBezTo>
                          <a:pt x="23693" y="32647"/>
                          <a:pt x="21884" y="31980"/>
                          <a:pt x="20455" y="30551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0551" y="20455"/>
                        </a:lnTo>
                        <a:cubicBezTo>
                          <a:pt x="33314" y="23217"/>
                          <a:pt x="33314" y="27789"/>
                          <a:pt x="30551" y="30551"/>
                        </a:cubicBezTo>
                        <a:cubicBezTo>
                          <a:pt x="29218" y="31980"/>
                          <a:pt x="27313" y="32647"/>
                          <a:pt x="25503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430" name="Grafik 25">
                  <a:extLst>
                    <a:ext uri="{FF2B5EF4-FFF2-40B4-BE49-F238E27FC236}">
                      <a16:creationId xmlns:a16="http://schemas.microsoft.com/office/drawing/2014/main" id="{C1401A18-F202-8AD0-823E-58E767B8AC8E}"/>
                    </a:ext>
                  </a:extLst>
                </p:cNvPr>
                <p:cNvGrpSpPr/>
                <p:nvPr/>
              </p:nvGrpSpPr>
              <p:grpSpPr bwMode="gray">
                <a:xfrm>
                  <a:off x="5951338" y="3319866"/>
                  <a:ext cx="131230" cy="51030"/>
                  <a:chOff x="5951338" y="3319866"/>
                  <a:chExt cx="131230" cy="51030"/>
                </a:xfrm>
                <a:grpFill/>
              </p:grpSpPr>
              <p:sp>
                <p:nvSpPr>
                  <p:cNvPr id="439" name="Grafik 25">
                    <a:extLst>
                      <a:ext uri="{FF2B5EF4-FFF2-40B4-BE49-F238E27FC236}">
                        <a16:creationId xmlns:a16="http://schemas.microsoft.com/office/drawing/2014/main" id="{ED7544DA-889A-9758-11C8-3F34B6F9AEA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61601" y="3338226"/>
                    <a:ext cx="120967" cy="14287"/>
                  </a:xfrm>
                  <a:custGeom>
                    <a:avLst/>
                    <a:gdLst>
                      <a:gd name="connsiteX0" fmla="*/ 113824 w 120967"/>
                      <a:gd name="connsiteY0" fmla="*/ 14288 h 14287"/>
                      <a:gd name="connsiteX1" fmla="*/ 7144 w 120967"/>
                      <a:gd name="connsiteY1" fmla="*/ 14288 h 14287"/>
                      <a:gd name="connsiteX2" fmla="*/ 0 w 120967"/>
                      <a:gd name="connsiteY2" fmla="*/ 7144 h 14287"/>
                      <a:gd name="connsiteX3" fmla="*/ 7144 w 120967"/>
                      <a:gd name="connsiteY3" fmla="*/ 0 h 14287"/>
                      <a:gd name="connsiteX4" fmla="*/ 113824 w 120967"/>
                      <a:gd name="connsiteY4" fmla="*/ 0 h 14287"/>
                      <a:gd name="connsiteX5" fmla="*/ 120968 w 120967"/>
                      <a:gd name="connsiteY5" fmla="*/ 7144 h 14287"/>
                      <a:gd name="connsiteX6" fmla="*/ 113824 w 12096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20967" h="14287">
                        <a:moveTo>
                          <a:pt x="11382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113824" y="0"/>
                        </a:lnTo>
                        <a:cubicBezTo>
                          <a:pt x="117729" y="0"/>
                          <a:pt x="120968" y="3239"/>
                          <a:pt x="120968" y="7144"/>
                        </a:cubicBezTo>
                        <a:cubicBezTo>
                          <a:pt x="120968" y="11049"/>
                          <a:pt x="117729" y="14288"/>
                          <a:pt x="11382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40" name="Grafik 25">
                    <a:extLst>
                      <a:ext uri="{FF2B5EF4-FFF2-40B4-BE49-F238E27FC236}">
                        <a16:creationId xmlns:a16="http://schemas.microsoft.com/office/drawing/2014/main" id="{5149C819-1512-50B5-F9B1-39B931FECBE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433" y="3319866"/>
                    <a:ext cx="32623" cy="32646"/>
                  </a:xfrm>
                  <a:custGeom>
                    <a:avLst/>
                    <a:gdLst>
                      <a:gd name="connsiteX0" fmla="*/ 7120 w 32623"/>
                      <a:gd name="connsiteY0" fmla="*/ 32647 h 32646"/>
                      <a:gd name="connsiteX1" fmla="*/ 2072 w 32623"/>
                      <a:gd name="connsiteY1" fmla="*/ 30551 h 32646"/>
                      <a:gd name="connsiteX2" fmla="*/ 2072 w 32623"/>
                      <a:gd name="connsiteY2" fmla="*/ 20455 h 32646"/>
                      <a:gd name="connsiteX3" fmla="*/ 20455 w 32623"/>
                      <a:gd name="connsiteY3" fmla="*/ 2072 h 32646"/>
                      <a:gd name="connsiteX4" fmla="*/ 30551 w 32623"/>
                      <a:gd name="connsiteY4" fmla="*/ 2072 h 32646"/>
                      <a:gd name="connsiteX5" fmla="*/ 30551 w 32623"/>
                      <a:gd name="connsiteY5" fmla="*/ 12168 h 32646"/>
                      <a:gd name="connsiteX6" fmla="*/ 12168 w 32623"/>
                      <a:gd name="connsiteY6" fmla="*/ 30551 h 32646"/>
                      <a:gd name="connsiteX7" fmla="*/ 7120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7120" y="32647"/>
                        </a:moveTo>
                        <a:cubicBezTo>
                          <a:pt x="5310" y="32647"/>
                          <a:pt x="3500" y="31980"/>
                          <a:pt x="2072" y="30551"/>
                        </a:cubicBezTo>
                        <a:cubicBezTo>
                          <a:pt x="-691" y="27789"/>
                          <a:pt x="-691" y="23217"/>
                          <a:pt x="2072" y="20455"/>
                        </a:cubicBezTo>
                        <a:lnTo>
                          <a:pt x="20455" y="2072"/>
                        </a:lnTo>
                        <a:cubicBezTo>
                          <a:pt x="23217" y="-691"/>
                          <a:pt x="27789" y="-691"/>
                          <a:pt x="30551" y="2072"/>
                        </a:cubicBezTo>
                        <a:cubicBezTo>
                          <a:pt x="33314" y="4834"/>
                          <a:pt x="33314" y="9406"/>
                          <a:pt x="30551" y="12168"/>
                        </a:cubicBezTo>
                        <a:lnTo>
                          <a:pt x="12168" y="30551"/>
                        </a:lnTo>
                        <a:cubicBezTo>
                          <a:pt x="10739" y="31885"/>
                          <a:pt x="8930" y="32647"/>
                          <a:pt x="7120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41" name="Grafik 25">
                    <a:extLst>
                      <a:ext uri="{FF2B5EF4-FFF2-40B4-BE49-F238E27FC236}">
                        <a16:creationId xmlns:a16="http://schemas.microsoft.com/office/drawing/2014/main" id="{DA171796-86B2-CE4C-5693-5EB6CC5F98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338" y="3338250"/>
                    <a:ext cx="32623" cy="32646"/>
                  </a:xfrm>
                  <a:custGeom>
                    <a:avLst/>
                    <a:gdLst>
                      <a:gd name="connsiteX0" fmla="*/ 25503 w 32623"/>
                      <a:gd name="connsiteY0" fmla="*/ 32647 h 32646"/>
                      <a:gd name="connsiteX1" fmla="*/ 20455 w 32623"/>
                      <a:gd name="connsiteY1" fmla="*/ 30551 h 32646"/>
                      <a:gd name="connsiteX2" fmla="*/ 2072 w 32623"/>
                      <a:gd name="connsiteY2" fmla="*/ 12168 h 32646"/>
                      <a:gd name="connsiteX3" fmla="*/ 2072 w 32623"/>
                      <a:gd name="connsiteY3" fmla="*/ 2072 h 32646"/>
                      <a:gd name="connsiteX4" fmla="*/ 12168 w 32623"/>
                      <a:gd name="connsiteY4" fmla="*/ 2072 h 32646"/>
                      <a:gd name="connsiteX5" fmla="*/ 30551 w 32623"/>
                      <a:gd name="connsiteY5" fmla="*/ 20455 h 32646"/>
                      <a:gd name="connsiteX6" fmla="*/ 30551 w 32623"/>
                      <a:gd name="connsiteY6" fmla="*/ 30551 h 32646"/>
                      <a:gd name="connsiteX7" fmla="*/ 25503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25503" y="32647"/>
                        </a:moveTo>
                        <a:cubicBezTo>
                          <a:pt x="23693" y="32647"/>
                          <a:pt x="21884" y="31980"/>
                          <a:pt x="20455" y="30551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0551" y="20455"/>
                        </a:lnTo>
                        <a:cubicBezTo>
                          <a:pt x="33314" y="23217"/>
                          <a:pt x="33314" y="27789"/>
                          <a:pt x="30551" y="30551"/>
                        </a:cubicBezTo>
                        <a:cubicBezTo>
                          <a:pt x="29218" y="31885"/>
                          <a:pt x="27408" y="32647"/>
                          <a:pt x="25503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431" name="Grafik 25">
                  <a:extLst>
                    <a:ext uri="{FF2B5EF4-FFF2-40B4-BE49-F238E27FC236}">
                      <a16:creationId xmlns:a16="http://schemas.microsoft.com/office/drawing/2014/main" id="{AE3E0663-26FE-525C-B73C-219E2014C519}"/>
                    </a:ext>
                  </a:extLst>
                </p:cNvPr>
                <p:cNvGrpSpPr/>
                <p:nvPr/>
              </p:nvGrpSpPr>
              <p:grpSpPr bwMode="gray">
                <a:xfrm>
                  <a:off x="6104953" y="3239571"/>
                  <a:ext cx="119514" cy="51030"/>
                  <a:chOff x="6104953" y="3239571"/>
                  <a:chExt cx="119514" cy="51030"/>
                </a:xfrm>
                <a:grpFill/>
              </p:grpSpPr>
              <p:sp>
                <p:nvSpPr>
                  <p:cNvPr id="436" name="Grafik 25">
                    <a:extLst>
                      <a:ext uri="{FF2B5EF4-FFF2-40B4-BE49-F238E27FC236}">
                        <a16:creationId xmlns:a16="http://schemas.microsoft.com/office/drawing/2014/main" id="{CE197225-DCA3-8CE2-507C-6B75DB722DF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04953" y="3257930"/>
                    <a:ext cx="109346" cy="14287"/>
                  </a:xfrm>
                  <a:custGeom>
                    <a:avLst/>
                    <a:gdLst>
                      <a:gd name="connsiteX0" fmla="*/ 102203 w 109346"/>
                      <a:gd name="connsiteY0" fmla="*/ 14288 h 14287"/>
                      <a:gd name="connsiteX1" fmla="*/ 7144 w 109346"/>
                      <a:gd name="connsiteY1" fmla="*/ 14288 h 14287"/>
                      <a:gd name="connsiteX2" fmla="*/ 0 w 109346"/>
                      <a:gd name="connsiteY2" fmla="*/ 7144 h 14287"/>
                      <a:gd name="connsiteX3" fmla="*/ 7144 w 109346"/>
                      <a:gd name="connsiteY3" fmla="*/ 0 h 14287"/>
                      <a:gd name="connsiteX4" fmla="*/ 102203 w 109346"/>
                      <a:gd name="connsiteY4" fmla="*/ 0 h 14287"/>
                      <a:gd name="connsiteX5" fmla="*/ 109347 w 109346"/>
                      <a:gd name="connsiteY5" fmla="*/ 7144 h 14287"/>
                      <a:gd name="connsiteX6" fmla="*/ 102203 w 109346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09346" h="14287">
                        <a:moveTo>
                          <a:pt x="102203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102203" y="0"/>
                        </a:lnTo>
                        <a:cubicBezTo>
                          <a:pt x="106109" y="0"/>
                          <a:pt x="109347" y="3239"/>
                          <a:pt x="109347" y="7144"/>
                        </a:cubicBezTo>
                        <a:cubicBezTo>
                          <a:pt x="109347" y="11049"/>
                          <a:pt x="106109" y="14288"/>
                          <a:pt x="102203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37" name="Grafik 25">
                    <a:extLst>
                      <a:ext uri="{FF2B5EF4-FFF2-40B4-BE49-F238E27FC236}">
                        <a16:creationId xmlns:a16="http://schemas.microsoft.com/office/drawing/2014/main" id="{99EA585C-BB75-2B56-30FA-125CA16496E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91844" y="3239571"/>
                    <a:ext cx="32623" cy="32646"/>
                  </a:xfrm>
                  <a:custGeom>
                    <a:avLst/>
                    <a:gdLst>
                      <a:gd name="connsiteX0" fmla="*/ 25503 w 32623"/>
                      <a:gd name="connsiteY0" fmla="*/ 32647 h 32646"/>
                      <a:gd name="connsiteX1" fmla="*/ 20455 w 32623"/>
                      <a:gd name="connsiteY1" fmla="*/ 30551 h 32646"/>
                      <a:gd name="connsiteX2" fmla="*/ 2072 w 32623"/>
                      <a:gd name="connsiteY2" fmla="*/ 12168 h 32646"/>
                      <a:gd name="connsiteX3" fmla="*/ 2072 w 32623"/>
                      <a:gd name="connsiteY3" fmla="*/ 2072 h 32646"/>
                      <a:gd name="connsiteX4" fmla="*/ 12168 w 32623"/>
                      <a:gd name="connsiteY4" fmla="*/ 2072 h 32646"/>
                      <a:gd name="connsiteX5" fmla="*/ 30551 w 32623"/>
                      <a:gd name="connsiteY5" fmla="*/ 20455 h 32646"/>
                      <a:gd name="connsiteX6" fmla="*/ 30551 w 32623"/>
                      <a:gd name="connsiteY6" fmla="*/ 30551 h 32646"/>
                      <a:gd name="connsiteX7" fmla="*/ 25503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25503" y="32647"/>
                        </a:moveTo>
                        <a:cubicBezTo>
                          <a:pt x="23693" y="32647"/>
                          <a:pt x="21884" y="31980"/>
                          <a:pt x="20455" y="30551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0551" y="20455"/>
                        </a:lnTo>
                        <a:cubicBezTo>
                          <a:pt x="33314" y="23217"/>
                          <a:pt x="33314" y="27789"/>
                          <a:pt x="30551" y="30551"/>
                        </a:cubicBezTo>
                        <a:cubicBezTo>
                          <a:pt x="29123" y="31980"/>
                          <a:pt x="27313" y="32647"/>
                          <a:pt x="25503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38" name="Grafik 25">
                    <a:extLst>
                      <a:ext uri="{FF2B5EF4-FFF2-40B4-BE49-F238E27FC236}">
                        <a16:creationId xmlns:a16="http://schemas.microsoft.com/office/drawing/2014/main" id="{4EFEA2FA-200B-FC19-43DD-76873217093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91844" y="3257954"/>
                    <a:ext cx="32623" cy="32646"/>
                  </a:xfrm>
                  <a:custGeom>
                    <a:avLst/>
                    <a:gdLst>
                      <a:gd name="connsiteX0" fmla="*/ 7120 w 32623"/>
                      <a:gd name="connsiteY0" fmla="*/ 32647 h 32646"/>
                      <a:gd name="connsiteX1" fmla="*/ 2072 w 32623"/>
                      <a:gd name="connsiteY1" fmla="*/ 30551 h 32646"/>
                      <a:gd name="connsiteX2" fmla="*/ 2072 w 32623"/>
                      <a:gd name="connsiteY2" fmla="*/ 20455 h 32646"/>
                      <a:gd name="connsiteX3" fmla="*/ 20455 w 32623"/>
                      <a:gd name="connsiteY3" fmla="*/ 2072 h 32646"/>
                      <a:gd name="connsiteX4" fmla="*/ 30551 w 32623"/>
                      <a:gd name="connsiteY4" fmla="*/ 2072 h 32646"/>
                      <a:gd name="connsiteX5" fmla="*/ 30551 w 32623"/>
                      <a:gd name="connsiteY5" fmla="*/ 12168 h 32646"/>
                      <a:gd name="connsiteX6" fmla="*/ 12168 w 32623"/>
                      <a:gd name="connsiteY6" fmla="*/ 30551 h 32646"/>
                      <a:gd name="connsiteX7" fmla="*/ 7120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7120" y="32647"/>
                        </a:moveTo>
                        <a:cubicBezTo>
                          <a:pt x="5310" y="32647"/>
                          <a:pt x="3500" y="31980"/>
                          <a:pt x="2072" y="30551"/>
                        </a:cubicBezTo>
                        <a:cubicBezTo>
                          <a:pt x="-691" y="27789"/>
                          <a:pt x="-691" y="23217"/>
                          <a:pt x="2072" y="20455"/>
                        </a:cubicBezTo>
                        <a:lnTo>
                          <a:pt x="20455" y="2072"/>
                        </a:lnTo>
                        <a:cubicBezTo>
                          <a:pt x="23217" y="-691"/>
                          <a:pt x="27789" y="-691"/>
                          <a:pt x="30551" y="2072"/>
                        </a:cubicBezTo>
                        <a:cubicBezTo>
                          <a:pt x="33314" y="4834"/>
                          <a:pt x="33314" y="9406"/>
                          <a:pt x="30551" y="12168"/>
                        </a:cubicBezTo>
                        <a:lnTo>
                          <a:pt x="12168" y="30551"/>
                        </a:lnTo>
                        <a:cubicBezTo>
                          <a:pt x="10739" y="31980"/>
                          <a:pt x="8930" y="32647"/>
                          <a:pt x="7120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432" name="Grafik 25">
                  <a:extLst>
                    <a:ext uri="{FF2B5EF4-FFF2-40B4-BE49-F238E27FC236}">
                      <a16:creationId xmlns:a16="http://schemas.microsoft.com/office/drawing/2014/main" id="{D9DB84DB-976C-AE99-CA44-BDCC812EB96D}"/>
                    </a:ext>
                  </a:extLst>
                </p:cNvPr>
                <p:cNvGrpSpPr/>
                <p:nvPr/>
              </p:nvGrpSpPr>
              <p:grpSpPr bwMode="gray">
                <a:xfrm>
                  <a:off x="6104953" y="3319866"/>
                  <a:ext cx="131135" cy="51030"/>
                  <a:chOff x="6104953" y="3319866"/>
                  <a:chExt cx="131135" cy="51030"/>
                </a:xfrm>
                <a:grpFill/>
              </p:grpSpPr>
              <p:sp>
                <p:nvSpPr>
                  <p:cNvPr id="433" name="Grafik 25">
                    <a:extLst>
                      <a:ext uri="{FF2B5EF4-FFF2-40B4-BE49-F238E27FC236}">
                        <a16:creationId xmlns:a16="http://schemas.microsoft.com/office/drawing/2014/main" id="{FEA9A51A-9F89-0594-6769-4B7FE80CDEB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04953" y="3338226"/>
                    <a:ext cx="120967" cy="14287"/>
                  </a:xfrm>
                  <a:custGeom>
                    <a:avLst/>
                    <a:gdLst>
                      <a:gd name="connsiteX0" fmla="*/ 113824 w 120967"/>
                      <a:gd name="connsiteY0" fmla="*/ 14288 h 14287"/>
                      <a:gd name="connsiteX1" fmla="*/ 7144 w 120967"/>
                      <a:gd name="connsiteY1" fmla="*/ 14288 h 14287"/>
                      <a:gd name="connsiteX2" fmla="*/ 0 w 120967"/>
                      <a:gd name="connsiteY2" fmla="*/ 7144 h 14287"/>
                      <a:gd name="connsiteX3" fmla="*/ 7144 w 120967"/>
                      <a:gd name="connsiteY3" fmla="*/ 0 h 14287"/>
                      <a:gd name="connsiteX4" fmla="*/ 113824 w 120967"/>
                      <a:gd name="connsiteY4" fmla="*/ 0 h 14287"/>
                      <a:gd name="connsiteX5" fmla="*/ 120967 w 120967"/>
                      <a:gd name="connsiteY5" fmla="*/ 7144 h 14287"/>
                      <a:gd name="connsiteX6" fmla="*/ 113824 w 12096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20967" h="14287">
                        <a:moveTo>
                          <a:pt x="11382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113824" y="0"/>
                        </a:lnTo>
                        <a:cubicBezTo>
                          <a:pt x="117729" y="0"/>
                          <a:pt x="120967" y="3239"/>
                          <a:pt x="120967" y="7144"/>
                        </a:cubicBezTo>
                        <a:cubicBezTo>
                          <a:pt x="120967" y="11049"/>
                          <a:pt x="117729" y="14288"/>
                          <a:pt x="11382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34" name="Grafik 25">
                    <a:extLst>
                      <a:ext uri="{FF2B5EF4-FFF2-40B4-BE49-F238E27FC236}">
                        <a16:creationId xmlns:a16="http://schemas.microsoft.com/office/drawing/2014/main" id="{24BE51EC-701E-BDAF-E5DA-472F8C3D261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03465" y="3319866"/>
                    <a:ext cx="32623" cy="32646"/>
                  </a:xfrm>
                  <a:custGeom>
                    <a:avLst/>
                    <a:gdLst>
                      <a:gd name="connsiteX0" fmla="*/ 25503 w 32623"/>
                      <a:gd name="connsiteY0" fmla="*/ 32647 h 32646"/>
                      <a:gd name="connsiteX1" fmla="*/ 20455 w 32623"/>
                      <a:gd name="connsiteY1" fmla="*/ 30551 h 32646"/>
                      <a:gd name="connsiteX2" fmla="*/ 2072 w 32623"/>
                      <a:gd name="connsiteY2" fmla="*/ 12168 h 32646"/>
                      <a:gd name="connsiteX3" fmla="*/ 2072 w 32623"/>
                      <a:gd name="connsiteY3" fmla="*/ 2072 h 32646"/>
                      <a:gd name="connsiteX4" fmla="*/ 12168 w 32623"/>
                      <a:gd name="connsiteY4" fmla="*/ 2072 h 32646"/>
                      <a:gd name="connsiteX5" fmla="*/ 30551 w 32623"/>
                      <a:gd name="connsiteY5" fmla="*/ 20455 h 32646"/>
                      <a:gd name="connsiteX6" fmla="*/ 30551 w 32623"/>
                      <a:gd name="connsiteY6" fmla="*/ 30551 h 32646"/>
                      <a:gd name="connsiteX7" fmla="*/ 25503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25503" y="32647"/>
                        </a:moveTo>
                        <a:cubicBezTo>
                          <a:pt x="23693" y="32647"/>
                          <a:pt x="21884" y="31980"/>
                          <a:pt x="20455" y="30551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0551" y="20455"/>
                        </a:lnTo>
                        <a:cubicBezTo>
                          <a:pt x="33314" y="23217"/>
                          <a:pt x="33314" y="27789"/>
                          <a:pt x="30551" y="30551"/>
                        </a:cubicBezTo>
                        <a:cubicBezTo>
                          <a:pt x="29123" y="31885"/>
                          <a:pt x="27313" y="32647"/>
                          <a:pt x="25503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35" name="Grafik 25">
                    <a:extLst>
                      <a:ext uri="{FF2B5EF4-FFF2-40B4-BE49-F238E27FC236}">
                        <a16:creationId xmlns:a16="http://schemas.microsoft.com/office/drawing/2014/main" id="{B997E54D-AC7D-3E4B-5728-E1505927744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03465" y="3338250"/>
                    <a:ext cx="32623" cy="32646"/>
                  </a:xfrm>
                  <a:custGeom>
                    <a:avLst/>
                    <a:gdLst>
                      <a:gd name="connsiteX0" fmla="*/ 7120 w 32623"/>
                      <a:gd name="connsiteY0" fmla="*/ 32647 h 32646"/>
                      <a:gd name="connsiteX1" fmla="*/ 2072 w 32623"/>
                      <a:gd name="connsiteY1" fmla="*/ 30551 h 32646"/>
                      <a:gd name="connsiteX2" fmla="*/ 2072 w 32623"/>
                      <a:gd name="connsiteY2" fmla="*/ 20455 h 32646"/>
                      <a:gd name="connsiteX3" fmla="*/ 20455 w 32623"/>
                      <a:gd name="connsiteY3" fmla="*/ 2072 h 32646"/>
                      <a:gd name="connsiteX4" fmla="*/ 30551 w 32623"/>
                      <a:gd name="connsiteY4" fmla="*/ 2072 h 32646"/>
                      <a:gd name="connsiteX5" fmla="*/ 30551 w 32623"/>
                      <a:gd name="connsiteY5" fmla="*/ 12168 h 32646"/>
                      <a:gd name="connsiteX6" fmla="*/ 12168 w 32623"/>
                      <a:gd name="connsiteY6" fmla="*/ 30551 h 32646"/>
                      <a:gd name="connsiteX7" fmla="*/ 7120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7120" y="32647"/>
                        </a:moveTo>
                        <a:cubicBezTo>
                          <a:pt x="5310" y="32647"/>
                          <a:pt x="3500" y="31980"/>
                          <a:pt x="2072" y="30551"/>
                        </a:cubicBezTo>
                        <a:cubicBezTo>
                          <a:pt x="-691" y="27789"/>
                          <a:pt x="-691" y="23217"/>
                          <a:pt x="2072" y="20455"/>
                        </a:cubicBezTo>
                        <a:lnTo>
                          <a:pt x="20455" y="2072"/>
                        </a:lnTo>
                        <a:cubicBezTo>
                          <a:pt x="23217" y="-691"/>
                          <a:pt x="27789" y="-691"/>
                          <a:pt x="30551" y="2072"/>
                        </a:cubicBezTo>
                        <a:cubicBezTo>
                          <a:pt x="33314" y="4834"/>
                          <a:pt x="33314" y="9406"/>
                          <a:pt x="30551" y="12168"/>
                        </a:cubicBezTo>
                        <a:lnTo>
                          <a:pt x="12168" y="30551"/>
                        </a:lnTo>
                        <a:cubicBezTo>
                          <a:pt x="10739" y="31885"/>
                          <a:pt x="8930" y="32647"/>
                          <a:pt x="7120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  <p:grpSp>
          <p:nvGrpSpPr>
            <p:cNvPr id="409" name="Grafik 25">
              <a:extLst>
                <a:ext uri="{FF2B5EF4-FFF2-40B4-BE49-F238E27FC236}">
                  <a16:creationId xmlns:a16="http://schemas.microsoft.com/office/drawing/2014/main" id="{55A6BB94-A764-EBF0-B81B-4FB4D2D7B8C3}"/>
                </a:ext>
              </a:extLst>
            </p:cNvPr>
            <p:cNvGrpSpPr/>
            <p:nvPr/>
          </p:nvGrpSpPr>
          <p:grpSpPr bwMode="gray">
            <a:xfrm>
              <a:off x="5951790" y="3467150"/>
              <a:ext cx="276173" cy="162254"/>
              <a:chOff x="5951790" y="3467150"/>
              <a:chExt cx="276173" cy="162254"/>
            </a:xfrm>
            <a:grpFill/>
          </p:grpSpPr>
          <p:grpSp>
            <p:nvGrpSpPr>
              <p:cNvPr id="410" name="Grafik 25">
                <a:extLst>
                  <a:ext uri="{FF2B5EF4-FFF2-40B4-BE49-F238E27FC236}">
                    <a16:creationId xmlns:a16="http://schemas.microsoft.com/office/drawing/2014/main" id="{8055D1E5-FA36-DC6D-0EB2-8A1530CE278C}"/>
                  </a:ext>
                </a:extLst>
              </p:cNvPr>
              <p:cNvGrpSpPr/>
              <p:nvPr/>
            </p:nvGrpSpPr>
            <p:grpSpPr bwMode="gray">
              <a:xfrm>
                <a:off x="5951790" y="3522273"/>
                <a:ext cx="147899" cy="52268"/>
                <a:chOff x="5951790" y="3522273"/>
                <a:chExt cx="147899" cy="52268"/>
              </a:xfrm>
              <a:grpFill/>
            </p:grpSpPr>
            <p:sp>
              <p:nvSpPr>
                <p:cNvPr id="423" name="Grafik 25">
                  <a:extLst>
                    <a:ext uri="{FF2B5EF4-FFF2-40B4-BE49-F238E27FC236}">
                      <a16:creationId xmlns:a16="http://schemas.microsoft.com/office/drawing/2014/main" id="{DE39D48B-8108-2CD6-A05A-2EE2D50D0D2F}"/>
                    </a:ext>
                  </a:extLst>
                </p:cNvPr>
                <p:cNvSpPr/>
                <p:nvPr/>
              </p:nvSpPr>
              <p:spPr bwMode="gray">
                <a:xfrm>
                  <a:off x="5951790" y="3541108"/>
                  <a:ext cx="136778" cy="14287"/>
                </a:xfrm>
                <a:custGeom>
                  <a:avLst/>
                  <a:gdLst>
                    <a:gd name="connsiteX0" fmla="*/ 129635 w 136778"/>
                    <a:gd name="connsiteY0" fmla="*/ 14288 h 14287"/>
                    <a:gd name="connsiteX1" fmla="*/ 7144 w 136778"/>
                    <a:gd name="connsiteY1" fmla="*/ 14288 h 14287"/>
                    <a:gd name="connsiteX2" fmla="*/ 0 w 136778"/>
                    <a:gd name="connsiteY2" fmla="*/ 7144 h 14287"/>
                    <a:gd name="connsiteX3" fmla="*/ 7144 w 136778"/>
                    <a:gd name="connsiteY3" fmla="*/ 0 h 14287"/>
                    <a:gd name="connsiteX4" fmla="*/ 129635 w 136778"/>
                    <a:gd name="connsiteY4" fmla="*/ 0 h 14287"/>
                    <a:gd name="connsiteX5" fmla="*/ 136779 w 136778"/>
                    <a:gd name="connsiteY5" fmla="*/ 7144 h 14287"/>
                    <a:gd name="connsiteX6" fmla="*/ 129635 w 136778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6778" h="14287">
                      <a:moveTo>
                        <a:pt x="129635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29635" y="0"/>
                      </a:lnTo>
                      <a:cubicBezTo>
                        <a:pt x="133541" y="0"/>
                        <a:pt x="136779" y="3239"/>
                        <a:pt x="136779" y="7144"/>
                      </a:cubicBezTo>
                      <a:cubicBezTo>
                        <a:pt x="136779" y="11049"/>
                        <a:pt x="133636" y="14288"/>
                        <a:pt x="129635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4" name="Grafik 25">
                  <a:extLst>
                    <a:ext uri="{FF2B5EF4-FFF2-40B4-BE49-F238E27FC236}">
                      <a16:creationId xmlns:a16="http://schemas.microsoft.com/office/drawing/2014/main" id="{CED57E4E-46D5-0B27-1C05-C1C3FED55990}"/>
                    </a:ext>
                  </a:extLst>
                </p:cNvPr>
                <p:cNvSpPr/>
                <p:nvPr/>
              </p:nvSpPr>
              <p:spPr bwMode="gray">
                <a:xfrm>
                  <a:off x="6066305" y="3522273"/>
                  <a:ext cx="33385" cy="33408"/>
                </a:xfrm>
                <a:custGeom>
                  <a:avLst/>
                  <a:gdLst>
                    <a:gd name="connsiteX0" fmla="*/ 26265 w 33385"/>
                    <a:gd name="connsiteY0" fmla="*/ 33409 h 33408"/>
                    <a:gd name="connsiteX1" fmla="*/ 21217 w 33385"/>
                    <a:gd name="connsiteY1" fmla="*/ 31313 h 33408"/>
                    <a:gd name="connsiteX2" fmla="*/ 2072 w 33385"/>
                    <a:gd name="connsiteY2" fmla="*/ 12168 h 33408"/>
                    <a:gd name="connsiteX3" fmla="*/ 2072 w 33385"/>
                    <a:gd name="connsiteY3" fmla="*/ 2072 h 33408"/>
                    <a:gd name="connsiteX4" fmla="*/ 12168 w 33385"/>
                    <a:gd name="connsiteY4" fmla="*/ 2072 h 33408"/>
                    <a:gd name="connsiteX5" fmla="*/ 31313 w 33385"/>
                    <a:gd name="connsiteY5" fmla="*/ 21217 h 33408"/>
                    <a:gd name="connsiteX6" fmla="*/ 31313 w 33385"/>
                    <a:gd name="connsiteY6" fmla="*/ 31313 h 33408"/>
                    <a:gd name="connsiteX7" fmla="*/ 26265 w 33385"/>
                    <a:gd name="connsiteY7" fmla="*/ 33409 h 33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385" h="33408">
                      <a:moveTo>
                        <a:pt x="26265" y="33409"/>
                      </a:moveTo>
                      <a:cubicBezTo>
                        <a:pt x="24455" y="33409"/>
                        <a:pt x="22646" y="32742"/>
                        <a:pt x="21217" y="31313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1313" y="21217"/>
                      </a:lnTo>
                      <a:cubicBezTo>
                        <a:pt x="34076" y="23979"/>
                        <a:pt x="34076" y="28551"/>
                        <a:pt x="31313" y="31313"/>
                      </a:cubicBezTo>
                      <a:cubicBezTo>
                        <a:pt x="29980" y="32647"/>
                        <a:pt x="28075" y="33409"/>
                        <a:pt x="26265" y="334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5" name="Grafik 25">
                  <a:extLst>
                    <a:ext uri="{FF2B5EF4-FFF2-40B4-BE49-F238E27FC236}">
                      <a16:creationId xmlns:a16="http://schemas.microsoft.com/office/drawing/2014/main" id="{5BD7FF63-4BDE-E5A7-3715-D5C3EE9412FF}"/>
                    </a:ext>
                  </a:extLst>
                </p:cNvPr>
                <p:cNvSpPr/>
                <p:nvPr/>
              </p:nvSpPr>
              <p:spPr bwMode="gray">
                <a:xfrm>
                  <a:off x="6066305" y="3541132"/>
                  <a:ext cx="33385" cy="33408"/>
                </a:xfrm>
                <a:custGeom>
                  <a:avLst/>
                  <a:gdLst>
                    <a:gd name="connsiteX0" fmla="*/ 7120 w 33385"/>
                    <a:gd name="connsiteY0" fmla="*/ 33409 h 33408"/>
                    <a:gd name="connsiteX1" fmla="*/ 2072 w 33385"/>
                    <a:gd name="connsiteY1" fmla="*/ 31313 h 33408"/>
                    <a:gd name="connsiteX2" fmla="*/ 2072 w 33385"/>
                    <a:gd name="connsiteY2" fmla="*/ 21217 h 33408"/>
                    <a:gd name="connsiteX3" fmla="*/ 21217 w 33385"/>
                    <a:gd name="connsiteY3" fmla="*/ 2072 h 33408"/>
                    <a:gd name="connsiteX4" fmla="*/ 31313 w 33385"/>
                    <a:gd name="connsiteY4" fmla="*/ 2072 h 33408"/>
                    <a:gd name="connsiteX5" fmla="*/ 31313 w 33385"/>
                    <a:gd name="connsiteY5" fmla="*/ 12168 h 33408"/>
                    <a:gd name="connsiteX6" fmla="*/ 12168 w 33385"/>
                    <a:gd name="connsiteY6" fmla="*/ 31313 h 33408"/>
                    <a:gd name="connsiteX7" fmla="*/ 7120 w 33385"/>
                    <a:gd name="connsiteY7" fmla="*/ 33409 h 33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385" h="33408">
                      <a:moveTo>
                        <a:pt x="7120" y="33409"/>
                      </a:moveTo>
                      <a:cubicBezTo>
                        <a:pt x="5310" y="33409"/>
                        <a:pt x="3500" y="32742"/>
                        <a:pt x="2072" y="31313"/>
                      </a:cubicBezTo>
                      <a:cubicBezTo>
                        <a:pt x="-691" y="28551"/>
                        <a:pt x="-691" y="23979"/>
                        <a:pt x="2072" y="21217"/>
                      </a:cubicBezTo>
                      <a:lnTo>
                        <a:pt x="21217" y="2072"/>
                      </a:lnTo>
                      <a:cubicBezTo>
                        <a:pt x="23979" y="-691"/>
                        <a:pt x="28551" y="-691"/>
                        <a:pt x="31313" y="2072"/>
                      </a:cubicBezTo>
                      <a:cubicBezTo>
                        <a:pt x="34076" y="4834"/>
                        <a:pt x="34076" y="9406"/>
                        <a:pt x="31313" y="12168"/>
                      </a:cubicBezTo>
                      <a:lnTo>
                        <a:pt x="12168" y="31313"/>
                      </a:lnTo>
                      <a:cubicBezTo>
                        <a:pt x="10835" y="32647"/>
                        <a:pt x="9025" y="33409"/>
                        <a:pt x="7120" y="334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11" name="Grafik 25">
                <a:extLst>
                  <a:ext uri="{FF2B5EF4-FFF2-40B4-BE49-F238E27FC236}">
                    <a16:creationId xmlns:a16="http://schemas.microsoft.com/office/drawing/2014/main" id="{C765FC4D-A5E0-5133-972A-C69807924931}"/>
                  </a:ext>
                </a:extLst>
              </p:cNvPr>
              <p:cNvGrpSpPr/>
              <p:nvPr/>
            </p:nvGrpSpPr>
            <p:grpSpPr bwMode="gray">
              <a:xfrm>
                <a:off x="6111004" y="3467150"/>
                <a:ext cx="116886" cy="64718"/>
                <a:chOff x="6111004" y="3467150"/>
                <a:chExt cx="116886" cy="64718"/>
              </a:xfrm>
              <a:grpFill/>
            </p:grpSpPr>
            <p:sp>
              <p:nvSpPr>
                <p:cNvPr id="420" name="Grafik 25">
                  <a:extLst>
                    <a:ext uri="{FF2B5EF4-FFF2-40B4-BE49-F238E27FC236}">
                      <a16:creationId xmlns:a16="http://schemas.microsoft.com/office/drawing/2014/main" id="{60FBC897-242B-329A-BD70-3E883C04FCEC}"/>
                    </a:ext>
                  </a:extLst>
                </p:cNvPr>
                <p:cNvSpPr/>
                <p:nvPr/>
              </p:nvSpPr>
              <p:spPr bwMode="gray">
                <a:xfrm>
                  <a:off x="6111004" y="3483914"/>
                  <a:ext cx="106292" cy="47954"/>
                </a:xfrm>
                <a:custGeom>
                  <a:avLst/>
                  <a:gdLst>
                    <a:gd name="connsiteX0" fmla="*/ 7093 w 106292"/>
                    <a:gd name="connsiteY0" fmla="*/ 47955 h 47954"/>
                    <a:gd name="connsiteX1" fmla="*/ 425 w 106292"/>
                    <a:gd name="connsiteY1" fmla="*/ 43288 h 47954"/>
                    <a:gd name="connsiteX2" fmla="*/ 4711 w 106292"/>
                    <a:gd name="connsiteY2" fmla="*/ 34144 h 47954"/>
                    <a:gd name="connsiteX3" fmla="*/ 96723 w 106292"/>
                    <a:gd name="connsiteY3" fmla="*/ 425 h 47954"/>
                    <a:gd name="connsiteX4" fmla="*/ 105867 w 106292"/>
                    <a:gd name="connsiteY4" fmla="*/ 4711 h 47954"/>
                    <a:gd name="connsiteX5" fmla="*/ 101581 w 106292"/>
                    <a:gd name="connsiteY5" fmla="*/ 13855 h 47954"/>
                    <a:gd name="connsiteX6" fmla="*/ 9569 w 106292"/>
                    <a:gd name="connsiteY6" fmla="*/ 47574 h 47954"/>
                    <a:gd name="connsiteX7" fmla="*/ 7093 w 106292"/>
                    <a:gd name="connsiteY7" fmla="*/ 47955 h 479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6292" h="47954">
                      <a:moveTo>
                        <a:pt x="7093" y="47955"/>
                      </a:moveTo>
                      <a:cubicBezTo>
                        <a:pt x="4140" y="47955"/>
                        <a:pt x="1473" y="46145"/>
                        <a:pt x="425" y="43288"/>
                      </a:cubicBezTo>
                      <a:cubicBezTo>
                        <a:pt x="-908" y="39573"/>
                        <a:pt x="997" y="35477"/>
                        <a:pt x="4711" y="34144"/>
                      </a:cubicBezTo>
                      <a:lnTo>
                        <a:pt x="96723" y="425"/>
                      </a:lnTo>
                      <a:cubicBezTo>
                        <a:pt x="100438" y="-908"/>
                        <a:pt x="104533" y="997"/>
                        <a:pt x="105867" y="4711"/>
                      </a:cubicBezTo>
                      <a:cubicBezTo>
                        <a:pt x="107200" y="8426"/>
                        <a:pt x="105295" y="12522"/>
                        <a:pt x="101581" y="13855"/>
                      </a:cubicBezTo>
                      <a:lnTo>
                        <a:pt x="9569" y="47574"/>
                      </a:lnTo>
                      <a:cubicBezTo>
                        <a:pt x="8807" y="47860"/>
                        <a:pt x="7950" y="47955"/>
                        <a:pt x="7093" y="4795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1" name="Grafik 25">
                  <a:extLst>
                    <a:ext uri="{FF2B5EF4-FFF2-40B4-BE49-F238E27FC236}">
                      <a16:creationId xmlns:a16="http://schemas.microsoft.com/office/drawing/2014/main" id="{7C63ACF9-E447-369A-1D7A-A34DD9B4A997}"/>
                    </a:ext>
                  </a:extLst>
                </p:cNvPr>
                <p:cNvSpPr/>
                <p:nvPr/>
              </p:nvSpPr>
              <p:spPr bwMode="gray">
                <a:xfrm>
                  <a:off x="6188157" y="3467150"/>
                  <a:ext cx="39711" cy="27475"/>
                </a:xfrm>
                <a:custGeom>
                  <a:avLst/>
                  <a:gdLst>
                    <a:gd name="connsiteX0" fmla="*/ 32619 w 39711"/>
                    <a:gd name="connsiteY0" fmla="*/ 27476 h 27475"/>
                    <a:gd name="connsiteX1" fmla="*/ 29286 w 39711"/>
                    <a:gd name="connsiteY1" fmla="*/ 26714 h 27475"/>
                    <a:gd name="connsiteX2" fmla="*/ 3854 w 39711"/>
                    <a:gd name="connsiteY2" fmla="*/ 13474 h 27475"/>
                    <a:gd name="connsiteX3" fmla="*/ 806 w 39711"/>
                    <a:gd name="connsiteY3" fmla="*/ 3854 h 27475"/>
                    <a:gd name="connsiteX4" fmla="*/ 10426 w 39711"/>
                    <a:gd name="connsiteY4" fmla="*/ 806 h 27475"/>
                    <a:gd name="connsiteX5" fmla="*/ 35858 w 39711"/>
                    <a:gd name="connsiteY5" fmla="*/ 14046 h 27475"/>
                    <a:gd name="connsiteX6" fmla="*/ 38906 w 39711"/>
                    <a:gd name="connsiteY6" fmla="*/ 23666 h 27475"/>
                    <a:gd name="connsiteX7" fmla="*/ 32619 w 39711"/>
                    <a:gd name="connsiteY7" fmla="*/ 27476 h 274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711" h="27475">
                      <a:moveTo>
                        <a:pt x="32619" y="27476"/>
                      </a:moveTo>
                      <a:cubicBezTo>
                        <a:pt x="31476" y="27476"/>
                        <a:pt x="30429" y="27190"/>
                        <a:pt x="29286" y="26714"/>
                      </a:cubicBezTo>
                      <a:lnTo>
                        <a:pt x="3854" y="13474"/>
                      </a:lnTo>
                      <a:cubicBezTo>
                        <a:pt x="330" y="11664"/>
                        <a:pt x="-1004" y="7378"/>
                        <a:pt x="806" y="3854"/>
                      </a:cubicBezTo>
                      <a:cubicBezTo>
                        <a:pt x="2616" y="330"/>
                        <a:pt x="6902" y="-1004"/>
                        <a:pt x="10426" y="806"/>
                      </a:cubicBezTo>
                      <a:lnTo>
                        <a:pt x="35858" y="14046"/>
                      </a:lnTo>
                      <a:cubicBezTo>
                        <a:pt x="39382" y="15855"/>
                        <a:pt x="40716" y="20142"/>
                        <a:pt x="38906" y="23666"/>
                      </a:cubicBezTo>
                      <a:cubicBezTo>
                        <a:pt x="37763" y="26047"/>
                        <a:pt x="35286" y="27476"/>
                        <a:pt x="32619" y="2747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2" name="Grafik 25">
                  <a:extLst>
                    <a:ext uri="{FF2B5EF4-FFF2-40B4-BE49-F238E27FC236}">
                      <a16:creationId xmlns:a16="http://schemas.microsoft.com/office/drawing/2014/main" id="{99191DE0-0F27-1DC1-E072-E67F3F412698}"/>
                    </a:ext>
                  </a:extLst>
                </p:cNvPr>
                <p:cNvSpPr/>
                <p:nvPr/>
              </p:nvSpPr>
              <p:spPr bwMode="gray">
                <a:xfrm>
                  <a:off x="6202708" y="3479987"/>
                  <a:ext cx="25182" cy="40833"/>
                </a:xfrm>
                <a:custGeom>
                  <a:avLst/>
                  <a:gdLst>
                    <a:gd name="connsiteX0" fmla="*/ 7115 w 25182"/>
                    <a:gd name="connsiteY0" fmla="*/ 40833 h 40833"/>
                    <a:gd name="connsiteX1" fmla="*/ 4448 w 25182"/>
                    <a:gd name="connsiteY1" fmla="*/ 40262 h 40833"/>
                    <a:gd name="connsiteX2" fmla="*/ 542 w 25182"/>
                    <a:gd name="connsiteY2" fmla="*/ 30927 h 40833"/>
                    <a:gd name="connsiteX3" fmla="*/ 11401 w 25182"/>
                    <a:gd name="connsiteY3" fmla="*/ 4448 h 40833"/>
                    <a:gd name="connsiteX4" fmla="*/ 20735 w 25182"/>
                    <a:gd name="connsiteY4" fmla="*/ 542 h 40833"/>
                    <a:gd name="connsiteX5" fmla="*/ 24641 w 25182"/>
                    <a:gd name="connsiteY5" fmla="*/ 9877 h 40833"/>
                    <a:gd name="connsiteX6" fmla="*/ 13782 w 25182"/>
                    <a:gd name="connsiteY6" fmla="*/ 36356 h 40833"/>
                    <a:gd name="connsiteX7" fmla="*/ 7115 w 25182"/>
                    <a:gd name="connsiteY7" fmla="*/ 40833 h 408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182" h="40833">
                      <a:moveTo>
                        <a:pt x="7115" y="40833"/>
                      </a:moveTo>
                      <a:cubicBezTo>
                        <a:pt x="6257" y="40833"/>
                        <a:pt x="5305" y="40643"/>
                        <a:pt x="4448" y="40262"/>
                      </a:cubicBezTo>
                      <a:cubicBezTo>
                        <a:pt x="828" y="38738"/>
                        <a:pt x="-982" y="34547"/>
                        <a:pt x="542" y="30927"/>
                      </a:cubicBezTo>
                      <a:lnTo>
                        <a:pt x="11401" y="4448"/>
                      </a:lnTo>
                      <a:cubicBezTo>
                        <a:pt x="12925" y="828"/>
                        <a:pt x="17021" y="-982"/>
                        <a:pt x="20735" y="542"/>
                      </a:cubicBezTo>
                      <a:cubicBezTo>
                        <a:pt x="24355" y="2066"/>
                        <a:pt x="26165" y="6257"/>
                        <a:pt x="24641" y="9877"/>
                      </a:cubicBezTo>
                      <a:lnTo>
                        <a:pt x="13782" y="36356"/>
                      </a:lnTo>
                      <a:cubicBezTo>
                        <a:pt x="12639" y="39119"/>
                        <a:pt x="9972" y="40833"/>
                        <a:pt x="7115" y="4083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12" name="Grafik 25">
                <a:extLst>
                  <a:ext uri="{FF2B5EF4-FFF2-40B4-BE49-F238E27FC236}">
                    <a16:creationId xmlns:a16="http://schemas.microsoft.com/office/drawing/2014/main" id="{2898F7B2-AEF5-D975-6BE0-9EA35E8CB079}"/>
                  </a:ext>
                </a:extLst>
              </p:cNvPr>
              <p:cNvGrpSpPr/>
              <p:nvPr/>
            </p:nvGrpSpPr>
            <p:grpSpPr bwMode="gray">
              <a:xfrm>
                <a:off x="6110909" y="3564496"/>
                <a:ext cx="117055" cy="64909"/>
                <a:chOff x="6110909" y="3564496"/>
                <a:chExt cx="117055" cy="64909"/>
              </a:xfrm>
              <a:grpFill/>
            </p:grpSpPr>
            <p:sp>
              <p:nvSpPr>
                <p:cNvPr id="417" name="Grafik 25">
                  <a:extLst>
                    <a:ext uri="{FF2B5EF4-FFF2-40B4-BE49-F238E27FC236}">
                      <a16:creationId xmlns:a16="http://schemas.microsoft.com/office/drawing/2014/main" id="{FABA4CB8-EDA3-0E85-9A67-7E4CE00E7CA4}"/>
                    </a:ext>
                  </a:extLst>
                </p:cNvPr>
                <p:cNvSpPr/>
                <p:nvPr/>
              </p:nvSpPr>
              <p:spPr bwMode="gray">
                <a:xfrm>
                  <a:off x="6110909" y="3564496"/>
                  <a:ext cx="106292" cy="48050"/>
                </a:xfrm>
                <a:custGeom>
                  <a:avLst/>
                  <a:gdLst>
                    <a:gd name="connsiteX0" fmla="*/ 99199 w 106292"/>
                    <a:gd name="connsiteY0" fmla="*/ 48050 h 48050"/>
                    <a:gd name="connsiteX1" fmla="*/ 96723 w 106292"/>
                    <a:gd name="connsiteY1" fmla="*/ 47574 h 48050"/>
                    <a:gd name="connsiteX2" fmla="*/ 4711 w 106292"/>
                    <a:gd name="connsiteY2" fmla="*/ 13855 h 48050"/>
                    <a:gd name="connsiteX3" fmla="*/ 425 w 106292"/>
                    <a:gd name="connsiteY3" fmla="*/ 4711 h 48050"/>
                    <a:gd name="connsiteX4" fmla="*/ 9569 w 106292"/>
                    <a:gd name="connsiteY4" fmla="*/ 425 h 48050"/>
                    <a:gd name="connsiteX5" fmla="*/ 101581 w 106292"/>
                    <a:gd name="connsiteY5" fmla="*/ 34144 h 48050"/>
                    <a:gd name="connsiteX6" fmla="*/ 105867 w 106292"/>
                    <a:gd name="connsiteY6" fmla="*/ 43288 h 48050"/>
                    <a:gd name="connsiteX7" fmla="*/ 99199 w 106292"/>
                    <a:gd name="connsiteY7" fmla="*/ 48050 h 480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6292" h="48050">
                      <a:moveTo>
                        <a:pt x="99199" y="48050"/>
                      </a:moveTo>
                      <a:cubicBezTo>
                        <a:pt x="98342" y="48050"/>
                        <a:pt x="97580" y="47955"/>
                        <a:pt x="96723" y="47574"/>
                      </a:cubicBezTo>
                      <a:lnTo>
                        <a:pt x="4711" y="13855"/>
                      </a:lnTo>
                      <a:cubicBezTo>
                        <a:pt x="997" y="12522"/>
                        <a:pt x="-908" y="8426"/>
                        <a:pt x="425" y="4711"/>
                      </a:cubicBezTo>
                      <a:cubicBezTo>
                        <a:pt x="1759" y="997"/>
                        <a:pt x="5854" y="-908"/>
                        <a:pt x="9569" y="425"/>
                      </a:cubicBezTo>
                      <a:lnTo>
                        <a:pt x="101581" y="34144"/>
                      </a:lnTo>
                      <a:cubicBezTo>
                        <a:pt x="105295" y="35477"/>
                        <a:pt x="107200" y="39573"/>
                        <a:pt x="105867" y="43288"/>
                      </a:cubicBezTo>
                      <a:cubicBezTo>
                        <a:pt x="104914" y="46240"/>
                        <a:pt x="102152" y="48050"/>
                        <a:pt x="99199" y="480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18" name="Grafik 25">
                  <a:extLst>
                    <a:ext uri="{FF2B5EF4-FFF2-40B4-BE49-F238E27FC236}">
                      <a16:creationId xmlns:a16="http://schemas.microsoft.com/office/drawing/2014/main" id="{69CDDC40-5C4D-6F1F-85C2-160281B491D8}"/>
                    </a:ext>
                  </a:extLst>
                </p:cNvPr>
                <p:cNvSpPr/>
                <p:nvPr/>
              </p:nvSpPr>
              <p:spPr bwMode="gray">
                <a:xfrm>
                  <a:off x="6188252" y="3601929"/>
                  <a:ext cx="39711" cy="27475"/>
                </a:xfrm>
                <a:custGeom>
                  <a:avLst/>
                  <a:gdLst>
                    <a:gd name="connsiteX0" fmla="*/ 7188 w 39711"/>
                    <a:gd name="connsiteY0" fmla="*/ 27476 h 27475"/>
                    <a:gd name="connsiteX1" fmla="*/ 806 w 39711"/>
                    <a:gd name="connsiteY1" fmla="*/ 23666 h 27475"/>
                    <a:gd name="connsiteX2" fmla="*/ 3854 w 39711"/>
                    <a:gd name="connsiteY2" fmla="*/ 14046 h 27475"/>
                    <a:gd name="connsiteX3" fmla="*/ 29286 w 39711"/>
                    <a:gd name="connsiteY3" fmla="*/ 806 h 27475"/>
                    <a:gd name="connsiteX4" fmla="*/ 38906 w 39711"/>
                    <a:gd name="connsiteY4" fmla="*/ 3854 h 27475"/>
                    <a:gd name="connsiteX5" fmla="*/ 35858 w 39711"/>
                    <a:gd name="connsiteY5" fmla="*/ 13474 h 27475"/>
                    <a:gd name="connsiteX6" fmla="*/ 10426 w 39711"/>
                    <a:gd name="connsiteY6" fmla="*/ 26714 h 27475"/>
                    <a:gd name="connsiteX7" fmla="*/ 7188 w 39711"/>
                    <a:gd name="connsiteY7" fmla="*/ 27476 h 274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711" h="27475">
                      <a:moveTo>
                        <a:pt x="7188" y="27476"/>
                      </a:moveTo>
                      <a:cubicBezTo>
                        <a:pt x="4616" y="27476"/>
                        <a:pt x="2139" y="26047"/>
                        <a:pt x="806" y="23666"/>
                      </a:cubicBezTo>
                      <a:cubicBezTo>
                        <a:pt x="-1004" y="20142"/>
                        <a:pt x="330" y="15855"/>
                        <a:pt x="3854" y="14046"/>
                      </a:cubicBezTo>
                      <a:lnTo>
                        <a:pt x="29286" y="806"/>
                      </a:lnTo>
                      <a:cubicBezTo>
                        <a:pt x="32810" y="-1004"/>
                        <a:pt x="37096" y="330"/>
                        <a:pt x="38906" y="3854"/>
                      </a:cubicBezTo>
                      <a:cubicBezTo>
                        <a:pt x="40716" y="7378"/>
                        <a:pt x="39382" y="11664"/>
                        <a:pt x="35858" y="13474"/>
                      </a:cubicBezTo>
                      <a:lnTo>
                        <a:pt x="10426" y="26714"/>
                      </a:lnTo>
                      <a:cubicBezTo>
                        <a:pt x="9378" y="27190"/>
                        <a:pt x="8235" y="27476"/>
                        <a:pt x="7188" y="2747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19" name="Grafik 25">
                  <a:extLst>
                    <a:ext uri="{FF2B5EF4-FFF2-40B4-BE49-F238E27FC236}">
                      <a16:creationId xmlns:a16="http://schemas.microsoft.com/office/drawing/2014/main" id="{7AFEC46E-D978-01D2-24C1-7B68C421C038}"/>
                    </a:ext>
                  </a:extLst>
                </p:cNvPr>
                <p:cNvSpPr/>
                <p:nvPr/>
              </p:nvSpPr>
              <p:spPr bwMode="gray">
                <a:xfrm>
                  <a:off x="6202708" y="3575618"/>
                  <a:ext cx="25182" cy="40833"/>
                </a:xfrm>
                <a:custGeom>
                  <a:avLst/>
                  <a:gdLst>
                    <a:gd name="connsiteX0" fmla="*/ 17973 w 25182"/>
                    <a:gd name="connsiteY0" fmla="*/ 40833 h 40833"/>
                    <a:gd name="connsiteX1" fmla="*/ 11401 w 25182"/>
                    <a:gd name="connsiteY1" fmla="*/ 36356 h 40833"/>
                    <a:gd name="connsiteX2" fmla="*/ 542 w 25182"/>
                    <a:gd name="connsiteY2" fmla="*/ 9877 h 40833"/>
                    <a:gd name="connsiteX3" fmla="*/ 4448 w 25182"/>
                    <a:gd name="connsiteY3" fmla="*/ 542 h 40833"/>
                    <a:gd name="connsiteX4" fmla="*/ 13782 w 25182"/>
                    <a:gd name="connsiteY4" fmla="*/ 4448 h 40833"/>
                    <a:gd name="connsiteX5" fmla="*/ 24641 w 25182"/>
                    <a:gd name="connsiteY5" fmla="*/ 30927 h 40833"/>
                    <a:gd name="connsiteX6" fmla="*/ 20735 w 25182"/>
                    <a:gd name="connsiteY6" fmla="*/ 40262 h 40833"/>
                    <a:gd name="connsiteX7" fmla="*/ 17973 w 25182"/>
                    <a:gd name="connsiteY7" fmla="*/ 40833 h 408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182" h="40833">
                      <a:moveTo>
                        <a:pt x="17973" y="40833"/>
                      </a:moveTo>
                      <a:cubicBezTo>
                        <a:pt x="15116" y="40833"/>
                        <a:pt x="12449" y="39119"/>
                        <a:pt x="11401" y="36356"/>
                      </a:cubicBezTo>
                      <a:lnTo>
                        <a:pt x="542" y="9877"/>
                      </a:lnTo>
                      <a:cubicBezTo>
                        <a:pt x="-982" y="6257"/>
                        <a:pt x="828" y="2066"/>
                        <a:pt x="4448" y="542"/>
                      </a:cubicBezTo>
                      <a:cubicBezTo>
                        <a:pt x="8162" y="-982"/>
                        <a:pt x="12258" y="828"/>
                        <a:pt x="13782" y="4448"/>
                      </a:cubicBezTo>
                      <a:lnTo>
                        <a:pt x="24641" y="30927"/>
                      </a:lnTo>
                      <a:cubicBezTo>
                        <a:pt x="26165" y="34547"/>
                        <a:pt x="24355" y="38738"/>
                        <a:pt x="20735" y="40262"/>
                      </a:cubicBezTo>
                      <a:cubicBezTo>
                        <a:pt x="19878" y="40643"/>
                        <a:pt x="18926" y="40833"/>
                        <a:pt x="17973" y="4083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13" name="Grafik 25">
                <a:extLst>
                  <a:ext uri="{FF2B5EF4-FFF2-40B4-BE49-F238E27FC236}">
                    <a16:creationId xmlns:a16="http://schemas.microsoft.com/office/drawing/2014/main" id="{E565003D-7031-58FF-22B7-E4EDAFD5CDBE}"/>
                  </a:ext>
                </a:extLst>
              </p:cNvPr>
              <p:cNvGrpSpPr/>
              <p:nvPr/>
            </p:nvGrpSpPr>
            <p:grpSpPr bwMode="gray">
              <a:xfrm>
                <a:off x="6110953" y="3522082"/>
                <a:ext cx="115228" cy="52268"/>
                <a:chOff x="6110953" y="3522082"/>
                <a:chExt cx="115228" cy="52268"/>
              </a:xfrm>
              <a:grpFill/>
            </p:grpSpPr>
            <p:sp>
              <p:nvSpPr>
                <p:cNvPr id="414" name="Grafik 25">
                  <a:extLst>
                    <a:ext uri="{FF2B5EF4-FFF2-40B4-BE49-F238E27FC236}">
                      <a16:creationId xmlns:a16="http://schemas.microsoft.com/office/drawing/2014/main" id="{B47EE239-FD2B-C563-CD4E-BF3A15794F71}"/>
                    </a:ext>
                  </a:extLst>
                </p:cNvPr>
                <p:cNvSpPr/>
                <p:nvPr/>
              </p:nvSpPr>
              <p:spPr bwMode="gray">
                <a:xfrm>
                  <a:off x="6110953" y="3540918"/>
                  <a:ext cx="104108" cy="14287"/>
                </a:xfrm>
                <a:custGeom>
                  <a:avLst/>
                  <a:gdLst>
                    <a:gd name="connsiteX0" fmla="*/ 96965 w 104108"/>
                    <a:gd name="connsiteY0" fmla="*/ 14288 h 14287"/>
                    <a:gd name="connsiteX1" fmla="*/ 7144 w 104108"/>
                    <a:gd name="connsiteY1" fmla="*/ 14288 h 14287"/>
                    <a:gd name="connsiteX2" fmla="*/ 0 w 104108"/>
                    <a:gd name="connsiteY2" fmla="*/ 7144 h 14287"/>
                    <a:gd name="connsiteX3" fmla="*/ 7144 w 104108"/>
                    <a:gd name="connsiteY3" fmla="*/ 0 h 14287"/>
                    <a:gd name="connsiteX4" fmla="*/ 96965 w 104108"/>
                    <a:gd name="connsiteY4" fmla="*/ 0 h 14287"/>
                    <a:gd name="connsiteX5" fmla="*/ 104108 w 104108"/>
                    <a:gd name="connsiteY5" fmla="*/ 7144 h 14287"/>
                    <a:gd name="connsiteX6" fmla="*/ 96965 w 104108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4108" h="14287">
                      <a:moveTo>
                        <a:pt x="96965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96965" y="0"/>
                      </a:lnTo>
                      <a:cubicBezTo>
                        <a:pt x="100870" y="0"/>
                        <a:pt x="104108" y="3239"/>
                        <a:pt x="104108" y="7144"/>
                      </a:cubicBezTo>
                      <a:cubicBezTo>
                        <a:pt x="104108" y="11049"/>
                        <a:pt x="100870" y="14288"/>
                        <a:pt x="96965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15" name="Grafik 25">
                  <a:extLst>
                    <a:ext uri="{FF2B5EF4-FFF2-40B4-BE49-F238E27FC236}">
                      <a16:creationId xmlns:a16="http://schemas.microsoft.com/office/drawing/2014/main" id="{DEFF0317-BA58-E5CE-AAA0-602A9F45CF24}"/>
                    </a:ext>
                  </a:extLst>
                </p:cNvPr>
                <p:cNvSpPr/>
                <p:nvPr/>
              </p:nvSpPr>
              <p:spPr bwMode="gray">
                <a:xfrm>
                  <a:off x="6192797" y="3522082"/>
                  <a:ext cx="33385" cy="33408"/>
                </a:xfrm>
                <a:custGeom>
                  <a:avLst/>
                  <a:gdLst>
                    <a:gd name="connsiteX0" fmla="*/ 26265 w 33385"/>
                    <a:gd name="connsiteY0" fmla="*/ 33409 h 33408"/>
                    <a:gd name="connsiteX1" fmla="*/ 21217 w 33385"/>
                    <a:gd name="connsiteY1" fmla="*/ 31313 h 33408"/>
                    <a:gd name="connsiteX2" fmla="*/ 2072 w 33385"/>
                    <a:gd name="connsiteY2" fmla="*/ 12168 h 33408"/>
                    <a:gd name="connsiteX3" fmla="*/ 2072 w 33385"/>
                    <a:gd name="connsiteY3" fmla="*/ 2072 h 33408"/>
                    <a:gd name="connsiteX4" fmla="*/ 12168 w 33385"/>
                    <a:gd name="connsiteY4" fmla="*/ 2072 h 33408"/>
                    <a:gd name="connsiteX5" fmla="*/ 31313 w 33385"/>
                    <a:gd name="connsiteY5" fmla="*/ 21217 h 33408"/>
                    <a:gd name="connsiteX6" fmla="*/ 31313 w 33385"/>
                    <a:gd name="connsiteY6" fmla="*/ 31313 h 33408"/>
                    <a:gd name="connsiteX7" fmla="*/ 26265 w 33385"/>
                    <a:gd name="connsiteY7" fmla="*/ 33409 h 33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385" h="33408">
                      <a:moveTo>
                        <a:pt x="26265" y="33409"/>
                      </a:moveTo>
                      <a:cubicBezTo>
                        <a:pt x="24455" y="33409"/>
                        <a:pt x="22646" y="32742"/>
                        <a:pt x="21217" y="31313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1313" y="21217"/>
                      </a:lnTo>
                      <a:cubicBezTo>
                        <a:pt x="34076" y="23979"/>
                        <a:pt x="34076" y="28551"/>
                        <a:pt x="31313" y="31313"/>
                      </a:cubicBezTo>
                      <a:cubicBezTo>
                        <a:pt x="29885" y="32742"/>
                        <a:pt x="28075" y="33409"/>
                        <a:pt x="26265" y="334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16" name="Grafik 25">
                  <a:extLst>
                    <a:ext uri="{FF2B5EF4-FFF2-40B4-BE49-F238E27FC236}">
                      <a16:creationId xmlns:a16="http://schemas.microsoft.com/office/drawing/2014/main" id="{DA4D0C3E-BCE3-B2B4-247B-0072FD11310E}"/>
                    </a:ext>
                  </a:extLst>
                </p:cNvPr>
                <p:cNvSpPr/>
                <p:nvPr/>
              </p:nvSpPr>
              <p:spPr bwMode="gray">
                <a:xfrm>
                  <a:off x="6192797" y="3540942"/>
                  <a:ext cx="33385" cy="33408"/>
                </a:xfrm>
                <a:custGeom>
                  <a:avLst/>
                  <a:gdLst>
                    <a:gd name="connsiteX0" fmla="*/ 7120 w 33385"/>
                    <a:gd name="connsiteY0" fmla="*/ 33409 h 33408"/>
                    <a:gd name="connsiteX1" fmla="*/ 2072 w 33385"/>
                    <a:gd name="connsiteY1" fmla="*/ 31313 h 33408"/>
                    <a:gd name="connsiteX2" fmla="*/ 2072 w 33385"/>
                    <a:gd name="connsiteY2" fmla="*/ 21217 h 33408"/>
                    <a:gd name="connsiteX3" fmla="*/ 21217 w 33385"/>
                    <a:gd name="connsiteY3" fmla="*/ 2072 h 33408"/>
                    <a:gd name="connsiteX4" fmla="*/ 31313 w 33385"/>
                    <a:gd name="connsiteY4" fmla="*/ 2072 h 33408"/>
                    <a:gd name="connsiteX5" fmla="*/ 31313 w 33385"/>
                    <a:gd name="connsiteY5" fmla="*/ 12168 h 33408"/>
                    <a:gd name="connsiteX6" fmla="*/ 12168 w 33385"/>
                    <a:gd name="connsiteY6" fmla="*/ 31313 h 33408"/>
                    <a:gd name="connsiteX7" fmla="*/ 7120 w 33385"/>
                    <a:gd name="connsiteY7" fmla="*/ 33409 h 33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385" h="33408">
                      <a:moveTo>
                        <a:pt x="7120" y="33409"/>
                      </a:moveTo>
                      <a:cubicBezTo>
                        <a:pt x="5310" y="33409"/>
                        <a:pt x="3500" y="32742"/>
                        <a:pt x="2072" y="31313"/>
                      </a:cubicBezTo>
                      <a:cubicBezTo>
                        <a:pt x="-691" y="28551"/>
                        <a:pt x="-691" y="23979"/>
                        <a:pt x="2072" y="21217"/>
                      </a:cubicBezTo>
                      <a:lnTo>
                        <a:pt x="21217" y="2072"/>
                      </a:lnTo>
                      <a:cubicBezTo>
                        <a:pt x="23979" y="-691"/>
                        <a:pt x="28551" y="-691"/>
                        <a:pt x="31313" y="2072"/>
                      </a:cubicBezTo>
                      <a:cubicBezTo>
                        <a:pt x="34076" y="4834"/>
                        <a:pt x="34076" y="9406"/>
                        <a:pt x="31313" y="12168"/>
                      </a:cubicBezTo>
                      <a:lnTo>
                        <a:pt x="12168" y="31313"/>
                      </a:lnTo>
                      <a:cubicBezTo>
                        <a:pt x="10739" y="32742"/>
                        <a:pt x="8930" y="33409"/>
                        <a:pt x="7120" y="334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sp>
        <p:nvSpPr>
          <p:cNvPr id="445" name="Rectangle 444">
            <a:extLst>
              <a:ext uri="{FF2B5EF4-FFF2-40B4-BE49-F238E27FC236}">
                <a16:creationId xmlns:a16="http://schemas.microsoft.com/office/drawing/2014/main" id="{297B14E6-CFD5-EAB9-88BC-2634407F139D}"/>
              </a:ext>
            </a:extLst>
          </p:cNvPr>
          <p:cNvSpPr/>
          <p:nvPr/>
        </p:nvSpPr>
        <p:spPr>
          <a:xfrm>
            <a:off x="5130236" y="850740"/>
            <a:ext cx="1975315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IP/MPLS Complementary - Security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446" name="Text Box 55">
            <a:extLst>
              <a:ext uri="{FF2B5EF4-FFF2-40B4-BE49-F238E27FC236}">
                <a16:creationId xmlns:a16="http://schemas.microsoft.com/office/drawing/2014/main" id="{B8DDAE3A-A2CF-D4CC-4BD1-E1F1C43DA5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1366838"/>
            <a:ext cx="98745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Load Balancer</a:t>
            </a:r>
          </a:p>
        </p:txBody>
      </p:sp>
      <p:sp>
        <p:nvSpPr>
          <p:cNvPr id="447" name="Text Box 56">
            <a:extLst>
              <a:ext uri="{FF2B5EF4-FFF2-40B4-BE49-F238E27FC236}">
                <a16:creationId xmlns:a16="http://schemas.microsoft.com/office/drawing/2014/main" id="{3E41A1D6-D47F-6C71-FA4B-ABD3905B46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1912938"/>
            <a:ext cx="98745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Load Balancer</a:t>
            </a:r>
          </a:p>
        </p:txBody>
      </p:sp>
      <p:sp>
        <p:nvSpPr>
          <p:cNvPr id="448" name="Text Box 57">
            <a:extLst>
              <a:ext uri="{FF2B5EF4-FFF2-40B4-BE49-F238E27FC236}">
                <a16:creationId xmlns:a16="http://schemas.microsoft.com/office/drawing/2014/main" id="{68F5C894-F7E5-99AD-D3F6-EE493636B8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2459038"/>
            <a:ext cx="131286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Load Balancer Star</a:t>
            </a:r>
          </a:p>
        </p:txBody>
      </p:sp>
      <p:sp>
        <p:nvSpPr>
          <p:cNvPr id="449" name="Text Box 58">
            <a:extLst>
              <a:ext uri="{FF2B5EF4-FFF2-40B4-BE49-F238E27FC236}">
                <a16:creationId xmlns:a16="http://schemas.microsoft.com/office/drawing/2014/main" id="{49F55978-4305-3999-6AF5-7F56430C70E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3005138"/>
            <a:ext cx="52899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DSLAM</a:t>
            </a:r>
          </a:p>
        </p:txBody>
      </p:sp>
      <p:sp>
        <p:nvSpPr>
          <p:cNvPr id="450" name="Text Box 59">
            <a:extLst>
              <a:ext uri="{FF2B5EF4-FFF2-40B4-BE49-F238E27FC236}">
                <a16:creationId xmlns:a16="http://schemas.microsoft.com/office/drawing/2014/main" id="{9BDF6717-967A-AEDB-0D49-E5AE255A89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3551238"/>
            <a:ext cx="527388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Firewall</a:t>
            </a:r>
          </a:p>
        </p:txBody>
      </p:sp>
      <p:grpSp>
        <p:nvGrpSpPr>
          <p:cNvPr id="451" name="Grafik 2">
            <a:extLst>
              <a:ext uri="{FF2B5EF4-FFF2-40B4-BE49-F238E27FC236}">
                <a16:creationId xmlns:a16="http://schemas.microsoft.com/office/drawing/2014/main" id="{B726AF0F-AC7A-ADB3-5D0D-E7D17A05035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130237" y="133320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452" name="Grafik 2">
              <a:extLst>
                <a:ext uri="{FF2B5EF4-FFF2-40B4-BE49-F238E27FC236}">
                  <a16:creationId xmlns:a16="http://schemas.microsoft.com/office/drawing/2014/main" id="{C9107418-41E8-9B62-A990-4A68019FEF53}"/>
                </a:ext>
              </a:extLst>
            </p:cNvPr>
            <p:cNvGrpSpPr/>
            <p:nvPr/>
          </p:nvGrpSpPr>
          <p:grpSpPr bwMode="gray">
            <a:xfrm>
              <a:off x="5914072" y="3335178"/>
              <a:ext cx="294584" cy="247935"/>
              <a:chOff x="5914072" y="3335178"/>
              <a:chExt cx="294584" cy="247935"/>
            </a:xfrm>
            <a:grpFill/>
          </p:grpSpPr>
          <p:grpSp>
            <p:nvGrpSpPr>
              <p:cNvPr id="458" name="Grafik 2">
                <a:extLst>
                  <a:ext uri="{FF2B5EF4-FFF2-40B4-BE49-F238E27FC236}">
                    <a16:creationId xmlns:a16="http://schemas.microsoft.com/office/drawing/2014/main" id="{63AFE9AB-9523-AA05-35A9-DE76167CFEE1}"/>
                  </a:ext>
                </a:extLst>
              </p:cNvPr>
              <p:cNvGrpSpPr/>
              <p:nvPr/>
            </p:nvGrpSpPr>
            <p:grpSpPr bwMode="gray">
              <a:xfrm>
                <a:off x="6051922" y="3335178"/>
                <a:ext cx="76080" cy="76104"/>
                <a:chOff x="6051922" y="3335178"/>
                <a:chExt cx="76080" cy="76104"/>
              </a:xfrm>
              <a:grpFill/>
            </p:grpSpPr>
            <p:sp>
              <p:nvSpPr>
                <p:cNvPr id="471" name="Grafik 2">
                  <a:extLst>
                    <a:ext uri="{FF2B5EF4-FFF2-40B4-BE49-F238E27FC236}">
                      <a16:creationId xmlns:a16="http://schemas.microsoft.com/office/drawing/2014/main" id="{200B3B5E-FD4D-7BF7-816B-D7B44DC8E10A}"/>
                    </a:ext>
                  </a:extLst>
                </p:cNvPr>
                <p:cNvSpPr/>
                <p:nvPr/>
              </p:nvSpPr>
              <p:spPr bwMode="gray">
                <a:xfrm>
                  <a:off x="6051922" y="3335202"/>
                  <a:ext cx="76057" cy="76080"/>
                </a:xfrm>
                <a:custGeom>
                  <a:avLst/>
                  <a:gdLst>
                    <a:gd name="connsiteX0" fmla="*/ 7120 w 76057"/>
                    <a:gd name="connsiteY0" fmla="*/ 76081 h 76080"/>
                    <a:gd name="connsiteX1" fmla="*/ 2072 w 76057"/>
                    <a:gd name="connsiteY1" fmla="*/ 73985 h 76080"/>
                    <a:gd name="connsiteX2" fmla="*/ 2072 w 76057"/>
                    <a:gd name="connsiteY2" fmla="*/ 63889 h 76080"/>
                    <a:gd name="connsiteX3" fmla="*/ 63889 w 76057"/>
                    <a:gd name="connsiteY3" fmla="*/ 2072 h 76080"/>
                    <a:gd name="connsiteX4" fmla="*/ 73985 w 76057"/>
                    <a:gd name="connsiteY4" fmla="*/ 2072 h 76080"/>
                    <a:gd name="connsiteX5" fmla="*/ 73985 w 76057"/>
                    <a:gd name="connsiteY5" fmla="*/ 12168 h 76080"/>
                    <a:gd name="connsiteX6" fmla="*/ 12168 w 76057"/>
                    <a:gd name="connsiteY6" fmla="*/ 73985 h 76080"/>
                    <a:gd name="connsiteX7" fmla="*/ 7120 w 76057"/>
                    <a:gd name="connsiteY7" fmla="*/ 76081 h 760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6057" h="76080">
                      <a:moveTo>
                        <a:pt x="7120" y="76081"/>
                      </a:moveTo>
                      <a:cubicBezTo>
                        <a:pt x="5310" y="76081"/>
                        <a:pt x="3500" y="75414"/>
                        <a:pt x="2072" y="73985"/>
                      </a:cubicBezTo>
                      <a:cubicBezTo>
                        <a:pt x="-691" y="71223"/>
                        <a:pt x="-691" y="66651"/>
                        <a:pt x="2072" y="63889"/>
                      </a:cubicBezTo>
                      <a:lnTo>
                        <a:pt x="63889" y="2072"/>
                      </a:lnTo>
                      <a:cubicBezTo>
                        <a:pt x="66651" y="-691"/>
                        <a:pt x="71223" y="-691"/>
                        <a:pt x="73985" y="2072"/>
                      </a:cubicBezTo>
                      <a:cubicBezTo>
                        <a:pt x="76748" y="4834"/>
                        <a:pt x="76748" y="9406"/>
                        <a:pt x="73985" y="12168"/>
                      </a:cubicBezTo>
                      <a:lnTo>
                        <a:pt x="12168" y="73985"/>
                      </a:lnTo>
                      <a:cubicBezTo>
                        <a:pt x="10739" y="75414"/>
                        <a:pt x="8930" y="76081"/>
                        <a:pt x="7120" y="7608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472" name="Grafik 2">
                  <a:extLst>
                    <a:ext uri="{FF2B5EF4-FFF2-40B4-BE49-F238E27FC236}">
                      <a16:creationId xmlns:a16="http://schemas.microsoft.com/office/drawing/2014/main" id="{ECA4B629-BF01-9493-8F0A-DA4DB1B699BA}"/>
                    </a:ext>
                  </a:extLst>
                </p:cNvPr>
                <p:cNvSpPr/>
                <p:nvPr/>
              </p:nvSpPr>
              <p:spPr bwMode="gray">
                <a:xfrm>
                  <a:off x="6074854" y="3335178"/>
                  <a:ext cx="53149" cy="14287"/>
                </a:xfrm>
                <a:custGeom>
                  <a:avLst/>
                  <a:gdLst>
                    <a:gd name="connsiteX0" fmla="*/ 46006 w 53149"/>
                    <a:gd name="connsiteY0" fmla="*/ 14288 h 14287"/>
                    <a:gd name="connsiteX1" fmla="*/ 7144 w 53149"/>
                    <a:gd name="connsiteY1" fmla="*/ 14288 h 14287"/>
                    <a:gd name="connsiteX2" fmla="*/ 0 w 53149"/>
                    <a:gd name="connsiteY2" fmla="*/ 7144 h 14287"/>
                    <a:gd name="connsiteX3" fmla="*/ 7144 w 53149"/>
                    <a:gd name="connsiteY3" fmla="*/ 0 h 14287"/>
                    <a:gd name="connsiteX4" fmla="*/ 46006 w 53149"/>
                    <a:gd name="connsiteY4" fmla="*/ 0 h 14287"/>
                    <a:gd name="connsiteX5" fmla="*/ 53150 w 53149"/>
                    <a:gd name="connsiteY5" fmla="*/ 7144 h 14287"/>
                    <a:gd name="connsiteX6" fmla="*/ 46006 w 5314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3149" h="14287">
                      <a:moveTo>
                        <a:pt x="4600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46006" y="0"/>
                      </a:lnTo>
                      <a:cubicBezTo>
                        <a:pt x="49911" y="0"/>
                        <a:pt x="53150" y="3239"/>
                        <a:pt x="53150" y="7144"/>
                      </a:cubicBezTo>
                      <a:cubicBezTo>
                        <a:pt x="53150" y="11049"/>
                        <a:pt x="49911" y="14288"/>
                        <a:pt x="4600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473" name="Grafik 2">
                  <a:extLst>
                    <a:ext uri="{FF2B5EF4-FFF2-40B4-BE49-F238E27FC236}">
                      <a16:creationId xmlns:a16="http://schemas.microsoft.com/office/drawing/2014/main" id="{06E51633-268A-579A-556F-606313730138}"/>
                    </a:ext>
                  </a:extLst>
                </p:cNvPr>
                <p:cNvSpPr/>
                <p:nvPr/>
              </p:nvSpPr>
              <p:spPr bwMode="gray">
                <a:xfrm>
                  <a:off x="6113716" y="3335178"/>
                  <a:ext cx="14287" cy="53149"/>
                </a:xfrm>
                <a:custGeom>
                  <a:avLst/>
                  <a:gdLst>
                    <a:gd name="connsiteX0" fmla="*/ 7144 w 14287"/>
                    <a:gd name="connsiteY0" fmla="*/ 53150 h 53149"/>
                    <a:gd name="connsiteX1" fmla="*/ 0 w 14287"/>
                    <a:gd name="connsiteY1" fmla="*/ 46006 h 53149"/>
                    <a:gd name="connsiteX2" fmla="*/ 0 w 14287"/>
                    <a:gd name="connsiteY2" fmla="*/ 7144 h 53149"/>
                    <a:gd name="connsiteX3" fmla="*/ 7144 w 14287"/>
                    <a:gd name="connsiteY3" fmla="*/ 0 h 53149"/>
                    <a:gd name="connsiteX4" fmla="*/ 14288 w 14287"/>
                    <a:gd name="connsiteY4" fmla="*/ 7144 h 53149"/>
                    <a:gd name="connsiteX5" fmla="*/ 14288 w 14287"/>
                    <a:gd name="connsiteY5" fmla="*/ 46006 h 53149"/>
                    <a:gd name="connsiteX6" fmla="*/ 7144 w 14287"/>
                    <a:gd name="connsiteY6" fmla="*/ 53150 h 531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53149">
                      <a:moveTo>
                        <a:pt x="7144" y="53150"/>
                      </a:moveTo>
                      <a:cubicBezTo>
                        <a:pt x="3239" y="53150"/>
                        <a:pt x="0" y="49911"/>
                        <a:pt x="0" y="4600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46006"/>
                      </a:lnTo>
                      <a:cubicBezTo>
                        <a:pt x="14288" y="49911"/>
                        <a:pt x="11049" y="53150"/>
                        <a:pt x="7144" y="531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459" name="Grafik 2">
                <a:extLst>
                  <a:ext uri="{FF2B5EF4-FFF2-40B4-BE49-F238E27FC236}">
                    <a16:creationId xmlns:a16="http://schemas.microsoft.com/office/drawing/2014/main" id="{F6CEF332-4311-001E-7ECD-4B2363457524}"/>
                  </a:ext>
                </a:extLst>
              </p:cNvPr>
              <p:cNvGrpSpPr/>
              <p:nvPr/>
            </p:nvGrpSpPr>
            <p:grpSpPr bwMode="gray">
              <a:xfrm>
                <a:off x="6051922" y="3507033"/>
                <a:ext cx="76080" cy="76080"/>
                <a:chOff x="6051922" y="3507033"/>
                <a:chExt cx="76080" cy="76080"/>
              </a:xfrm>
              <a:grpFill/>
            </p:grpSpPr>
            <p:sp>
              <p:nvSpPr>
                <p:cNvPr id="468" name="Grafik 2">
                  <a:extLst>
                    <a:ext uri="{FF2B5EF4-FFF2-40B4-BE49-F238E27FC236}">
                      <a16:creationId xmlns:a16="http://schemas.microsoft.com/office/drawing/2014/main" id="{A4350715-4AD5-5CF8-7D1F-B690AB534369}"/>
                    </a:ext>
                  </a:extLst>
                </p:cNvPr>
                <p:cNvSpPr/>
                <p:nvPr/>
              </p:nvSpPr>
              <p:spPr bwMode="gray">
                <a:xfrm>
                  <a:off x="6051922" y="3507033"/>
                  <a:ext cx="76057" cy="76080"/>
                </a:xfrm>
                <a:custGeom>
                  <a:avLst/>
                  <a:gdLst>
                    <a:gd name="connsiteX0" fmla="*/ 68937 w 76057"/>
                    <a:gd name="connsiteY0" fmla="*/ 76081 h 76080"/>
                    <a:gd name="connsiteX1" fmla="*/ 63889 w 76057"/>
                    <a:gd name="connsiteY1" fmla="*/ 73985 h 76080"/>
                    <a:gd name="connsiteX2" fmla="*/ 2072 w 76057"/>
                    <a:gd name="connsiteY2" fmla="*/ 12168 h 76080"/>
                    <a:gd name="connsiteX3" fmla="*/ 2072 w 76057"/>
                    <a:gd name="connsiteY3" fmla="*/ 2072 h 76080"/>
                    <a:gd name="connsiteX4" fmla="*/ 12168 w 76057"/>
                    <a:gd name="connsiteY4" fmla="*/ 2072 h 76080"/>
                    <a:gd name="connsiteX5" fmla="*/ 73985 w 76057"/>
                    <a:gd name="connsiteY5" fmla="*/ 63889 h 76080"/>
                    <a:gd name="connsiteX6" fmla="*/ 73985 w 76057"/>
                    <a:gd name="connsiteY6" fmla="*/ 73985 h 76080"/>
                    <a:gd name="connsiteX7" fmla="*/ 68937 w 76057"/>
                    <a:gd name="connsiteY7" fmla="*/ 76081 h 760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6057" h="76080">
                      <a:moveTo>
                        <a:pt x="68937" y="76081"/>
                      </a:moveTo>
                      <a:cubicBezTo>
                        <a:pt x="67127" y="76081"/>
                        <a:pt x="65318" y="75414"/>
                        <a:pt x="63889" y="7398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3985" y="63889"/>
                      </a:lnTo>
                      <a:cubicBezTo>
                        <a:pt x="76748" y="66651"/>
                        <a:pt x="76748" y="71223"/>
                        <a:pt x="73985" y="73985"/>
                      </a:cubicBezTo>
                      <a:cubicBezTo>
                        <a:pt x="72557" y="75414"/>
                        <a:pt x="70747" y="76081"/>
                        <a:pt x="68937" y="7608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469" name="Grafik 2">
                  <a:extLst>
                    <a:ext uri="{FF2B5EF4-FFF2-40B4-BE49-F238E27FC236}">
                      <a16:creationId xmlns:a16="http://schemas.microsoft.com/office/drawing/2014/main" id="{0F4D40A8-CA21-1AA0-5111-E64C41070D10}"/>
                    </a:ext>
                  </a:extLst>
                </p:cNvPr>
                <p:cNvSpPr/>
                <p:nvPr/>
              </p:nvSpPr>
              <p:spPr bwMode="gray">
                <a:xfrm>
                  <a:off x="6113716" y="3529964"/>
                  <a:ext cx="14287" cy="53149"/>
                </a:xfrm>
                <a:custGeom>
                  <a:avLst/>
                  <a:gdLst>
                    <a:gd name="connsiteX0" fmla="*/ 7144 w 14287"/>
                    <a:gd name="connsiteY0" fmla="*/ 53150 h 53149"/>
                    <a:gd name="connsiteX1" fmla="*/ 0 w 14287"/>
                    <a:gd name="connsiteY1" fmla="*/ 46006 h 53149"/>
                    <a:gd name="connsiteX2" fmla="*/ 0 w 14287"/>
                    <a:gd name="connsiteY2" fmla="*/ 7144 h 53149"/>
                    <a:gd name="connsiteX3" fmla="*/ 7144 w 14287"/>
                    <a:gd name="connsiteY3" fmla="*/ 0 h 53149"/>
                    <a:gd name="connsiteX4" fmla="*/ 14288 w 14287"/>
                    <a:gd name="connsiteY4" fmla="*/ 7144 h 53149"/>
                    <a:gd name="connsiteX5" fmla="*/ 14288 w 14287"/>
                    <a:gd name="connsiteY5" fmla="*/ 46006 h 53149"/>
                    <a:gd name="connsiteX6" fmla="*/ 7144 w 14287"/>
                    <a:gd name="connsiteY6" fmla="*/ 53150 h 531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53149">
                      <a:moveTo>
                        <a:pt x="7144" y="53150"/>
                      </a:moveTo>
                      <a:cubicBezTo>
                        <a:pt x="3239" y="53150"/>
                        <a:pt x="0" y="49911"/>
                        <a:pt x="0" y="4600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46006"/>
                      </a:lnTo>
                      <a:cubicBezTo>
                        <a:pt x="14288" y="49911"/>
                        <a:pt x="11049" y="53150"/>
                        <a:pt x="7144" y="531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470" name="Grafik 2">
                  <a:extLst>
                    <a:ext uri="{FF2B5EF4-FFF2-40B4-BE49-F238E27FC236}">
                      <a16:creationId xmlns:a16="http://schemas.microsoft.com/office/drawing/2014/main" id="{583ED76E-B117-0764-A879-BEA2FB66FA5B}"/>
                    </a:ext>
                  </a:extLst>
                </p:cNvPr>
                <p:cNvSpPr/>
                <p:nvPr/>
              </p:nvSpPr>
              <p:spPr bwMode="gray">
                <a:xfrm>
                  <a:off x="6074854" y="3568826"/>
                  <a:ext cx="53149" cy="14287"/>
                </a:xfrm>
                <a:custGeom>
                  <a:avLst/>
                  <a:gdLst>
                    <a:gd name="connsiteX0" fmla="*/ 46006 w 53149"/>
                    <a:gd name="connsiteY0" fmla="*/ 14288 h 14287"/>
                    <a:gd name="connsiteX1" fmla="*/ 7144 w 53149"/>
                    <a:gd name="connsiteY1" fmla="*/ 14288 h 14287"/>
                    <a:gd name="connsiteX2" fmla="*/ 0 w 53149"/>
                    <a:gd name="connsiteY2" fmla="*/ 7144 h 14287"/>
                    <a:gd name="connsiteX3" fmla="*/ 7144 w 53149"/>
                    <a:gd name="connsiteY3" fmla="*/ 0 h 14287"/>
                    <a:gd name="connsiteX4" fmla="*/ 46006 w 53149"/>
                    <a:gd name="connsiteY4" fmla="*/ 0 h 14287"/>
                    <a:gd name="connsiteX5" fmla="*/ 53150 w 53149"/>
                    <a:gd name="connsiteY5" fmla="*/ 7144 h 14287"/>
                    <a:gd name="connsiteX6" fmla="*/ 46006 w 5314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3149" h="14287">
                      <a:moveTo>
                        <a:pt x="4600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46006" y="0"/>
                      </a:lnTo>
                      <a:cubicBezTo>
                        <a:pt x="49911" y="0"/>
                        <a:pt x="53150" y="3239"/>
                        <a:pt x="53150" y="7144"/>
                      </a:cubicBezTo>
                      <a:cubicBezTo>
                        <a:pt x="53150" y="11049"/>
                        <a:pt x="49911" y="14288"/>
                        <a:pt x="4600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460" name="Grafik 2">
                <a:extLst>
                  <a:ext uri="{FF2B5EF4-FFF2-40B4-BE49-F238E27FC236}">
                    <a16:creationId xmlns:a16="http://schemas.microsoft.com/office/drawing/2014/main" id="{EB5256F1-EB39-BA6A-0F92-B98D2CA6FB53}"/>
                  </a:ext>
                </a:extLst>
              </p:cNvPr>
              <p:cNvGrpSpPr/>
              <p:nvPr/>
            </p:nvGrpSpPr>
            <p:grpSpPr bwMode="gray">
              <a:xfrm>
                <a:off x="6106857" y="3424451"/>
                <a:ext cx="101798" cy="69318"/>
                <a:chOff x="6106857" y="3424451"/>
                <a:chExt cx="101798" cy="69318"/>
              </a:xfrm>
              <a:grpFill/>
            </p:grpSpPr>
            <p:sp>
              <p:nvSpPr>
                <p:cNvPr id="465" name="Grafik 2">
                  <a:extLst>
                    <a:ext uri="{FF2B5EF4-FFF2-40B4-BE49-F238E27FC236}">
                      <a16:creationId xmlns:a16="http://schemas.microsoft.com/office/drawing/2014/main" id="{55942ECE-ECE6-1EAF-2369-228AC656D6BE}"/>
                    </a:ext>
                  </a:extLst>
                </p:cNvPr>
                <p:cNvSpPr/>
                <p:nvPr/>
              </p:nvSpPr>
              <p:spPr bwMode="gray">
                <a:xfrm>
                  <a:off x="6106857" y="3451954"/>
                  <a:ext cx="101727" cy="14287"/>
                </a:xfrm>
                <a:custGeom>
                  <a:avLst/>
                  <a:gdLst>
                    <a:gd name="connsiteX0" fmla="*/ 94583 w 101727"/>
                    <a:gd name="connsiteY0" fmla="*/ 14288 h 14287"/>
                    <a:gd name="connsiteX1" fmla="*/ 7144 w 101727"/>
                    <a:gd name="connsiteY1" fmla="*/ 14288 h 14287"/>
                    <a:gd name="connsiteX2" fmla="*/ 0 w 101727"/>
                    <a:gd name="connsiteY2" fmla="*/ 7144 h 14287"/>
                    <a:gd name="connsiteX3" fmla="*/ 7144 w 101727"/>
                    <a:gd name="connsiteY3" fmla="*/ 0 h 14287"/>
                    <a:gd name="connsiteX4" fmla="*/ 94583 w 101727"/>
                    <a:gd name="connsiteY4" fmla="*/ 0 h 14287"/>
                    <a:gd name="connsiteX5" fmla="*/ 101727 w 101727"/>
                    <a:gd name="connsiteY5" fmla="*/ 7144 h 14287"/>
                    <a:gd name="connsiteX6" fmla="*/ 94583 w 10172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1727" h="14287">
                      <a:moveTo>
                        <a:pt x="9458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94583" y="0"/>
                      </a:lnTo>
                      <a:cubicBezTo>
                        <a:pt x="98489" y="0"/>
                        <a:pt x="101727" y="3239"/>
                        <a:pt x="101727" y="7144"/>
                      </a:cubicBezTo>
                      <a:cubicBezTo>
                        <a:pt x="101727" y="11049"/>
                        <a:pt x="98584" y="14288"/>
                        <a:pt x="94583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466" name="Grafik 2">
                  <a:extLst>
                    <a:ext uri="{FF2B5EF4-FFF2-40B4-BE49-F238E27FC236}">
                      <a16:creationId xmlns:a16="http://schemas.microsoft.com/office/drawing/2014/main" id="{83E80E50-B587-9025-D492-CB3E8CDFE9E2}"/>
                    </a:ext>
                  </a:extLst>
                </p:cNvPr>
                <p:cNvSpPr/>
                <p:nvPr/>
              </p:nvSpPr>
              <p:spPr bwMode="gray">
                <a:xfrm>
                  <a:off x="6166794" y="3424451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467" name="Grafik 2">
                  <a:extLst>
                    <a:ext uri="{FF2B5EF4-FFF2-40B4-BE49-F238E27FC236}">
                      <a16:creationId xmlns:a16="http://schemas.microsoft.com/office/drawing/2014/main" id="{9304F43D-29B7-463B-DD4C-3A81322C2E22}"/>
                    </a:ext>
                  </a:extLst>
                </p:cNvPr>
                <p:cNvSpPr/>
                <p:nvPr/>
              </p:nvSpPr>
              <p:spPr bwMode="gray">
                <a:xfrm>
                  <a:off x="6166889" y="3451978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739" y="41124"/>
                        <a:pt x="8930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461" name="Grafik 2">
                <a:extLst>
                  <a:ext uri="{FF2B5EF4-FFF2-40B4-BE49-F238E27FC236}">
                    <a16:creationId xmlns:a16="http://schemas.microsoft.com/office/drawing/2014/main" id="{790428E8-BA74-54A0-FFA2-AD3272066B75}"/>
                  </a:ext>
                </a:extLst>
              </p:cNvPr>
              <p:cNvGrpSpPr/>
              <p:nvPr/>
            </p:nvGrpSpPr>
            <p:grpSpPr bwMode="gray">
              <a:xfrm>
                <a:off x="5914072" y="3424451"/>
                <a:ext cx="101726" cy="69318"/>
                <a:chOff x="5914072" y="3424451"/>
                <a:chExt cx="101726" cy="69318"/>
              </a:xfrm>
              <a:grpFill/>
            </p:grpSpPr>
            <p:sp>
              <p:nvSpPr>
                <p:cNvPr id="462" name="Grafik 2">
                  <a:extLst>
                    <a:ext uri="{FF2B5EF4-FFF2-40B4-BE49-F238E27FC236}">
                      <a16:creationId xmlns:a16="http://schemas.microsoft.com/office/drawing/2014/main" id="{EF058120-CCF5-9D78-54AF-CCC1D339594D}"/>
                    </a:ext>
                  </a:extLst>
                </p:cNvPr>
                <p:cNvSpPr/>
                <p:nvPr/>
              </p:nvSpPr>
              <p:spPr bwMode="gray">
                <a:xfrm>
                  <a:off x="5914072" y="3451954"/>
                  <a:ext cx="101726" cy="14287"/>
                </a:xfrm>
                <a:custGeom>
                  <a:avLst/>
                  <a:gdLst>
                    <a:gd name="connsiteX0" fmla="*/ 94583 w 101726"/>
                    <a:gd name="connsiteY0" fmla="*/ 14288 h 14287"/>
                    <a:gd name="connsiteX1" fmla="*/ 7144 w 101726"/>
                    <a:gd name="connsiteY1" fmla="*/ 14288 h 14287"/>
                    <a:gd name="connsiteX2" fmla="*/ 0 w 101726"/>
                    <a:gd name="connsiteY2" fmla="*/ 7144 h 14287"/>
                    <a:gd name="connsiteX3" fmla="*/ 7144 w 101726"/>
                    <a:gd name="connsiteY3" fmla="*/ 0 h 14287"/>
                    <a:gd name="connsiteX4" fmla="*/ 94583 w 101726"/>
                    <a:gd name="connsiteY4" fmla="*/ 0 h 14287"/>
                    <a:gd name="connsiteX5" fmla="*/ 101727 w 101726"/>
                    <a:gd name="connsiteY5" fmla="*/ 7144 h 14287"/>
                    <a:gd name="connsiteX6" fmla="*/ 94583 w 10172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1726" h="14287">
                      <a:moveTo>
                        <a:pt x="94583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94583" y="0"/>
                      </a:lnTo>
                      <a:cubicBezTo>
                        <a:pt x="98489" y="0"/>
                        <a:pt x="101727" y="3239"/>
                        <a:pt x="101727" y="7144"/>
                      </a:cubicBezTo>
                      <a:cubicBezTo>
                        <a:pt x="101727" y="11049"/>
                        <a:pt x="98489" y="14288"/>
                        <a:pt x="94583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463" name="Grafik 2">
                  <a:extLst>
                    <a:ext uri="{FF2B5EF4-FFF2-40B4-BE49-F238E27FC236}">
                      <a16:creationId xmlns:a16="http://schemas.microsoft.com/office/drawing/2014/main" id="{3CBD97B0-0883-14C3-F8A8-F8F18585C874}"/>
                    </a:ext>
                  </a:extLst>
                </p:cNvPr>
                <p:cNvSpPr/>
                <p:nvPr/>
              </p:nvSpPr>
              <p:spPr bwMode="gray">
                <a:xfrm>
                  <a:off x="5974008" y="3424451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267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464" name="Grafik 2">
                  <a:extLst>
                    <a:ext uri="{FF2B5EF4-FFF2-40B4-BE49-F238E27FC236}">
                      <a16:creationId xmlns:a16="http://schemas.microsoft.com/office/drawing/2014/main" id="{D002E3E8-2CCF-F467-99CF-779223BE0B6E}"/>
                    </a:ext>
                  </a:extLst>
                </p:cNvPr>
                <p:cNvSpPr/>
                <p:nvPr/>
              </p:nvSpPr>
              <p:spPr bwMode="gray">
                <a:xfrm>
                  <a:off x="5974008" y="3451978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453" name="Grafik 2">
              <a:extLst>
                <a:ext uri="{FF2B5EF4-FFF2-40B4-BE49-F238E27FC236}">
                  <a16:creationId xmlns:a16="http://schemas.microsoft.com/office/drawing/2014/main" id="{AE00C67F-ED11-1ECF-2AF0-6D76944DC8BD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54" name="Grafik 2">
              <a:extLst>
                <a:ext uri="{FF2B5EF4-FFF2-40B4-BE49-F238E27FC236}">
                  <a16:creationId xmlns:a16="http://schemas.microsoft.com/office/drawing/2014/main" id="{D4A8DBEA-0B96-AD91-E7EB-454FA62E1D3A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55" name="Grafik 2">
              <a:extLst>
                <a:ext uri="{FF2B5EF4-FFF2-40B4-BE49-F238E27FC236}">
                  <a16:creationId xmlns:a16="http://schemas.microsoft.com/office/drawing/2014/main" id="{560D1927-142C-A248-ADA2-DEF7E61BC384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56" name="Grafik 2">
              <a:extLst>
                <a:ext uri="{FF2B5EF4-FFF2-40B4-BE49-F238E27FC236}">
                  <a16:creationId xmlns:a16="http://schemas.microsoft.com/office/drawing/2014/main" id="{410F2B48-ED58-ECDC-5B84-A9A585678B63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57" name="Grafik 2">
              <a:extLst>
                <a:ext uri="{FF2B5EF4-FFF2-40B4-BE49-F238E27FC236}">
                  <a16:creationId xmlns:a16="http://schemas.microsoft.com/office/drawing/2014/main" id="{80296C07-76DC-B792-FE14-0AFE4DA1B5E3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</p:grpSp>
      <p:grpSp>
        <p:nvGrpSpPr>
          <p:cNvPr id="474" name="Grafik 27">
            <a:extLst>
              <a:ext uri="{FF2B5EF4-FFF2-40B4-BE49-F238E27FC236}">
                <a16:creationId xmlns:a16="http://schemas.microsoft.com/office/drawing/2014/main" id="{14C3914F-1E3F-D5BA-9A55-C358D6D32DFF}"/>
              </a:ext>
            </a:extLst>
          </p:cNvPr>
          <p:cNvGrpSpPr/>
          <p:nvPr/>
        </p:nvGrpSpPr>
        <p:grpSpPr bwMode="gray">
          <a:xfrm>
            <a:off x="5130237" y="1869071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475" name="Grafik 27">
              <a:extLst>
                <a:ext uri="{FF2B5EF4-FFF2-40B4-BE49-F238E27FC236}">
                  <a16:creationId xmlns:a16="http://schemas.microsoft.com/office/drawing/2014/main" id="{B76A75FC-D8B5-D9D5-9E7F-223D1C54560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10" name="Grafik 27">
                <a:extLst>
                  <a:ext uri="{FF2B5EF4-FFF2-40B4-BE49-F238E27FC236}">
                    <a16:creationId xmlns:a16="http://schemas.microsoft.com/office/drawing/2014/main" id="{FBAF60F9-C4C1-0C41-B96E-9ED5E39D1E4A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1" name="Grafik 27">
                <a:extLst>
                  <a:ext uri="{FF2B5EF4-FFF2-40B4-BE49-F238E27FC236}">
                    <a16:creationId xmlns:a16="http://schemas.microsoft.com/office/drawing/2014/main" id="{B4418F14-D58B-E5A1-D644-8095A48BAC5C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2" name="Grafik 27">
                <a:extLst>
                  <a:ext uri="{FF2B5EF4-FFF2-40B4-BE49-F238E27FC236}">
                    <a16:creationId xmlns:a16="http://schemas.microsoft.com/office/drawing/2014/main" id="{EC1254E3-FBBD-04D9-CA92-6D808E826B65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3" name="Grafik 27">
                <a:extLst>
                  <a:ext uri="{FF2B5EF4-FFF2-40B4-BE49-F238E27FC236}">
                    <a16:creationId xmlns:a16="http://schemas.microsoft.com/office/drawing/2014/main" id="{AD411C81-3D93-BAC4-FCF2-E51BB9F76F7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4" name="Grafik 27">
                <a:extLst>
                  <a:ext uri="{FF2B5EF4-FFF2-40B4-BE49-F238E27FC236}">
                    <a16:creationId xmlns:a16="http://schemas.microsoft.com/office/drawing/2014/main" id="{1A1F7CE1-0625-6821-51B6-4F24E754280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76" name="Grafik 27">
              <a:extLst>
                <a:ext uri="{FF2B5EF4-FFF2-40B4-BE49-F238E27FC236}">
                  <a16:creationId xmlns:a16="http://schemas.microsoft.com/office/drawing/2014/main" id="{D284360C-7C9F-445D-CF8F-FAABEC71E5C9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477" name="Grafik 27">
                <a:extLst>
                  <a:ext uri="{FF2B5EF4-FFF2-40B4-BE49-F238E27FC236}">
                    <a16:creationId xmlns:a16="http://schemas.microsoft.com/office/drawing/2014/main" id="{713CE7A7-1990-50E9-79C2-891AA609DE59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507" name="Grafik 27">
                  <a:extLst>
                    <a:ext uri="{FF2B5EF4-FFF2-40B4-BE49-F238E27FC236}">
                      <a16:creationId xmlns:a16="http://schemas.microsoft.com/office/drawing/2014/main" id="{2657D771-6CBD-7629-C0A3-767CA33E9A0E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8" name="Grafik 27">
                  <a:extLst>
                    <a:ext uri="{FF2B5EF4-FFF2-40B4-BE49-F238E27FC236}">
                      <a16:creationId xmlns:a16="http://schemas.microsoft.com/office/drawing/2014/main" id="{589A5194-0D42-E0EB-2377-38C01E45C02F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9" name="Grafik 27">
                  <a:extLst>
                    <a:ext uri="{FF2B5EF4-FFF2-40B4-BE49-F238E27FC236}">
                      <a16:creationId xmlns:a16="http://schemas.microsoft.com/office/drawing/2014/main" id="{54560EF3-FAEC-1846-FF76-456ED7956626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78" name="Grafik 27">
                <a:extLst>
                  <a:ext uri="{FF2B5EF4-FFF2-40B4-BE49-F238E27FC236}">
                    <a16:creationId xmlns:a16="http://schemas.microsoft.com/office/drawing/2014/main" id="{4D033957-CDE9-AC29-9F38-F8784AB62FE4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504" name="Grafik 27">
                  <a:extLst>
                    <a:ext uri="{FF2B5EF4-FFF2-40B4-BE49-F238E27FC236}">
                      <a16:creationId xmlns:a16="http://schemas.microsoft.com/office/drawing/2014/main" id="{5D266F10-7EFE-66E9-9F13-368C9B9B01AD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5" name="Grafik 27">
                  <a:extLst>
                    <a:ext uri="{FF2B5EF4-FFF2-40B4-BE49-F238E27FC236}">
                      <a16:creationId xmlns:a16="http://schemas.microsoft.com/office/drawing/2014/main" id="{A8F45AD3-CE15-D753-4DA1-CE92F00C7412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6" name="Grafik 27">
                  <a:extLst>
                    <a:ext uri="{FF2B5EF4-FFF2-40B4-BE49-F238E27FC236}">
                      <a16:creationId xmlns:a16="http://schemas.microsoft.com/office/drawing/2014/main" id="{82321CF3-BB41-7DDA-89B0-1A6EED53F93D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79" name="Grafik 27">
                <a:extLst>
                  <a:ext uri="{FF2B5EF4-FFF2-40B4-BE49-F238E27FC236}">
                    <a16:creationId xmlns:a16="http://schemas.microsoft.com/office/drawing/2014/main" id="{DC0EC1C7-F611-DB9B-9433-9E1C5D12AA9D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501" name="Grafik 27">
                  <a:extLst>
                    <a:ext uri="{FF2B5EF4-FFF2-40B4-BE49-F238E27FC236}">
                      <a16:creationId xmlns:a16="http://schemas.microsoft.com/office/drawing/2014/main" id="{B9FB28AF-6EEC-87CB-E077-2915646FF1E5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2" name="Grafik 27">
                  <a:extLst>
                    <a:ext uri="{FF2B5EF4-FFF2-40B4-BE49-F238E27FC236}">
                      <a16:creationId xmlns:a16="http://schemas.microsoft.com/office/drawing/2014/main" id="{EA26DE99-0ADA-8BC5-7134-6C0CB8D4D508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3" name="Grafik 27">
                  <a:extLst>
                    <a:ext uri="{FF2B5EF4-FFF2-40B4-BE49-F238E27FC236}">
                      <a16:creationId xmlns:a16="http://schemas.microsoft.com/office/drawing/2014/main" id="{A9047551-4160-9B19-B5EA-78599CF68361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80" name="Grafik 27">
                <a:extLst>
                  <a:ext uri="{FF2B5EF4-FFF2-40B4-BE49-F238E27FC236}">
                    <a16:creationId xmlns:a16="http://schemas.microsoft.com/office/drawing/2014/main" id="{22D7238A-D118-F685-216F-7E890CD3237B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498" name="Grafik 27">
                  <a:extLst>
                    <a:ext uri="{FF2B5EF4-FFF2-40B4-BE49-F238E27FC236}">
                      <a16:creationId xmlns:a16="http://schemas.microsoft.com/office/drawing/2014/main" id="{467649AA-6045-5BF6-BDB9-DE4969EA75D6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9" name="Grafik 27">
                  <a:extLst>
                    <a:ext uri="{FF2B5EF4-FFF2-40B4-BE49-F238E27FC236}">
                      <a16:creationId xmlns:a16="http://schemas.microsoft.com/office/drawing/2014/main" id="{2F73FBFA-A68F-2B75-1F98-E13D2843414F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0" name="Grafik 27">
                  <a:extLst>
                    <a:ext uri="{FF2B5EF4-FFF2-40B4-BE49-F238E27FC236}">
                      <a16:creationId xmlns:a16="http://schemas.microsoft.com/office/drawing/2014/main" id="{EE2C7F65-6908-4834-0D59-144F7427B37A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81" name="Grafik 27">
                <a:extLst>
                  <a:ext uri="{FF2B5EF4-FFF2-40B4-BE49-F238E27FC236}">
                    <a16:creationId xmlns:a16="http://schemas.microsoft.com/office/drawing/2014/main" id="{31EF0E9E-7295-ACE7-024D-41934DFD607C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495" name="Grafik 27">
                  <a:extLst>
                    <a:ext uri="{FF2B5EF4-FFF2-40B4-BE49-F238E27FC236}">
                      <a16:creationId xmlns:a16="http://schemas.microsoft.com/office/drawing/2014/main" id="{254BF492-BAF9-F053-CB02-FBE7EBD3EA00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6" name="Grafik 27">
                  <a:extLst>
                    <a:ext uri="{FF2B5EF4-FFF2-40B4-BE49-F238E27FC236}">
                      <a16:creationId xmlns:a16="http://schemas.microsoft.com/office/drawing/2014/main" id="{FC4EDFE7-B854-ADE8-C80B-9B45540D2C9A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7" name="Grafik 27">
                  <a:extLst>
                    <a:ext uri="{FF2B5EF4-FFF2-40B4-BE49-F238E27FC236}">
                      <a16:creationId xmlns:a16="http://schemas.microsoft.com/office/drawing/2014/main" id="{23AEABC9-C774-C2EE-BDC5-78F075A6F725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82" name="Grafik 27">
                <a:extLst>
                  <a:ext uri="{FF2B5EF4-FFF2-40B4-BE49-F238E27FC236}">
                    <a16:creationId xmlns:a16="http://schemas.microsoft.com/office/drawing/2014/main" id="{6B82A4F8-D816-9EEC-17B0-5F323D905B25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492" name="Grafik 27">
                  <a:extLst>
                    <a:ext uri="{FF2B5EF4-FFF2-40B4-BE49-F238E27FC236}">
                      <a16:creationId xmlns:a16="http://schemas.microsoft.com/office/drawing/2014/main" id="{20D82568-0A13-52D1-8A85-93FF36D95B32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3" name="Grafik 27">
                  <a:extLst>
                    <a:ext uri="{FF2B5EF4-FFF2-40B4-BE49-F238E27FC236}">
                      <a16:creationId xmlns:a16="http://schemas.microsoft.com/office/drawing/2014/main" id="{E8B00A6C-0696-699D-CB44-936CF2A1EF8C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4" name="Grafik 27">
                  <a:extLst>
                    <a:ext uri="{FF2B5EF4-FFF2-40B4-BE49-F238E27FC236}">
                      <a16:creationId xmlns:a16="http://schemas.microsoft.com/office/drawing/2014/main" id="{257EE06D-465C-4A2C-CD06-8E9B59A25AB3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83" name="Grafik 27">
                <a:extLst>
                  <a:ext uri="{FF2B5EF4-FFF2-40B4-BE49-F238E27FC236}">
                    <a16:creationId xmlns:a16="http://schemas.microsoft.com/office/drawing/2014/main" id="{8CB74104-D532-6899-3928-87B9944CEF3C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489" name="Grafik 27">
                  <a:extLst>
                    <a:ext uri="{FF2B5EF4-FFF2-40B4-BE49-F238E27FC236}">
                      <a16:creationId xmlns:a16="http://schemas.microsoft.com/office/drawing/2014/main" id="{3585D213-C65A-3FE3-30F1-BCAA933B0AAD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0" name="Grafik 27">
                  <a:extLst>
                    <a:ext uri="{FF2B5EF4-FFF2-40B4-BE49-F238E27FC236}">
                      <a16:creationId xmlns:a16="http://schemas.microsoft.com/office/drawing/2014/main" id="{1079ABA7-B717-E849-5409-1D1C802B0A57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1" name="Grafik 27">
                  <a:extLst>
                    <a:ext uri="{FF2B5EF4-FFF2-40B4-BE49-F238E27FC236}">
                      <a16:creationId xmlns:a16="http://schemas.microsoft.com/office/drawing/2014/main" id="{5B727F09-DDAE-4742-B414-987FC893C5A8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84" name="Grafik 27">
                <a:extLst>
                  <a:ext uri="{FF2B5EF4-FFF2-40B4-BE49-F238E27FC236}">
                    <a16:creationId xmlns:a16="http://schemas.microsoft.com/office/drawing/2014/main" id="{8C85A2F9-EACC-E981-081D-0D5A9BD2E23B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486" name="Grafik 27">
                  <a:extLst>
                    <a:ext uri="{FF2B5EF4-FFF2-40B4-BE49-F238E27FC236}">
                      <a16:creationId xmlns:a16="http://schemas.microsoft.com/office/drawing/2014/main" id="{F1F437AA-3753-24B4-D7AB-73489E803329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87" name="Grafik 27">
                  <a:extLst>
                    <a:ext uri="{FF2B5EF4-FFF2-40B4-BE49-F238E27FC236}">
                      <a16:creationId xmlns:a16="http://schemas.microsoft.com/office/drawing/2014/main" id="{A1A04F76-23C6-44A9-0199-52400727AD3B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88" name="Grafik 27">
                  <a:extLst>
                    <a:ext uri="{FF2B5EF4-FFF2-40B4-BE49-F238E27FC236}">
                      <a16:creationId xmlns:a16="http://schemas.microsoft.com/office/drawing/2014/main" id="{BE8197FC-613C-2A3E-0C25-547CF229DCF9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85" name="Grafik 27">
                <a:extLst>
                  <a:ext uri="{FF2B5EF4-FFF2-40B4-BE49-F238E27FC236}">
                    <a16:creationId xmlns:a16="http://schemas.microsoft.com/office/drawing/2014/main" id="{1B01B1FF-855B-B05C-43A1-BCAE1026575B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515" name="Grafik 29">
            <a:extLst>
              <a:ext uri="{FF2B5EF4-FFF2-40B4-BE49-F238E27FC236}">
                <a16:creationId xmlns:a16="http://schemas.microsoft.com/office/drawing/2014/main" id="{BF2A016F-964B-491C-F517-9C89C9B28C05}"/>
              </a:ext>
            </a:extLst>
          </p:cNvPr>
          <p:cNvGrpSpPr/>
          <p:nvPr/>
        </p:nvGrpSpPr>
        <p:grpSpPr bwMode="gray">
          <a:xfrm>
            <a:off x="5130237" y="240493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16" name="Grafik 29">
              <a:extLst>
                <a:ext uri="{FF2B5EF4-FFF2-40B4-BE49-F238E27FC236}">
                  <a16:creationId xmlns:a16="http://schemas.microsoft.com/office/drawing/2014/main" id="{B8366DEC-9143-388B-84CC-55BE7F9B0C58}"/>
                </a:ext>
              </a:extLst>
            </p:cNvPr>
            <p:cNvGrpSpPr/>
            <p:nvPr/>
          </p:nvGrpSpPr>
          <p:grpSpPr bwMode="gray">
            <a:xfrm>
              <a:off x="5953029" y="3492582"/>
              <a:ext cx="216569" cy="128631"/>
              <a:chOff x="5953029" y="3492582"/>
              <a:chExt cx="216569" cy="128631"/>
            </a:xfrm>
            <a:grpFill/>
          </p:grpSpPr>
          <p:grpSp>
            <p:nvGrpSpPr>
              <p:cNvPr id="557" name="Grafik 29">
                <a:extLst>
                  <a:ext uri="{FF2B5EF4-FFF2-40B4-BE49-F238E27FC236}">
                    <a16:creationId xmlns:a16="http://schemas.microsoft.com/office/drawing/2014/main" id="{87669BA0-D073-F9CD-29DA-04B2A642EA02}"/>
                  </a:ext>
                </a:extLst>
              </p:cNvPr>
              <p:cNvGrpSpPr/>
              <p:nvPr/>
            </p:nvGrpSpPr>
            <p:grpSpPr bwMode="gray">
              <a:xfrm>
                <a:off x="5953029" y="3535131"/>
                <a:ext cx="117514" cy="43695"/>
                <a:chOff x="5953029" y="3535131"/>
                <a:chExt cx="117514" cy="43695"/>
              </a:xfrm>
              <a:grpFill/>
            </p:grpSpPr>
            <p:sp>
              <p:nvSpPr>
                <p:cNvPr id="570" name="Grafik 29">
                  <a:extLst>
                    <a:ext uri="{FF2B5EF4-FFF2-40B4-BE49-F238E27FC236}">
                      <a16:creationId xmlns:a16="http://schemas.microsoft.com/office/drawing/2014/main" id="{0811ACBF-9C6A-0FE7-5E83-19DEA78B5A4E}"/>
                    </a:ext>
                  </a:extLst>
                </p:cNvPr>
                <p:cNvSpPr/>
                <p:nvPr/>
              </p:nvSpPr>
              <p:spPr bwMode="gray">
                <a:xfrm>
                  <a:off x="5953029" y="3549681"/>
                  <a:ext cx="108966" cy="14287"/>
                </a:xfrm>
                <a:custGeom>
                  <a:avLst/>
                  <a:gdLst>
                    <a:gd name="connsiteX0" fmla="*/ 101822 w 108966"/>
                    <a:gd name="connsiteY0" fmla="*/ 14288 h 14287"/>
                    <a:gd name="connsiteX1" fmla="*/ 7144 w 108966"/>
                    <a:gd name="connsiteY1" fmla="*/ 14288 h 14287"/>
                    <a:gd name="connsiteX2" fmla="*/ 0 w 108966"/>
                    <a:gd name="connsiteY2" fmla="*/ 7144 h 14287"/>
                    <a:gd name="connsiteX3" fmla="*/ 7144 w 108966"/>
                    <a:gd name="connsiteY3" fmla="*/ 0 h 14287"/>
                    <a:gd name="connsiteX4" fmla="*/ 101822 w 108966"/>
                    <a:gd name="connsiteY4" fmla="*/ 0 h 14287"/>
                    <a:gd name="connsiteX5" fmla="*/ 108966 w 108966"/>
                    <a:gd name="connsiteY5" fmla="*/ 7144 h 14287"/>
                    <a:gd name="connsiteX6" fmla="*/ 101822 w 10896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966" h="14287">
                      <a:moveTo>
                        <a:pt x="10182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822" y="0"/>
                      </a:lnTo>
                      <a:cubicBezTo>
                        <a:pt x="105728" y="0"/>
                        <a:pt x="108966" y="3239"/>
                        <a:pt x="108966" y="7144"/>
                      </a:cubicBezTo>
                      <a:cubicBezTo>
                        <a:pt x="108966" y="11049"/>
                        <a:pt x="105728" y="14288"/>
                        <a:pt x="10182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71" name="Grafik 29">
                  <a:extLst>
                    <a:ext uri="{FF2B5EF4-FFF2-40B4-BE49-F238E27FC236}">
                      <a16:creationId xmlns:a16="http://schemas.microsoft.com/office/drawing/2014/main" id="{E7B96625-4FA7-ED7B-AFD5-2C339AA4EC0C}"/>
                    </a:ext>
                  </a:extLst>
                </p:cNvPr>
                <p:cNvSpPr/>
                <p:nvPr/>
              </p:nvSpPr>
              <p:spPr bwMode="gray">
                <a:xfrm>
                  <a:off x="6041540" y="3535131"/>
                  <a:ext cx="29003" cy="29122"/>
                </a:xfrm>
                <a:custGeom>
                  <a:avLst/>
                  <a:gdLst>
                    <a:gd name="connsiteX0" fmla="*/ 21884 w 29003"/>
                    <a:gd name="connsiteY0" fmla="*/ 29123 h 29122"/>
                    <a:gd name="connsiteX1" fmla="*/ 16835 w 29003"/>
                    <a:gd name="connsiteY1" fmla="*/ 27027 h 29122"/>
                    <a:gd name="connsiteX2" fmla="*/ 2072 w 29003"/>
                    <a:gd name="connsiteY2" fmla="*/ 12168 h 29122"/>
                    <a:gd name="connsiteX3" fmla="*/ 2072 w 29003"/>
                    <a:gd name="connsiteY3" fmla="*/ 2072 h 29122"/>
                    <a:gd name="connsiteX4" fmla="*/ 12168 w 29003"/>
                    <a:gd name="connsiteY4" fmla="*/ 2072 h 29122"/>
                    <a:gd name="connsiteX5" fmla="*/ 26932 w 29003"/>
                    <a:gd name="connsiteY5" fmla="*/ 16835 h 29122"/>
                    <a:gd name="connsiteX6" fmla="*/ 26932 w 29003"/>
                    <a:gd name="connsiteY6" fmla="*/ 26932 h 29122"/>
                    <a:gd name="connsiteX7" fmla="*/ 21884 w 29003"/>
                    <a:gd name="connsiteY7" fmla="*/ 29123 h 291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9003" h="29122">
                      <a:moveTo>
                        <a:pt x="21884" y="29123"/>
                      </a:moveTo>
                      <a:cubicBezTo>
                        <a:pt x="20074" y="29123"/>
                        <a:pt x="18264" y="28456"/>
                        <a:pt x="16835" y="27027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6932" y="16835"/>
                      </a:lnTo>
                      <a:cubicBezTo>
                        <a:pt x="29694" y="19598"/>
                        <a:pt x="29694" y="24170"/>
                        <a:pt x="26932" y="26932"/>
                      </a:cubicBezTo>
                      <a:cubicBezTo>
                        <a:pt x="25503" y="28361"/>
                        <a:pt x="23693" y="29123"/>
                        <a:pt x="21884" y="291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72" name="Grafik 29">
                  <a:extLst>
                    <a:ext uri="{FF2B5EF4-FFF2-40B4-BE49-F238E27FC236}">
                      <a16:creationId xmlns:a16="http://schemas.microsoft.com/office/drawing/2014/main" id="{19CD998F-8FAC-B32A-0A42-C0093377BBAA}"/>
                    </a:ext>
                  </a:extLst>
                </p:cNvPr>
                <p:cNvSpPr/>
                <p:nvPr/>
              </p:nvSpPr>
              <p:spPr bwMode="gray">
                <a:xfrm>
                  <a:off x="6041540" y="3549800"/>
                  <a:ext cx="29003" cy="29027"/>
                </a:xfrm>
                <a:custGeom>
                  <a:avLst/>
                  <a:gdLst>
                    <a:gd name="connsiteX0" fmla="*/ 7120 w 29003"/>
                    <a:gd name="connsiteY0" fmla="*/ 29027 h 29027"/>
                    <a:gd name="connsiteX1" fmla="*/ 2072 w 29003"/>
                    <a:gd name="connsiteY1" fmla="*/ 26932 h 29027"/>
                    <a:gd name="connsiteX2" fmla="*/ 2072 w 29003"/>
                    <a:gd name="connsiteY2" fmla="*/ 16835 h 29027"/>
                    <a:gd name="connsiteX3" fmla="*/ 16835 w 29003"/>
                    <a:gd name="connsiteY3" fmla="*/ 2072 h 29027"/>
                    <a:gd name="connsiteX4" fmla="*/ 26932 w 29003"/>
                    <a:gd name="connsiteY4" fmla="*/ 2072 h 29027"/>
                    <a:gd name="connsiteX5" fmla="*/ 26932 w 29003"/>
                    <a:gd name="connsiteY5" fmla="*/ 12168 h 29027"/>
                    <a:gd name="connsiteX6" fmla="*/ 12168 w 29003"/>
                    <a:gd name="connsiteY6" fmla="*/ 26932 h 29027"/>
                    <a:gd name="connsiteX7" fmla="*/ 7120 w 29003"/>
                    <a:gd name="connsiteY7" fmla="*/ 29027 h 290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9003" h="29027">
                      <a:moveTo>
                        <a:pt x="7120" y="29027"/>
                      </a:moveTo>
                      <a:cubicBezTo>
                        <a:pt x="5310" y="29027"/>
                        <a:pt x="3500" y="28361"/>
                        <a:pt x="2072" y="26932"/>
                      </a:cubicBezTo>
                      <a:cubicBezTo>
                        <a:pt x="-691" y="24170"/>
                        <a:pt x="-691" y="19598"/>
                        <a:pt x="2072" y="16835"/>
                      </a:cubicBezTo>
                      <a:lnTo>
                        <a:pt x="16835" y="2072"/>
                      </a:lnTo>
                      <a:cubicBezTo>
                        <a:pt x="19598" y="-691"/>
                        <a:pt x="24170" y="-691"/>
                        <a:pt x="26932" y="2072"/>
                      </a:cubicBezTo>
                      <a:cubicBezTo>
                        <a:pt x="29694" y="4834"/>
                        <a:pt x="29694" y="9406"/>
                        <a:pt x="26932" y="12168"/>
                      </a:cubicBezTo>
                      <a:lnTo>
                        <a:pt x="12168" y="26932"/>
                      </a:lnTo>
                      <a:cubicBezTo>
                        <a:pt x="10739" y="28265"/>
                        <a:pt x="8930" y="29027"/>
                        <a:pt x="7120" y="2902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58" name="Grafik 29">
                <a:extLst>
                  <a:ext uri="{FF2B5EF4-FFF2-40B4-BE49-F238E27FC236}">
                    <a16:creationId xmlns:a16="http://schemas.microsoft.com/office/drawing/2014/main" id="{2828F1EF-F8CF-E5FC-1FAE-2F4A69109D36}"/>
                  </a:ext>
                </a:extLst>
              </p:cNvPr>
              <p:cNvGrpSpPr/>
              <p:nvPr/>
            </p:nvGrpSpPr>
            <p:grpSpPr bwMode="gray">
              <a:xfrm>
                <a:off x="6076048" y="3492582"/>
                <a:ext cx="93550" cy="53288"/>
                <a:chOff x="6076048" y="3492582"/>
                <a:chExt cx="93550" cy="53288"/>
              </a:xfrm>
              <a:grpFill/>
            </p:grpSpPr>
            <p:sp>
              <p:nvSpPr>
                <p:cNvPr id="567" name="Grafik 29">
                  <a:extLst>
                    <a:ext uri="{FF2B5EF4-FFF2-40B4-BE49-F238E27FC236}">
                      <a16:creationId xmlns:a16="http://schemas.microsoft.com/office/drawing/2014/main" id="{16987009-972A-A655-B73E-B7A3FADF8FA7}"/>
                    </a:ext>
                  </a:extLst>
                </p:cNvPr>
                <p:cNvSpPr/>
                <p:nvPr/>
              </p:nvSpPr>
              <p:spPr bwMode="gray">
                <a:xfrm>
                  <a:off x="6076048" y="3505631"/>
                  <a:ext cx="85337" cy="40239"/>
                </a:xfrm>
                <a:custGeom>
                  <a:avLst/>
                  <a:gdLst>
                    <a:gd name="connsiteX0" fmla="*/ 7093 w 85337"/>
                    <a:gd name="connsiteY0" fmla="*/ 40240 h 40239"/>
                    <a:gd name="connsiteX1" fmla="*/ 425 w 85337"/>
                    <a:gd name="connsiteY1" fmla="*/ 35572 h 40239"/>
                    <a:gd name="connsiteX2" fmla="*/ 4711 w 85337"/>
                    <a:gd name="connsiteY2" fmla="*/ 26428 h 40239"/>
                    <a:gd name="connsiteX3" fmla="*/ 75768 w 85337"/>
                    <a:gd name="connsiteY3" fmla="*/ 425 h 40239"/>
                    <a:gd name="connsiteX4" fmla="*/ 84912 w 85337"/>
                    <a:gd name="connsiteY4" fmla="*/ 4711 h 40239"/>
                    <a:gd name="connsiteX5" fmla="*/ 80626 w 85337"/>
                    <a:gd name="connsiteY5" fmla="*/ 13855 h 40239"/>
                    <a:gd name="connsiteX6" fmla="*/ 9569 w 85337"/>
                    <a:gd name="connsiteY6" fmla="*/ 39859 h 40239"/>
                    <a:gd name="connsiteX7" fmla="*/ 7093 w 85337"/>
                    <a:gd name="connsiteY7" fmla="*/ 40240 h 40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5337" h="40239">
                      <a:moveTo>
                        <a:pt x="7093" y="40240"/>
                      </a:moveTo>
                      <a:cubicBezTo>
                        <a:pt x="4140" y="40240"/>
                        <a:pt x="1473" y="38430"/>
                        <a:pt x="425" y="35572"/>
                      </a:cubicBezTo>
                      <a:cubicBezTo>
                        <a:pt x="-908" y="31858"/>
                        <a:pt x="997" y="27762"/>
                        <a:pt x="4711" y="26428"/>
                      </a:cubicBezTo>
                      <a:lnTo>
                        <a:pt x="75768" y="425"/>
                      </a:lnTo>
                      <a:cubicBezTo>
                        <a:pt x="79483" y="-908"/>
                        <a:pt x="83578" y="997"/>
                        <a:pt x="84912" y="4711"/>
                      </a:cubicBezTo>
                      <a:cubicBezTo>
                        <a:pt x="86245" y="8426"/>
                        <a:pt x="84340" y="12522"/>
                        <a:pt x="80626" y="13855"/>
                      </a:cubicBezTo>
                      <a:lnTo>
                        <a:pt x="9569" y="39859"/>
                      </a:lnTo>
                      <a:cubicBezTo>
                        <a:pt x="8712" y="40049"/>
                        <a:pt x="7950" y="40240"/>
                        <a:pt x="7093" y="4024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68" name="Grafik 29">
                  <a:extLst>
                    <a:ext uri="{FF2B5EF4-FFF2-40B4-BE49-F238E27FC236}">
                      <a16:creationId xmlns:a16="http://schemas.microsoft.com/office/drawing/2014/main" id="{BB344DA5-6E58-E81C-1159-907A478655AD}"/>
                    </a:ext>
                  </a:extLst>
                </p:cNvPr>
                <p:cNvSpPr/>
                <p:nvPr/>
              </p:nvSpPr>
              <p:spPr bwMode="gray">
                <a:xfrm>
                  <a:off x="6135674" y="3492582"/>
                  <a:ext cx="33901" cy="24427"/>
                </a:xfrm>
                <a:custGeom>
                  <a:avLst/>
                  <a:gdLst>
                    <a:gd name="connsiteX0" fmla="*/ 26809 w 33901"/>
                    <a:gd name="connsiteY0" fmla="*/ 24428 h 24427"/>
                    <a:gd name="connsiteX1" fmla="*/ 23475 w 33901"/>
                    <a:gd name="connsiteY1" fmla="*/ 23666 h 24427"/>
                    <a:gd name="connsiteX2" fmla="*/ 3854 w 33901"/>
                    <a:gd name="connsiteY2" fmla="*/ 13474 h 24427"/>
                    <a:gd name="connsiteX3" fmla="*/ 806 w 33901"/>
                    <a:gd name="connsiteY3" fmla="*/ 3854 h 24427"/>
                    <a:gd name="connsiteX4" fmla="*/ 10426 w 33901"/>
                    <a:gd name="connsiteY4" fmla="*/ 806 h 24427"/>
                    <a:gd name="connsiteX5" fmla="*/ 30048 w 33901"/>
                    <a:gd name="connsiteY5" fmla="*/ 10998 h 24427"/>
                    <a:gd name="connsiteX6" fmla="*/ 33096 w 33901"/>
                    <a:gd name="connsiteY6" fmla="*/ 20618 h 24427"/>
                    <a:gd name="connsiteX7" fmla="*/ 26809 w 33901"/>
                    <a:gd name="connsiteY7" fmla="*/ 24428 h 244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01" h="24427">
                      <a:moveTo>
                        <a:pt x="26809" y="24428"/>
                      </a:moveTo>
                      <a:cubicBezTo>
                        <a:pt x="25666" y="24428"/>
                        <a:pt x="24523" y="24142"/>
                        <a:pt x="23475" y="23666"/>
                      </a:cubicBezTo>
                      <a:lnTo>
                        <a:pt x="3854" y="13474"/>
                      </a:lnTo>
                      <a:cubicBezTo>
                        <a:pt x="330" y="11664"/>
                        <a:pt x="-1004" y="7378"/>
                        <a:pt x="806" y="3854"/>
                      </a:cubicBezTo>
                      <a:cubicBezTo>
                        <a:pt x="2616" y="330"/>
                        <a:pt x="6997" y="-1004"/>
                        <a:pt x="10426" y="806"/>
                      </a:cubicBezTo>
                      <a:lnTo>
                        <a:pt x="30048" y="10998"/>
                      </a:lnTo>
                      <a:cubicBezTo>
                        <a:pt x="33572" y="12807"/>
                        <a:pt x="34905" y="17094"/>
                        <a:pt x="33096" y="20618"/>
                      </a:cubicBezTo>
                      <a:cubicBezTo>
                        <a:pt x="31857" y="23094"/>
                        <a:pt x="29381" y="24428"/>
                        <a:pt x="26809" y="2442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69" name="Grafik 29">
                  <a:extLst>
                    <a:ext uri="{FF2B5EF4-FFF2-40B4-BE49-F238E27FC236}">
                      <a16:creationId xmlns:a16="http://schemas.microsoft.com/office/drawing/2014/main" id="{809326C7-087C-9BB8-1D78-8DD47532EB60}"/>
                    </a:ext>
                  </a:extLst>
                </p:cNvPr>
                <p:cNvSpPr/>
                <p:nvPr/>
              </p:nvSpPr>
              <p:spPr bwMode="gray">
                <a:xfrm>
                  <a:off x="6146892" y="3502466"/>
                  <a:ext cx="22706" cy="34832"/>
                </a:xfrm>
                <a:custGeom>
                  <a:avLst/>
                  <a:gdLst>
                    <a:gd name="connsiteX0" fmla="*/ 7115 w 22706"/>
                    <a:gd name="connsiteY0" fmla="*/ 34832 h 34832"/>
                    <a:gd name="connsiteX1" fmla="*/ 4448 w 22706"/>
                    <a:gd name="connsiteY1" fmla="*/ 34261 h 34832"/>
                    <a:gd name="connsiteX2" fmla="*/ 542 w 22706"/>
                    <a:gd name="connsiteY2" fmla="*/ 24926 h 34832"/>
                    <a:gd name="connsiteX3" fmla="*/ 8924 w 22706"/>
                    <a:gd name="connsiteY3" fmla="*/ 4448 h 34832"/>
                    <a:gd name="connsiteX4" fmla="*/ 18259 w 22706"/>
                    <a:gd name="connsiteY4" fmla="*/ 542 h 34832"/>
                    <a:gd name="connsiteX5" fmla="*/ 22164 w 22706"/>
                    <a:gd name="connsiteY5" fmla="*/ 9877 h 34832"/>
                    <a:gd name="connsiteX6" fmla="*/ 13782 w 22706"/>
                    <a:gd name="connsiteY6" fmla="*/ 30356 h 34832"/>
                    <a:gd name="connsiteX7" fmla="*/ 7115 w 22706"/>
                    <a:gd name="connsiteY7" fmla="*/ 34832 h 348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2706" h="34832">
                      <a:moveTo>
                        <a:pt x="7115" y="34832"/>
                      </a:moveTo>
                      <a:cubicBezTo>
                        <a:pt x="6257" y="34832"/>
                        <a:pt x="5305" y="34642"/>
                        <a:pt x="4448" y="34261"/>
                      </a:cubicBezTo>
                      <a:cubicBezTo>
                        <a:pt x="828" y="32737"/>
                        <a:pt x="-982" y="28641"/>
                        <a:pt x="542" y="24926"/>
                      </a:cubicBezTo>
                      <a:lnTo>
                        <a:pt x="8924" y="4448"/>
                      </a:lnTo>
                      <a:cubicBezTo>
                        <a:pt x="10448" y="828"/>
                        <a:pt x="14544" y="-982"/>
                        <a:pt x="18259" y="542"/>
                      </a:cubicBezTo>
                      <a:cubicBezTo>
                        <a:pt x="21878" y="2066"/>
                        <a:pt x="23688" y="6162"/>
                        <a:pt x="22164" y="9877"/>
                      </a:cubicBezTo>
                      <a:lnTo>
                        <a:pt x="13782" y="30356"/>
                      </a:lnTo>
                      <a:cubicBezTo>
                        <a:pt x="12639" y="33118"/>
                        <a:pt x="9972" y="34832"/>
                        <a:pt x="7115" y="348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59" name="Grafik 29">
                <a:extLst>
                  <a:ext uri="{FF2B5EF4-FFF2-40B4-BE49-F238E27FC236}">
                    <a16:creationId xmlns:a16="http://schemas.microsoft.com/office/drawing/2014/main" id="{CA9B2F49-306B-084C-66A9-2E4477A392A5}"/>
                  </a:ext>
                </a:extLst>
              </p:cNvPr>
              <p:cNvGrpSpPr/>
              <p:nvPr/>
            </p:nvGrpSpPr>
            <p:grpSpPr bwMode="gray">
              <a:xfrm>
                <a:off x="6076048" y="3567829"/>
                <a:ext cx="93550" cy="53384"/>
                <a:chOff x="6076048" y="3567829"/>
                <a:chExt cx="93550" cy="53384"/>
              </a:xfrm>
              <a:grpFill/>
            </p:grpSpPr>
            <p:sp>
              <p:nvSpPr>
                <p:cNvPr id="564" name="Grafik 29">
                  <a:extLst>
                    <a:ext uri="{FF2B5EF4-FFF2-40B4-BE49-F238E27FC236}">
                      <a16:creationId xmlns:a16="http://schemas.microsoft.com/office/drawing/2014/main" id="{4E46396B-3986-D36C-D870-7B7FDFC4C49B}"/>
                    </a:ext>
                  </a:extLst>
                </p:cNvPr>
                <p:cNvSpPr/>
                <p:nvPr/>
              </p:nvSpPr>
              <p:spPr bwMode="gray">
                <a:xfrm>
                  <a:off x="6076048" y="3567829"/>
                  <a:ext cx="85337" cy="40334"/>
                </a:xfrm>
                <a:custGeom>
                  <a:avLst/>
                  <a:gdLst>
                    <a:gd name="connsiteX0" fmla="*/ 78244 w 85337"/>
                    <a:gd name="connsiteY0" fmla="*/ 40335 h 40334"/>
                    <a:gd name="connsiteX1" fmla="*/ 75768 w 85337"/>
                    <a:gd name="connsiteY1" fmla="*/ 39859 h 40334"/>
                    <a:gd name="connsiteX2" fmla="*/ 4711 w 85337"/>
                    <a:gd name="connsiteY2" fmla="*/ 13855 h 40334"/>
                    <a:gd name="connsiteX3" fmla="*/ 425 w 85337"/>
                    <a:gd name="connsiteY3" fmla="*/ 4711 h 40334"/>
                    <a:gd name="connsiteX4" fmla="*/ 9569 w 85337"/>
                    <a:gd name="connsiteY4" fmla="*/ 425 h 40334"/>
                    <a:gd name="connsiteX5" fmla="*/ 80626 w 85337"/>
                    <a:gd name="connsiteY5" fmla="*/ 26428 h 40334"/>
                    <a:gd name="connsiteX6" fmla="*/ 84912 w 85337"/>
                    <a:gd name="connsiteY6" fmla="*/ 35572 h 40334"/>
                    <a:gd name="connsiteX7" fmla="*/ 78244 w 85337"/>
                    <a:gd name="connsiteY7" fmla="*/ 40335 h 403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5337" h="40334">
                      <a:moveTo>
                        <a:pt x="78244" y="40335"/>
                      </a:moveTo>
                      <a:cubicBezTo>
                        <a:pt x="77387" y="40335"/>
                        <a:pt x="76625" y="40240"/>
                        <a:pt x="75768" y="39859"/>
                      </a:cubicBezTo>
                      <a:lnTo>
                        <a:pt x="4711" y="13855"/>
                      </a:lnTo>
                      <a:cubicBezTo>
                        <a:pt x="997" y="12522"/>
                        <a:pt x="-908" y="8426"/>
                        <a:pt x="425" y="4711"/>
                      </a:cubicBezTo>
                      <a:cubicBezTo>
                        <a:pt x="1759" y="997"/>
                        <a:pt x="5854" y="-908"/>
                        <a:pt x="9569" y="425"/>
                      </a:cubicBezTo>
                      <a:lnTo>
                        <a:pt x="80626" y="26428"/>
                      </a:lnTo>
                      <a:cubicBezTo>
                        <a:pt x="84340" y="27762"/>
                        <a:pt x="86245" y="31858"/>
                        <a:pt x="84912" y="35572"/>
                      </a:cubicBezTo>
                      <a:cubicBezTo>
                        <a:pt x="83864" y="38525"/>
                        <a:pt x="81102" y="40335"/>
                        <a:pt x="78244" y="4033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65" name="Grafik 29">
                  <a:extLst>
                    <a:ext uri="{FF2B5EF4-FFF2-40B4-BE49-F238E27FC236}">
                      <a16:creationId xmlns:a16="http://schemas.microsoft.com/office/drawing/2014/main" id="{144281C2-1156-02AE-21AA-4E601E214CD3}"/>
                    </a:ext>
                  </a:extLst>
                </p:cNvPr>
                <p:cNvSpPr/>
                <p:nvPr/>
              </p:nvSpPr>
              <p:spPr bwMode="gray">
                <a:xfrm>
                  <a:off x="6135674" y="3596786"/>
                  <a:ext cx="33901" cy="24427"/>
                </a:xfrm>
                <a:custGeom>
                  <a:avLst/>
                  <a:gdLst>
                    <a:gd name="connsiteX0" fmla="*/ 7188 w 33901"/>
                    <a:gd name="connsiteY0" fmla="*/ 24428 h 24427"/>
                    <a:gd name="connsiteX1" fmla="*/ 806 w 33901"/>
                    <a:gd name="connsiteY1" fmla="*/ 20618 h 24427"/>
                    <a:gd name="connsiteX2" fmla="*/ 3854 w 33901"/>
                    <a:gd name="connsiteY2" fmla="*/ 10998 h 24427"/>
                    <a:gd name="connsiteX3" fmla="*/ 23475 w 33901"/>
                    <a:gd name="connsiteY3" fmla="*/ 806 h 24427"/>
                    <a:gd name="connsiteX4" fmla="*/ 33096 w 33901"/>
                    <a:gd name="connsiteY4" fmla="*/ 3854 h 24427"/>
                    <a:gd name="connsiteX5" fmla="*/ 30048 w 33901"/>
                    <a:gd name="connsiteY5" fmla="*/ 13474 h 24427"/>
                    <a:gd name="connsiteX6" fmla="*/ 10426 w 33901"/>
                    <a:gd name="connsiteY6" fmla="*/ 23666 h 24427"/>
                    <a:gd name="connsiteX7" fmla="*/ 7188 w 33901"/>
                    <a:gd name="connsiteY7" fmla="*/ 24428 h 244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01" h="24427">
                      <a:moveTo>
                        <a:pt x="7188" y="24428"/>
                      </a:moveTo>
                      <a:cubicBezTo>
                        <a:pt x="4616" y="24428"/>
                        <a:pt x="2139" y="22999"/>
                        <a:pt x="806" y="20618"/>
                      </a:cubicBezTo>
                      <a:cubicBezTo>
                        <a:pt x="-1004" y="17094"/>
                        <a:pt x="330" y="12807"/>
                        <a:pt x="3854" y="10998"/>
                      </a:cubicBezTo>
                      <a:lnTo>
                        <a:pt x="23475" y="806"/>
                      </a:lnTo>
                      <a:cubicBezTo>
                        <a:pt x="27000" y="-1004"/>
                        <a:pt x="31286" y="330"/>
                        <a:pt x="33096" y="3854"/>
                      </a:cubicBezTo>
                      <a:cubicBezTo>
                        <a:pt x="34905" y="7378"/>
                        <a:pt x="33572" y="11664"/>
                        <a:pt x="30048" y="13474"/>
                      </a:cubicBezTo>
                      <a:lnTo>
                        <a:pt x="10426" y="23666"/>
                      </a:lnTo>
                      <a:cubicBezTo>
                        <a:pt x="9378" y="24142"/>
                        <a:pt x="8331" y="24428"/>
                        <a:pt x="7188" y="2442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66" name="Grafik 29">
                  <a:extLst>
                    <a:ext uri="{FF2B5EF4-FFF2-40B4-BE49-F238E27FC236}">
                      <a16:creationId xmlns:a16="http://schemas.microsoft.com/office/drawing/2014/main" id="{1B82104D-93CD-8C3C-6CB2-DBAD905EDBF9}"/>
                    </a:ext>
                  </a:extLst>
                </p:cNvPr>
                <p:cNvSpPr/>
                <p:nvPr/>
              </p:nvSpPr>
              <p:spPr bwMode="gray">
                <a:xfrm>
                  <a:off x="6146892" y="3576380"/>
                  <a:ext cx="22706" cy="34832"/>
                </a:xfrm>
                <a:custGeom>
                  <a:avLst/>
                  <a:gdLst>
                    <a:gd name="connsiteX0" fmla="*/ 15497 w 22706"/>
                    <a:gd name="connsiteY0" fmla="*/ 34832 h 34832"/>
                    <a:gd name="connsiteX1" fmla="*/ 8924 w 22706"/>
                    <a:gd name="connsiteY1" fmla="*/ 30356 h 34832"/>
                    <a:gd name="connsiteX2" fmla="*/ 542 w 22706"/>
                    <a:gd name="connsiteY2" fmla="*/ 9877 h 34832"/>
                    <a:gd name="connsiteX3" fmla="*/ 4448 w 22706"/>
                    <a:gd name="connsiteY3" fmla="*/ 542 h 34832"/>
                    <a:gd name="connsiteX4" fmla="*/ 13782 w 22706"/>
                    <a:gd name="connsiteY4" fmla="*/ 4448 h 34832"/>
                    <a:gd name="connsiteX5" fmla="*/ 22164 w 22706"/>
                    <a:gd name="connsiteY5" fmla="*/ 24926 h 34832"/>
                    <a:gd name="connsiteX6" fmla="*/ 18259 w 22706"/>
                    <a:gd name="connsiteY6" fmla="*/ 34261 h 34832"/>
                    <a:gd name="connsiteX7" fmla="*/ 15497 w 22706"/>
                    <a:gd name="connsiteY7" fmla="*/ 34832 h 348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2706" h="34832">
                      <a:moveTo>
                        <a:pt x="15497" y="34832"/>
                      </a:moveTo>
                      <a:cubicBezTo>
                        <a:pt x="12639" y="34832"/>
                        <a:pt x="9972" y="33118"/>
                        <a:pt x="8924" y="30356"/>
                      </a:cubicBezTo>
                      <a:lnTo>
                        <a:pt x="542" y="9877"/>
                      </a:lnTo>
                      <a:cubicBezTo>
                        <a:pt x="-982" y="6257"/>
                        <a:pt x="828" y="2066"/>
                        <a:pt x="4448" y="542"/>
                      </a:cubicBezTo>
                      <a:cubicBezTo>
                        <a:pt x="8162" y="-982"/>
                        <a:pt x="12258" y="828"/>
                        <a:pt x="13782" y="4448"/>
                      </a:cubicBezTo>
                      <a:lnTo>
                        <a:pt x="22164" y="24926"/>
                      </a:lnTo>
                      <a:cubicBezTo>
                        <a:pt x="23688" y="28546"/>
                        <a:pt x="21878" y="32737"/>
                        <a:pt x="18259" y="34261"/>
                      </a:cubicBezTo>
                      <a:cubicBezTo>
                        <a:pt x="17306" y="34642"/>
                        <a:pt x="16449" y="34832"/>
                        <a:pt x="15497" y="348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60" name="Grafik 29">
                <a:extLst>
                  <a:ext uri="{FF2B5EF4-FFF2-40B4-BE49-F238E27FC236}">
                    <a16:creationId xmlns:a16="http://schemas.microsoft.com/office/drawing/2014/main" id="{59260D1C-02F0-BE50-C761-A86A341E15CB}"/>
                  </a:ext>
                </a:extLst>
              </p:cNvPr>
              <p:cNvGrpSpPr/>
              <p:nvPr/>
            </p:nvGrpSpPr>
            <p:grpSpPr bwMode="gray">
              <a:xfrm>
                <a:off x="6075996" y="3535036"/>
                <a:ext cx="92273" cy="43600"/>
                <a:chOff x="6075996" y="3535036"/>
                <a:chExt cx="92273" cy="43600"/>
              </a:xfrm>
              <a:grpFill/>
            </p:grpSpPr>
            <p:sp>
              <p:nvSpPr>
                <p:cNvPr id="561" name="Grafik 29">
                  <a:extLst>
                    <a:ext uri="{FF2B5EF4-FFF2-40B4-BE49-F238E27FC236}">
                      <a16:creationId xmlns:a16="http://schemas.microsoft.com/office/drawing/2014/main" id="{95A532CC-D2C2-FED5-F31E-29DC32DA40A8}"/>
                    </a:ext>
                  </a:extLst>
                </p:cNvPr>
                <p:cNvSpPr/>
                <p:nvPr/>
              </p:nvSpPr>
              <p:spPr bwMode="gray">
                <a:xfrm>
                  <a:off x="6075996" y="3549585"/>
                  <a:ext cx="83629" cy="14287"/>
                </a:xfrm>
                <a:custGeom>
                  <a:avLst/>
                  <a:gdLst>
                    <a:gd name="connsiteX0" fmla="*/ 76486 w 83629"/>
                    <a:gd name="connsiteY0" fmla="*/ 14288 h 14287"/>
                    <a:gd name="connsiteX1" fmla="*/ 7144 w 83629"/>
                    <a:gd name="connsiteY1" fmla="*/ 14288 h 14287"/>
                    <a:gd name="connsiteX2" fmla="*/ 0 w 83629"/>
                    <a:gd name="connsiteY2" fmla="*/ 7144 h 14287"/>
                    <a:gd name="connsiteX3" fmla="*/ 7144 w 83629"/>
                    <a:gd name="connsiteY3" fmla="*/ 0 h 14287"/>
                    <a:gd name="connsiteX4" fmla="*/ 76486 w 83629"/>
                    <a:gd name="connsiteY4" fmla="*/ 0 h 14287"/>
                    <a:gd name="connsiteX5" fmla="*/ 83630 w 83629"/>
                    <a:gd name="connsiteY5" fmla="*/ 7144 h 14287"/>
                    <a:gd name="connsiteX6" fmla="*/ 76486 w 8362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3629" h="14287">
                      <a:moveTo>
                        <a:pt x="7648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6486" y="0"/>
                      </a:lnTo>
                      <a:cubicBezTo>
                        <a:pt x="80391" y="0"/>
                        <a:pt x="83630" y="3239"/>
                        <a:pt x="83630" y="7144"/>
                      </a:cubicBezTo>
                      <a:cubicBezTo>
                        <a:pt x="83630" y="11049"/>
                        <a:pt x="80486" y="14288"/>
                        <a:pt x="7648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62" name="Grafik 29">
                  <a:extLst>
                    <a:ext uri="{FF2B5EF4-FFF2-40B4-BE49-F238E27FC236}">
                      <a16:creationId xmlns:a16="http://schemas.microsoft.com/office/drawing/2014/main" id="{494D93ED-06E1-8FAC-7B78-7F377F7337CE}"/>
                    </a:ext>
                  </a:extLst>
                </p:cNvPr>
                <p:cNvSpPr/>
                <p:nvPr/>
              </p:nvSpPr>
              <p:spPr bwMode="gray">
                <a:xfrm>
                  <a:off x="6139266" y="3535036"/>
                  <a:ext cx="29003" cy="29027"/>
                </a:xfrm>
                <a:custGeom>
                  <a:avLst/>
                  <a:gdLst>
                    <a:gd name="connsiteX0" fmla="*/ 21884 w 29003"/>
                    <a:gd name="connsiteY0" fmla="*/ 29027 h 29027"/>
                    <a:gd name="connsiteX1" fmla="*/ 16835 w 29003"/>
                    <a:gd name="connsiteY1" fmla="*/ 26932 h 29027"/>
                    <a:gd name="connsiteX2" fmla="*/ 2072 w 29003"/>
                    <a:gd name="connsiteY2" fmla="*/ 12168 h 29027"/>
                    <a:gd name="connsiteX3" fmla="*/ 2072 w 29003"/>
                    <a:gd name="connsiteY3" fmla="*/ 2072 h 29027"/>
                    <a:gd name="connsiteX4" fmla="*/ 12168 w 29003"/>
                    <a:gd name="connsiteY4" fmla="*/ 2072 h 29027"/>
                    <a:gd name="connsiteX5" fmla="*/ 26932 w 29003"/>
                    <a:gd name="connsiteY5" fmla="*/ 16835 h 29027"/>
                    <a:gd name="connsiteX6" fmla="*/ 26932 w 29003"/>
                    <a:gd name="connsiteY6" fmla="*/ 26932 h 29027"/>
                    <a:gd name="connsiteX7" fmla="*/ 21884 w 29003"/>
                    <a:gd name="connsiteY7" fmla="*/ 29027 h 290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9003" h="29027">
                      <a:moveTo>
                        <a:pt x="21884" y="29027"/>
                      </a:moveTo>
                      <a:cubicBezTo>
                        <a:pt x="20074" y="29027"/>
                        <a:pt x="18264" y="28361"/>
                        <a:pt x="16835" y="26932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6932" y="16835"/>
                      </a:lnTo>
                      <a:cubicBezTo>
                        <a:pt x="29694" y="19598"/>
                        <a:pt x="29694" y="24170"/>
                        <a:pt x="26932" y="26932"/>
                      </a:cubicBezTo>
                      <a:cubicBezTo>
                        <a:pt x="25503" y="28361"/>
                        <a:pt x="23693" y="29027"/>
                        <a:pt x="21884" y="2902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63" name="Grafik 29">
                  <a:extLst>
                    <a:ext uri="{FF2B5EF4-FFF2-40B4-BE49-F238E27FC236}">
                      <a16:creationId xmlns:a16="http://schemas.microsoft.com/office/drawing/2014/main" id="{B4256B03-B2E2-AB10-AEF7-1C25DC12A27C}"/>
                    </a:ext>
                  </a:extLst>
                </p:cNvPr>
                <p:cNvSpPr/>
                <p:nvPr/>
              </p:nvSpPr>
              <p:spPr bwMode="gray">
                <a:xfrm>
                  <a:off x="6139266" y="3549609"/>
                  <a:ext cx="29003" cy="29027"/>
                </a:xfrm>
                <a:custGeom>
                  <a:avLst/>
                  <a:gdLst>
                    <a:gd name="connsiteX0" fmla="*/ 7120 w 29003"/>
                    <a:gd name="connsiteY0" fmla="*/ 29027 h 29027"/>
                    <a:gd name="connsiteX1" fmla="*/ 2072 w 29003"/>
                    <a:gd name="connsiteY1" fmla="*/ 26932 h 29027"/>
                    <a:gd name="connsiteX2" fmla="*/ 2072 w 29003"/>
                    <a:gd name="connsiteY2" fmla="*/ 16835 h 29027"/>
                    <a:gd name="connsiteX3" fmla="*/ 16835 w 29003"/>
                    <a:gd name="connsiteY3" fmla="*/ 2072 h 29027"/>
                    <a:gd name="connsiteX4" fmla="*/ 26932 w 29003"/>
                    <a:gd name="connsiteY4" fmla="*/ 2072 h 29027"/>
                    <a:gd name="connsiteX5" fmla="*/ 26932 w 29003"/>
                    <a:gd name="connsiteY5" fmla="*/ 12168 h 29027"/>
                    <a:gd name="connsiteX6" fmla="*/ 12168 w 29003"/>
                    <a:gd name="connsiteY6" fmla="*/ 26932 h 29027"/>
                    <a:gd name="connsiteX7" fmla="*/ 7120 w 29003"/>
                    <a:gd name="connsiteY7" fmla="*/ 29027 h 290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9003" h="29027">
                      <a:moveTo>
                        <a:pt x="7120" y="29027"/>
                      </a:moveTo>
                      <a:cubicBezTo>
                        <a:pt x="5310" y="29027"/>
                        <a:pt x="3500" y="28361"/>
                        <a:pt x="2072" y="26932"/>
                      </a:cubicBezTo>
                      <a:cubicBezTo>
                        <a:pt x="-691" y="24170"/>
                        <a:pt x="-691" y="19598"/>
                        <a:pt x="2072" y="16835"/>
                      </a:cubicBezTo>
                      <a:lnTo>
                        <a:pt x="16835" y="2072"/>
                      </a:lnTo>
                      <a:cubicBezTo>
                        <a:pt x="19598" y="-691"/>
                        <a:pt x="24170" y="-691"/>
                        <a:pt x="26932" y="2072"/>
                      </a:cubicBezTo>
                      <a:cubicBezTo>
                        <a:pt x="29694" y="4834"/>
                        <a:pt x="29694" y="9406"/>
                        <a:pt x="26932" y="12168"/>
                      </a:cubicBezTo>
                      <a:lnTo>
                        <a:pt x="12168" y="26932"/>
                      </a:lnTo>
                      <a:cubicBezTo>
                        <a:pt x="10739" y="28361"/>
                        <a:pt x="8930" y="29027"/>
                        <a:pt x="7120" y="2902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grpSp>
          <p:nvGrpSpPr>
            <p:cNvPr id="517" name="Grafik 29">
              <a:extLst>
                <a:ext uri="{FF2B5EF4-FFF2-40B4-BE49-F238E27FC236}">
                  <a16:creationId xmlns:a16="http://schemas.microsoft.com/office/drawing/2014/main" id="{91F47510-434A-E89C-0643-437C0E225F4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52" name="Grafik 29">
                <a:extLst>
                  <a:ext uri="{FF2B5EF4-FFF2-40B4-BE49-F238E27FC236}">
                    <a16:creationId xmlns:a16="http://schemas.microsoft.com/office/drawing/2014/main" id="{38AEE085-A97A-61DA-409E-E77CFAB2632C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3" name="Grafik 29">
                <a:extLst>
                  <a:ext uri="{FF2B5EF4-FFF2-40B4-BE49-F238E27FC236}">
                    <a16:creationId xmlns:a16="http://schemas.microsoft.com/office/drawing/2014/main" id="{771E45AC-E014-7ED8-C18D-E8FD2043607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4" name="Grafik 29">
                <a:extLst>
                  <a:ext uri="{FF2B5EF4-FFF2-40B4-BE49-F238E27FC236}">
                    <a16:creationId xmlns:a16="http://schemas.microsoft.com/office/drawing/2014/main" id="{EB4985C6-8FEA-5D39-E779-7E021EECF2D3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5" name="Grafik 29">
                <a:extLst>
                  <a:ext uri="{FF2B5EF4-FFF2-40B4-BE49-F238E27FC236}">
                    <a16:creationId xmlns:a16="http://schemas.microsoft.com/office/drawing/2014/main" id="{4853E291-97F6-6ADE-3A0F-434BE050F767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6" name="Grafik 29">
                <a:extLst>
                  <a:ext uri="{FF2B5EF4-FFF2-40B4-BE49-F238E27FC236}">
                    <a16:creationId xmlns:a16="http://schemas.microsoft.com/office/drawing/2014/main" id="{AA7F8CDE-9AAA-5B3F-A73E-35070D042CB7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18" name="Grafik 29">
              <a:extLst>
                <a:ext uri="{FF2B5EF4-FFF2-40B4-BE49-F238E27FC236}">
                  <a16:creationId xmlns:a16="http://schemas.microsoft.com/office/drawing/2014/main" id="{21DC36FC-6934-DDAE-A22F-3B9D2E1787F4}"/>
                </a:ext>
              </a:extLst>
            </p:cNvPr>
            <p:cNvGrpSpPr/>
            <p:nvPr/>
          </p:nvGrpSpPr>
          <p:grpSpPr bwMode="gray">
            <a:xfrm>
              <a:off x="5969340" y="3299197"/>
              <a:ext cx="183975" cy="181046"/>
              <a:chOff x="5969340" y="3299197"/>
              <a:chExt cx="183975" cy="181046"/>
            </a:xfrm>
            <a:grpFill/>
          </p:grpSpPr>
          <p:grpSp>
            <p:nvGrpSpPr>
              <p:cNvPr id="519" name="Grafik 29">
                <a:extLst>
                  <a:ext uri="{FF2B5EF4-FFF2-40B4-BE49-F238E27FC236}">
                    <a16:creationId xmlns:a16="http://schemas.microsoft.com/office/drawing/2014/main" id="{93CC8091-9CC3-EF9F-F518-600A87FD9CD7}"/>
                  </a:ext>
                </a:extLst>
              </p:cNvPr>
              <p:cNvGrpSpPr/>
              <p:nvPr/>
            </p:nvGrpSpPr>
            <p:grpSpPr bwMode="gray">
              <a:xfrm>
                <a:off x="6064114" y="3325081"/>
                <a:ext cx="63984" cy="63436"/>
                <a:chOff x="6064114" y="3325081"/>
                <a:chExt cx="63984" cy="63436"/>
              </a:xfrm>
              <a:grpFill/>
            </p:grpSpPr>
            <p:sp>
              <p:nvSpPr>
                <p:cNvPr id="549" name="Grafik 29">
                  <a:extLst>
                    <a:ext uri="{FF2B5EF4-FFF2-40B4-BE49-F238E27FC236}">
                      <a16:creationId xmlns:a16="http://schemas.microsoft.com/office/drawing/2014/main" id="{2FE4BAD9-D3DF-2370-9A73-5E734AEF7408}"/>
                    </a:ext>
                  </a:extLst>
                </p:cNvPr>
                <p:cNvSpPr/>
                <p:nvPr/>
              </p:nvSpPr>
              <p:spPr bwMode="gray">
                <a:xfrm>
                  <a:off x="6064114" y="3325105"/>
                  <a:ext cx="63388" cy="63412"/>
                </a:xfrm>
                <a:custGeom>
                  <a:avLst/>
                  <a:gdLst>
                    <a:gd name="connsiteX0" fmla="*/ 7120 w 63388"/>
                    <a:gd name="connsiteY0" fmla="*/ 63413 h 63412"/>
                    <a:gd name="connsiteX1" fmla="*/ 2072 w 63388"/>
                    <a:gd name="connsiteY1" fmla="*/ 61317 h 63412"/>
                    <a:gd name="connsiteX2" fmla="*/ 2072 w 63388"/>
                    <a:gd name="connsiteY2" fmla="*/ 51221 h 63412"/>
                    <a:gd name="connsiteX3" fmla="*/ 51221 w 63388"/>
                    <a:gd name="connsiteY3" fmla="*/ 2072 h 63412"/>
                    <a:gd name="connsiteX4" fmla="*/ 61317 w 63388"/>
                    <a:gd name="connsiteY4" fmla="*/ 2072 h 63412"/>
                    <a:gd name="connsiteX5" fmla="*/ 61317 w 63388"/>
                    <a:gd name="connsiteY5" fmla="*/ 12168 h 63412"/>
                    <a:gd name="connsiteX6" fmla="*/ 12168 w 63388"/>
                    <a:gd name="connsiteY6" fmla="*/ 61317 h 63412"/>
                    <a:gd name="connsiteX7" fmla="*/ 7120 w 63388"/>
                    <a:gd name="connsiteY7" fmla="*/ 63413 h 634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3388" h="63412">
                      <a:moveTo>
                        <a:pt x="7120" y="63413"/>
                      </a:moveTo>
                      <a:cubicBezTo>
                        <a:pt x="5310" y="63413"/>
                        <a:pt x="3500" y="62746"/>
                        <a:pt x="2072" y="61317"/>
                      </a:cubicBezTo>
                      <a:cubicBezTo>
                        <a:pt x="-691" y="58555"/>
                        <a:pt x="-691" y="53983"/>
                        <a:pt x="2072" y="51221"/>
                      </a:cubicBezTo>
                      <a:lnTo>
                        <a:pt x="51221" y="2072"/>
                      </a:lnTo>
                      <a:cubicBezTo>
                        <a:pt x="53983" y="-691"/>
                        <a:pt x="58555" y="-691"/>
                        <a:pt x="61317" y="2072"/>
                      </a:cubicBezTo>
                      <a:cubicBezTo>
                        <a:pt x="64079" y="4834"/>
                        <a:pt x="64079" y="9406"/>
                        <a:pt x="61317" y="12168"/>
                      </a:cubicBezTo>
                      <a:lnTo>
                        <a:pt x="12168" y="61317"/>
                      </a:lnTo>
                      <a:cubicBezTo>
                        <a:pt x="10835" y="62746"/>
                        <a:pt x="8930" y="63413"/>
                        <a:pt x="7120" y="6341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50" name="Grafik 29">
                  <a:extLst>
                    <a:ext uri="{FF2B5EF4-FFF2-40B4-BE49-F238E27FC236}">
                      <a16:creationId xmlns:a16="http://schemas.microsoft.com/office/drawing/2014/main" id="{3B620F66-F082-A693-25C3-3179F8AD8973}"/>
                    </a:ext>
                  </a:extLst>
                </p:cNvPr>
                <p:cNvSpPr/>
                <p:nvPr/>
              </p:nvSpPr>
              <p:spPr bwMode="gray">
                <a:xfrm>
                  <a:off x="6095142" y="3325081"/>
                  <a:ext cx="32289" cy="14287"/>
                </a:xfrm>
                <a:custGeom>
                  <a:avLst/>
                  <a:gdLst>
                    <a:gd name="connsiteX0" fmla="*/ 25146 w 32289"/>
                    <a:gd name="connsiteY0" fmla="*/ 14288 h 14287"/>
                    <a:gd name="connsiteX1" fmla="*/ 7144 w 32289"/>
                    <a:gd name="connsiteY1" fmla="*/ 14288 h 14287"/>
                    <a:gd name="connsiteX2" fmla="*/ 0 w 32289"/>
                    <a:gd name="connsiteY2" fmla="*/ 7144 h 14287"/>
                    <a:gd name="connsiteX3" fmla="*/ 7144 w 32289"/>
                    <a:gd name="connsiteY3" fmla="*/ 0 h 14287"/>
                    <a:gd name="connsiteX4" fmla="*/ 25146 w 32289"/>
                    <a:gd name="connsiteY4" fmla="*/ 0 h 14287"/>
                    <a:gd name="connsiteX5" fmla="*/ 32290 w 32289"/>
                    <a:gd name="connsiteY5" fmla="*/ 7144 h 14287"/>
                    <a:gd name="connsiteX6" fmla="*/ 25146 w 3228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2289" h="14287">
                      <a:moveTo>
                        <a:pt x="2514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25146" y="0"/>
                      </a:lnTo>
                      <a:cubicBezTo>
                        <a:pt x="29051" y="0"/>
                        <a:pt x="32290" y="3239"/>
                        <a:pt x="32290" y="7144"/>
                      </a:cubicBezTo>
                      <a:cubicBezTo>
                        <a:pt x="32290" y="11049"/>
                        <a:pt x="29051" y="14288"/>
                        <a:pt x="2514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51" name="Grafik 29">
                  <a:extLst>
                    <a:ext uri="{FF2B5EF4-FFF2-40B4-BE49-F238E27FC236}">
                      <a16:creationId xmlns:a16="http://schemas.microsoft.com/office/drawing/2014/main" id="{4D45811F-3BFB-C9F1-E9C4-898838A6A361}"/>
                    </a:ext>
                  </a:extLst>
                </p:cNvPr>
                <p:cNvSpPr/>
                <p:nvPr/>
              </p:nvSpPr>
              <p:spPr bwMode="gray">
                <a:xfrm>
                  <a:off x="6113811" y="3325081"/>
                  <a:ext cx="14287" cy="32289"/>
                </a:xfrm>
                <a:custGeom>
                  <a:avLst/>
                  <a:gdLst>
                    <a:gd name="connsiteX0" fmla="*/ 7144 w 14287"/>
                    <a:gd name="connsiteY0" fmla="*/ 32290 h 32289"/>
                    <a:gd name="connsiteX1" fmla="*/ 0 w 14287"/>
                    <a:gd name="connsiteY1" fmla="*/ 25146 h 32289"/>
                    <a:gd name="connsiteX2" fmla="*/ 0 w 14287"/>
                    <a:gd name="connsiteY2" fmla="*/ 7144 h 32289"/>
                    <a:gd name="connsiteX3" fmla="*/ 7144 w 14287"/>
                    <a:gd name="connsiteY3" fmla="*/ 0 h 32289"/>
                    <a:gd name="connsiteX4" fmla="*/ 14288 w 14287"/>
                    <a:gd name="connsiteY4" fmla="*/ 7144 h 32289"/>
                    <a:gd name="connsiteX5" fmla="*/ 14288 w 14287"/>
                    <a:gd name="connsiteY5" fmla="*/ 25146 h 32289"/>
                    <a:gd name="connsiteX6" fmla="*/ 7144 w 14287"/>
                    <a:gd name="connsiteY6" fmla="*/ 32290 h 322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2289">
                      <a:moveTo>
                        <a:pt x="7144" y="32290"/>
                      </a:moveTo>
                      <a:cubicBezTo>
                        <a:pt x="3238" y="32290"/>
                        <a:pt x="0" y="29051"/>
                        <a:pt x="0" y="25146"/>
                      </a:cubicBezTo>
                      <a:lnTo>
                        <a:pt x="0" y="7144"/>
                      </a:lnTo>
                      <a:cubicBezTo>
                        <a:pt x="0" y="3239"/>
                        <a:pt x="3238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5146"/>
                      </a:lnTo>
                      <a:cubicBezTo>
                        <a:pt x="14288" y="29051"/>
                        <a:pt x="11049" y="32290"/>
                        <a:pt x="7144" y="3229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0" name="Grafik 29">
                <a:extLst>
                  <a:ext uri="{FF2B5EF4-FFF2-40B4-BE49-F238E27FC236}">
                    <a16:creationId xmlns:a16="http://schemas.microsoft.com/office/drawing/2014/main" id="{680DE06D-4362-7DA1-C671-DD20A3886459}"/>
                  </a:ext>
                </a:extLst>
              </p:cNvPr>
              <p:cNvGrpSpPr/>
              <p:nvPr/>
            </p:nvGrpSpPr>
            <p:grpSpPr bwMode="gray">
              <a:xfrm>
                <a:off x="5994558" y="3325081"/>
                <a:ext cx="63984" cy="63436"/>
                <a:chOff x="5994558" y="3325081"/>
                <a:chExt cx="63984" cy="63436"/>
              </a:xfrm>
              <a:grpFill/>
            </p:grpSpPr>
            <p:sp>
              <p:nvSpPr>
                <p:cNvPr id="546" name="Grafik 29">
                  <a:extLst>
                    <a:ext uri="{FF2B5EF4-FFF2-40B4-BE49-F238E27FC236}">
                      <a16:creationId xmlns:a16="http://schemas.microsoft.com/office/drawing/2014/main" id="{494BB5BA-D692-72A5-3386-55E473F413B4}"/>
                    </a:ext>
                  </a:extLst>
                </p:cNvPr>
                <p:cNvSpPr/>
                <p:nvPr/>
              </p:nvSpPr>
              <p:spPr bwMode="gray">
                <a:xfrm>
                  <a:off x="5995153" y="3325105"/>
                  <a:ext cx="63388" cy="63412"/>
                </a:xfrm>
                <a:custGeom>
                  <a:avLst/>
                  <a:gdLst>
                    <a:gd name="connsiteX0" fmla="*/ 56269 w 63388"/>
                    <a:gd name="connsiteY0" fmla="*/ 63413 h 63412"/>
                    <a:gd name="connsiteX1" fmla="*/ 51221 w 63388"/>
                    <a:gd name="connsiteY1" fmla="*/ 61317 h 63412"/>
                    <a:gd name="connsiteX2" fmla="*/ 2072 w 63388"/>
                    <a:gd name="connsiteY2" fmla="*/ 12168 h 63412"/>
                    <a:gd name="connsiteX3" fmla="*/ 2072 w 63388"/>
                    <a:gd name="connsiteY3" fmla="*/ 2072 h 63412"/>
                    <a:gd name="connsiteX4" fmla="*/ 12168 w 63388"/>
                    <a:gd name="connsiteY4" fmla="*/ 2072 h 63412"/>
                    <a:gd name="connsiteX5" fmla="*/ 61317 w 63388"/>
                    <a:gd name="connsiteY5" fmla="*/ 51221 h 63412"/>
                    <a:gd name="connsiteX6" fmla="*/ 61317 w 63388"/>
                    <a:gd name="connsiteY6" fmla="*/ 61317 h 63412"/>
                    <a:gd name="connsiteX7" fmla="*/ 56269 w 63388"/>
                    <a:gd name="connsiteY7" fmla="*/ 63413 h 634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3388" h="63412">
                      <a:moveTo>
                        <a:pt x="56269" y="63413"/>
                      </a:moveTo>
                      <a:cubicBezTo>
                        <a:pt x="54459" y="63413"/>
                        <a:pt x="52649" y="62746"/>
                        <a:pt x="51221" y="61317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61317" y="51221"/>
                      </a:lnTo>
                      <a:cubicBezTo>
                        <a:pt x="64079" y="53983"/>
                        <a:pt x="64079" y="58555"/>
                        <a:pt x="61317" y="61317"/>
                      </a:cubicBezTo>
                      <a:cubicBezTo>
                        <a:pt x="59888" y="62746"/>
                        <a:pt x="58079" y="63413"/>
                        <a:pt x="56269" y="6341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47" name="Grafik 29">
                  <a:extLst>
                    <a:ext uri="{FF2B5EF4-FFF2-40B4-BE49-F238E27FC236}">
                      <a16:creationId xmlns:a16="http://schemas.microsoft.com/office/drawing/2014/main" id="{C0C3D734-D08B-DF85-07CB-4B48ADD51EB8}"/>
                    </a:ext>
                  </a:extLst>
                </p:cNvPr>
                <p:cNvSpPr/>
                <p:nvPr/>
              </p:nvSpPr>
              <p:spPr bwMode="gray">
                <a:xfrm>
                  <a:off x="5995225" y="3325081"/>
                  <a:ext cx="32289" cy="14287"/>
                </a:xfrm>
                <a:custGeom>
                  <a:avLst/>
                  <a:gdLst>
                    <a:gd name="connsiteX0" fmla="*/ 25146 w 32289"/>
                    <a:gd name="connsiteY0" fmla="*/ 14288 h 14287"/>
                    <a:gd name="connsiteX1" fmla="*/ 7144 w 32289"/>
                    <a:gd name="connsiteY1" fmla="*/ 14288 h 14287"/>
                    <a:gd name="connsiteX2" fmla="*/ 0 w 32289"/>
                    <a:gd name="connsiteY2" fmla="*/ 7144 h 14287"/>
                    <a:gd name="connsiteX3" fmla="*/ 7144 w 32289"/>
                    <a:gd name="connsiteY3" fmla="*/ 0 h 14287"/>
                    <a:gd name="connsiteX4" fmla="*/ 25146 w 32289"/>
                    <a:gd name="connsiteY4" fmla="*/ 0 h 14287"/>
                    <a:gd name="connsiteX5" fmla="*/ 32290 w 32289"/>
                    <a:gd name="connsiteY5" fmla="*/ 7144 h 14287"/>
                    <a:gd name="connsiteX6" fmla="*/ 25146 w 3228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2289" h="14287">
                      <a:moveTo>
                        <a:pt x="2514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25146" y="0"/>
                      </a:lnTo>
                      <a:cubicBezTo>
                        <a:pt x="29051" y="0"/>
                        <a:pt x="32290" y="3239"/>
                        <a:pt x="32290" y="7144"/>
                      </a:cubicBezTo>
                      <a:cubicBezTo>
                        <a:pt x="32290" y="11049"/>
                        <a:pt x="29146" y="14288"/>
                        <a:pt x="2514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48" name="Grafik 29">
                  <a:extLst>
                    <a:ext uri="{FF2B5EF4-FFF2-40B4-BE49-F238E27FC236}">
                      <a16:creationId xmlns:a16="http://schemas.microsoft.com/office/drawing/2014/main" id="{14BC4F5A-BA6A-1B4B-7B61-C8C6BA0CC0EC}"/>
                    </a:ext>
                  </a:extLst>
                </p:cNvPr>
                <p:cNvSpPr/>
                <p:nvPr/>
              </p:nvSpPr>
              <p:spPr bwMode="gray">
                <a:xfrm>
                  <a:off x="5994558" y="3325081"/>
                  <a:ext cx="14287" cy="32289"/>
                </a:xfrm>
                <a:custGeom>
                  <a:avLst/>
                  <a:gdLst>
                    <a:gd name="connsiteX0" fmla="*/ 7144 w 14287"/>
                    <a:gd name="connsiteY0" fmla="*/ 32290 h 32289"/>
                    <a:gd name="connsiteX1" fmla="*/ 0 w 14287"/>
                    <a:gd name="connsiteY1" fmla="*/ 25146 h 32289"/>
                    <a:gd name="connsiteX2" fmla="*/ 0 w 14287"/>
                    <a:gd name="connsiteY2" fmla="*/ 7144 h 32289"/>
                    <a:gd name="connsiteX3" fmla="*/ 7144 w 14287"/>
                    <a:gd name="connsiteY3" fmla="*/ 0 h 32289"/>
                    <a:gd name="connsiteX4" fmla="*/ 14288 w 14287"/>
                    <a:gd name="connsiteY4" fmla="*/ 7144 h 32289"/>
                    <a:gd name="connsiteX5" fmla="*/ 14288 w 14287"/>
                    <a:gd name="connsiteY5" fmla="*/ 25146 h 32289"/>
                    <a:gd name="connsiteX6" fmla="*/ 7144 w 14287"/>
                    <a:gd name="connsiteY6" fmla="*/ 32290 h 322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2289">
                      <a:moveTo>
                        <a:pt x="7144" y="32290"/>
                      </a:moveTo>
                      <a:cubicBezTo>
                        <a:pt x="3239" y="32290"/>
                        <a:pt x="0" y="29051"/>
                        <a:pt x="0" y="2514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5146"/>
                      </a:lnTo>
                      <a:cubicBezTo>
                        <a:pt x="14288" y="29051"/>
                        <a:pt x="11049" y="32290"/>
                        <a:pt x="7144" y="3229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1" name="Grafik 29">
                <a:extLst>
                  <a:ext uri="{FF2B5EF4-FFF2-40B4-BE49-F238E27FC236}">
                    <a16:creationId xmlns:a16="http://schemas.microsoft.com/office/drawing/2014/main" id="{D36D042C-5637-EDAB-E33A-872C45852AB4}"/>
                  </a:ext>
                </a:extLst>
              </p:cNvPr>
              <p:cNvGrpSpPr/>
              <p:nvPr/>
            </p:nvGrpSpPr>
            <p:grpSpPr bwMode="gray">
              <a:xfrm>
                <a:off x="6064114" y="3390828"/>
                <a:ext cx="63984" cy="63412"/>
                <a:chOff x="6064114" y="3390828"/>
                <a:chExt cx="63984" cy="63412"/>
              </a:xfrm>
              <a:grpFill/>
            </p:grpSpPr>
            <p:sp>
              <p:nvSpPr>
                <p:cNvPr id="543" name="Grafik 29">
                  <a:extLst>
                    <a:ext uri="{FF2B5EF4-FFF2-40B4-BE49-F238E27FC236}">
                      <a16:creationId xmlns:a16="http://schemas.microsoft.com/office/drawing/2014/main" id="{0E88EB87-EAE9-7695-81E4-91F17B31873C}"/>
                    </a:ext>
                  </a:extLst>
                </p:cNvPr>
                <p:cNvSpPr/>
                <p:nvPr/>
              </p:nvSpPr>
              <p:spPr bwMode="gray">
                <a:xfrm>
                  <a:off x="6064114" y="3390828"/>
                  <a:ext cx="63388" cy="63412"/>
                </a:xfrm>
                <a:custGeom>
                  <a:avLst/>
                  <a:gdLst>
                    <a:gd name="connsiteX0" fmla="*/ 56269 w 63388"/>
                    <a:gd name="connsiteY0" fmla="*/ 63413 h 63412"/>
                    <a:gd name="connsiteX1" fmla="*/ 51221 w 63388"/>
                    <a:gd name="connsiteY1" fmla="*/ 61317 h 63412"/>
                    <a:gd name="connsiteX2" fmla="*/ 2072 w 63388"/>
                    <a:gd name="connsiteY2" fmla="*/ 12168 h 63412"/>
                    <a:gd name="connsiteX3" fmla="*/ 2072 w 63388"/>
                    <a:gd name="connsiteY3" fmla="*/ 2072 h 63412"/>
                    <a:gd name="connsiteX4" fmla="*/ 12168 w 63388"/>
                    <a:gd name="connsiteY4" fmla="*/ 2072 h 63412"/>
                    <a:gd name="connsiteX5" fmla="*/ 61317 w 63388"/>
                    <a:gd name="connsiteY5" fmla="*/ 51221 h 63412"/>
                    <a:gd name="connsiteX6" fmla="*/ 61317 w 63388"/>
                    <a:gd name="connsiteY6" fmla="*/ 61317 h 63412"/>
                    <a:gd name="connsiteX7" fmla="*/ 56269 w 63388"/>
                    <a:gd name="connsiteY7" fmla="*/ 63413 h 634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3388" h="63412">
                      <a:moveTo>
                        <a:pt x="56269" y="63413"/>
                      </a:moveTo>
                      <a:cubicBezTo>
                        <a:pt x="54459" y="63413"/>
                        <a:pt x="52649" y="62746"/>
                        <a:pt x="51221" y="61317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61317" y="51221"/>
                      </a:lnTo>
                      <a:cubicBezTo>
                        <a:pt x="64079" y="53983"/>
                        <a:pt x="64079" y="58555"/>
                        <a:pt x="61317" y="61317"/>
                      </a:cubicBezTo>
                      <a:cubicBezTo>
                        <a:pt x="59984" y="62746"/>
                        <a:pt x="58174" y="63413"/>
                        <a:pt x="56269" y="6341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44" name="Grafik 29">
                  <a:extLst>
                    <a:ext uri="{FF2B5EF4-FFF2-40B4-BE49-F238E27FC236}">
                      <a16:creationId xmlns:a16="http://schemas.microsoft.com/office/drawing/2014/main" id="{E68CB63D-7B47-7626-F614-BB69C8651C47}"/>
                    </a:ext>
                  </a:extLst>
                </p:cNvPr>
                <p:cNvSpPr/>
                <p:nvPr/>
              </p:nvSpPr>
              <p:spPr bwMode="gray">
                <a:xfrm>
                  <a:off x="6095142" y="3439953"/>
                  <a:ext cx="32289" cy="14287"/>
                </a:xfrm>
                <a:custGeom>
                  <a:avLst/>
                  <a:gdLst>
                    <a:gd name="connsiteX0" fmla="*/ 25146 w 32289"/>
                    <a:gd name="connsiteY0" fmla="*/ 14288 h 14287"/>
                    <a:gd name="connsiteX1" fmla="*/ 7144 w 32289"/>
                    <a:gd name="connsiteY1" fmla="*/ 14288 h 14287"/>
                    <a:gd name="connsiteX2" fmla="*/ 0 w 32289"/>
                    <a:gd name="connsiteY2" fmla="*/ 7144 h 14287"/>
                    <a:gd name="connsiteX3" fmla="*/ 7144 w 32289"/>
                    <a:gd name="connsiteY3" fmla="*/ 0 h 14287"/>
                    <a:gd name="connsiteX4" fmla="*/ 25146 w 32289"/>
                    <a:gd name="connsiteY4" fmla="*/ 0 h 14287"/>
                    <a:gd name="connsiteX5" fmla="*/ 32290 w 32289"/>
                    <a:gd name="connsiteY5" fmla="*/ 7144 h 14287"/>
                    <a:gd name="connsiteX6" fmla="*/ 25146 w 3228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2289" h="14287">
                      <a:moveTo>
                        <a:pt x="2514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25146" y="0"/>
                      </a:lnTo>
                      <a:cubicBezTo>
                        <a:pt x="29051" y="0"/>
                        <a:pt x="32290" y="3239"/>
                        <a:pt x="32290" y="7144"/>
                      </a:cubicBezTo>
                      <a:cubicBezTo>
                        <a:pt x="32290" y="11049"/>
                        <a:pt x="29051" y="14288"/>
                        <a:pt x="2514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45" name="Grafik 29">
                  <a:extLst>
                    <a:ext uri="{FF2B5EF4-FFF2-40B4-BE49-F238E27FC236}">
                      <a16:creationId xmlns:a16="http://schemas.microsoft.com/office/drawing/2014/main" id="{4938BFC1-FF0A-79BE-CEC9-C9CDC28AC62B}"/>
                    </a:ext>
                  </a:extLst>
                </p:cNvPr>
                <p:cNvSpPr/>
                <p:nvPr/>
              </p:nvSpPr>
              <p:spPr bwMode="gray">
                <a:xfrm>
                  <a:off x="6113811" y="3421951"/>
                  <a:ext cx="14287" cy="32289"/>
                </a:xfrm>
                <a:custGeom>
                  <a:avLst/>
                  <a:gdLst>
                    <a:gd name="connsiteX0" fmla="*/ 7144 w 14287"/>
                    <a:gd name="connsiteY0" fmla="*/ 32290 h 32289"/>
                    <a:gd name="connsiteX1" fmla="*/ 0 w 14287"/>
                    <a:gd name="connsiteY1" fmla="*/ 25146 h 32289"/>
                    <a:gd name="connsiteX2" fmla="*/ 0 w 14287"/>
                    <a:gd name="connsiteY2" fmla="*/ 7144 h 32289"/>
                    <a:gd name="connsiteX3" fmla="*/ 7144 w 14287"/>
                    <a:gd name="connsiteY3" fmla="*/ 0 h 32289"/>
                    <a:gd name="connsiteX4" fmla="*/ 14288 w 14287"/>
                    <a:gd name="connsiteY4" fmla="*/ 7144 h 32289"/>
                    <a:gd name="connsiteX5" fmla="*/ 14288 w 14287"/>
                    <a:gd name="connsiteY5" fmla="*/ 25146 h 32289"/>
                    <a:gd name="connsiteX6" fmla="*/ 7144 w 14287"/>
                    <a:gd name="connsiteY6" fmla="*/ 32290 h 322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2289">
                      <a:moveTo>
                        <a:pt x="7144" y="32290"/>
                      </a:moveTo>
                      <a:cubicBezTo>
                        <a:pt x="3238" y="32290"/>
                        <a:pt x="0" y="29051"/>
                        <a:pt x="0" y="25146"/>
                      </a:cubicBezTo>
                      <a:lnTo>
                        <a:pt x="0" y="7144"/>
                      </a:lnTo>
                      <a:cubicBezTo>
                        <a:pt x="0" y="3239"/>
                        <a:pt x="3238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5146"/>
                      </a:lnTo>
                      <a:cubicBezTo>
                        <a:pt x="14288" y="29051"/>
                        <a:pt x="11049" y="32290"/>
                        <a:pt x="7144" y="3229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2" name="Grafik 29">
                <a:extLst>
                  <a:ext uri="{FF2B5EF4-FFF2-40B4-BE49-F238E27FC236}">
                    <a16:creationId xmlns:a16="http://schemas.microsoft.com/office/drawing/2014/main" id="{94E3A644-F343-587C-A039-98F97C1FE517}"/>
                  </a:ext>
                </a:extLst>
              </p:cNvPr>
              <p:cNvGrpSpPr/>
              <p:nvPr/>
            </p:nvGrpSpPr>
            <p:grpSpPr bwMode="gray">
              <a:xfrm>
                <a:off x="6069139" y="3369492"/>
                <a:ext cx="84177" cy="40171"/>
                <a:chOff x="6069139" y="3369492"/>
                <a:chExt cx="84177" cy="40171"/>
              </a:xfrm>
              <a:grpFill/>
            </p:grpSpPr>
            <p:sp>
              <p:nvSpPr>
                <p:cNvPr id="540" name="Grafik 29">
                  <a:extLst>
                    <a:ext uri="{FF2B5EF4-FFF2-40B4-BE49-F238E27FC236}">
                      <a16:creationId xmlns:a16="http://schemas.microsoft.com/office/drawing/2014/main" id="{B48FB009-338A-B780-440F-EA04DB21D8EA}"/>
                    </a:ext>
                  </a:extLst>
                </p:cNvPr>
                <p:cNvSpPr/>
                <p:nvPr/>
              </p:nvSpPr>
              <p:spPr bwMode="gray">
                <a:xfrm>
                  <a:off x="6069139" y="3382517"/>
                  <a:ext cx="83819" cy="14287"/>
                </a:xfrm>
                <a:custGeom>
                  <a:avLst/>
                  <a:gdLst>
                    <a:gd name="connsiteX0" fmla="*/ 76676 w 83819"/>
                    <a:gd name="connsiteY0" fmla="*/ 14288 h 14287"/>
                    <a:gd name="connsiteX1" fmla="*/ 7144 w 83819"/>
                    <a:gd name="connsiteY1" fmla="*/ 14288 h 14287"/>
                    <a:gd name="connsiteX2" fmla="*/ 0 w 83819"/>
                    <a:gd name="connsiteY2" fmla="*/ 7144 h 14287"/>
                    <a:gd name="connsiteX3" fmla="*/ 7144 w 83819"/>
                    <a:gd name="connsiteY3" fmla="*/ 0 h 14287"/>
                    <a:gd name="connsiteX4" fmla="*/ 76676 w 83819"/>
                    <a:gd name="connsiteY4" fmla="*/ 0 h 14287"/>
                    <a:gd name="connsiteX5" fmla="*/ 83820 w 83819"/>
                    <a:gd name="connsiteY5" fmla="*/ 7144 h 14287"/>
                    <a:gd name="connsiteX6" fmla="*/ 76676 w 8381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3819" h="14287">
                      <a:moveTo>
                        <a:pt x="7667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6676" y="0"/>
                      </a:lnTo>
                      <a:cubicBezTo>
                        <a:pt x="80581" y="0"/>
                        <a:pt x="83820" y="3238"/>
                        <a:pt x="83820" y="7144"/>
                      </a:cubicBezTo>
                      <a:cubicBezTo>
                        <a:pt x="83820" y="11049"/>
                        <a:pt x="80677" y="14288"/>
                        <a:pt x="7667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41" name="Grafik 29">
                  <a:extLst>
                    <a:ext uri="{FF2B5EF4-FFF2-40B4-BE49-F238E27FC236}">
                      <a16:creationId xmlns:a16="http://schemas.microsoft.com/office/drawing/2014/main" id="{D903DBFD-0DF0-9DF9-87B7-3862F7E59733}"/>
                    </a:ext>
                  </a:extLst>
                </p:cNvPr>
                <p:cNvSpPr/>
                <p:nvPr/>
              </p:nvSpPr>
              <p:spPr bwMode="gray">
                <a:xfrm>
                  <a:off x="6125931" y="3382731"/>
                  <a:ext cx="26908" cy="26931"/>
                </a:xfrm>
                <a:custGeom>
                  <a:avLst/>
                  <a:gdLst>
                    <a:gd name="connsiteX0" fmla="*/ 7120 w 26908"/>
                    <a:gd name="connsiteY0" fmla="*/ 26932 h 26931"/>
                    <a:gd name="connsiteX1" fmla="*/ 2072 w 26908"/>
                    <a:gd name="connsiteY1" fmla="*/ 24836 h 26931"/>
                    <a:gd name="connsiteX2" fmla="*/ 2072 w 26908"/>
                    <a:gd name="connsiteY2" fmla="*/ 14740 h 26931"/>
                    <a:gd name="connsiteX3" fmla="*/ 14740 w 26908"/>
                    <a:gd name="connsiteY3" fmla="*/ 2072 h 26931"/>
                    <a:gd name="connsiteX4" fmla="*/ 24836 w 26908"/>
                    <a:gd name="connsiteY4" fmla="*/ 2072 h 26931"/>
                    <a:gd name="connsiteX5" fmla="*/ 24836 w 26908"/>
                    <a:gd name="connsiteY5" fmla="*/ 12168 h 26931"/>
                    <a:gd name="connsiteX6" fmla="*/ 12168 w 26908"/>
                    <a:gd name="connsiteY6" fmla="*/ 24836 h 26931"/>
                    <a:gd name="connsiteX7" fmla="*/ 7120 w 26908"/>
                    <a:gd name="connsiteY7" fmla="*/ 26932 h 26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908" h="26931">
                      <a:moveTo>
                        <a:pt x="7120" y="26932"/>
                      </a:moveTo>
                      <a:cubicBezTo>
                        <a:pt x="5310" y="26932"/>
                        <a:pt x="3500" y="26265"/>
                        <a:pt x="2072" y="24836"/>
                      </a:cubicBezTo>
                      <a:cubicBezTo>
                        <a:pt x="-691" y="22074"/>
                        <a:pt x="-691" y="17502"/>
                        <a:pt x="2072" y="14740"/>
                      </a:cubicBezTo>
                      <a:lnTo>
                        <a:pt x="14740" y="2072"/>
                      </a:lnTo>
                      <a:cubicBezTo>
                        <a:pt x="17502" y="-691"/>
                        <a:pt x="22074" y="-691"/>
                        <a:pt x="24836" y="2072"/>
                      </a:cubicBezTo>
                      <a:cubicBezTo>
                        <a:pt x="27599" y="4834"/>
                        <a:pt x="27599" y="9406"/>
                        <a:pt x="24836" y="12168"/>
                      </a:cubicBezTo>
                      <a:lnTo>
                        <a:pt x="12168" y="24836"/>
                      </a:lnTo>
                      <a:cubicBezTo>
                        <a:pt x="10739" y="26265"/>
                        <a:pt x="8930" y="26932"/>
                        <a:pt x="7120" y="269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42" name="Grafik 29">
                  <a:extLst>
                    <a:ext uri="{FF2B5EF4-FFF2-40B4-BE49-F238E27FC236}">
                      <a16:creationId xmlns:a16="http://schemas.microsoft.com/office/drawing/2014/main" id="{B1FA1429-DCE1-4B2C-9EBB-39C597487890}"/>
                    </a:ext>
                  </a:extLst>
                </p:cNvPr>
                <p:cNvSpPr/>
                <p:nvPr/>
              </p:nvSpPr>
              <p:spPr bwMode="gray">
                <a:xfrm>
                  <a:off x="6126408" y="3369492"/>
                  <a:ext cx="26908" cy="26931"/>
                </a:xfrm>
                <a:custGeom>
                  <a:avLst/>
                  <a:gdLst>
                    <a:gd name="connsiteX0" fmla="*/ 19788 w 26908"/>
                    <a:gd name="connsiteY0" fmla="*/ 26932 h 26931"/>
                    <a:gd name="connsiteX1" fmla="*/ 14740 w 26908"/>
                    <a:gd name="connsiteY1" fmla="*/ 24836 h 26931"/>
                    <a:gd name="connsiteX2" fmla="*/ 2072 w 26908"/>
                    <a:gd name="connsiteY2" fmla="*/ 12168 h 26931"/>
                    <a:gd name="connsiteX3" fmla="*/ 2072 w 26908"/>
                    <a:gd name="connsiteY3" fmla="*/ 2072 h 26931"/>
                    <a:gd name="connsiteX4" fmla="*/ 12168 w 26908"/>
                    <a:gd name="connsiteY4" fmla="*/ 2072 h 26931"/>
                    <a:gd name="connsiteX5" fmla="*/ 24836 w 26908"/>
                    <a:gd name="connsiteY5" fmla="*/ 14740 h 26931"/>
                    <a:gd name="connsiteX6" fmla="*/ 24836 w 26908"/>
                    <a:gd name="connsiteY6" fmla="*/ 24836 h 26931"/>
                    <a:gd name="connsiteX7" fmla="*/ 19788 w 26908"/>
                    <a:gd name="connsiteY7" fmla="*/ 26932 h 26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908" h="26931">
                      <a:moveTo>
                        <a:pt x="19788" y="26932"/>
                      </a:moveTo>
                      <a:cubicBezTo>
                        <a:pt x="17978" y="26932"/>
                        <a:pt x="16169" y="26265"/>
                        <a:pt x="14740" y="24836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4836" y="14740"/>
                      </a:lnTo>
                      <a:cubicBezTo>
                        <a:pt x="27599" y="17502"/>
                        <a:pt x="27599" y="22074"/>
                        <a:pt x="24836" y="24836"/>
                      </a:cubicBezTo>
                      <a:cubicBezTo>
                        <a:pt x="23503" y="26265"/>
                        <a:pt x="21598" y="26932"/>
                        <a:pt x="19788" y="269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3" name="Grafik 29">
                <a:extLst>
                  <a:ext uri="{FF2B5EF4-FFF2-40B4-BE49-F238E27FC236}">
                    <a16:creationId xmlns:a16="http://schemas.microsoft.com/office/drawing/2014/main" id="{9938BA8B-1D50-4857-A8BC-DF757E616B90}"/>
                  </a:ext>
                </a:extLst>
              </p:cNvPr>
              <p:cNvGrpSpPr/>
              <p:nvPr/>
            </p:nvGrpSpPr>
            <p:grpSpPr bwMode="gray">
              <a:xfrm>
                <a:off x="5969340" y="3369492"/>
                <a:ext cx="84177" cy="40171"/>
                <a:chOff x="5969340" y="3369492"/>
                <a:chExt cx="84177" cy="40171"/>
              </a:xfrm>
              <a:grpFill/>
            </p:grpSpPr>
            <p:sp>
              <p:nvSpPr>
                <p:cNvPr id="537" name="Grafik 29">
                  <a:extLst>
                    <a:ext uri="{FF2B5EF4-FFF2-40B4-BE49-F238E27FC236}">
                      <a16:creationId xmlns:a16="http://schemas.microsoft.com/office/drawing/2014/main" id="{1AA28672-2951-C7A9-BF0F-F50D1272EF84}"/>
                    </a:ext>
                  </a:extLst>
                </p:cNvPr>
                <p:cNvSpPr/>
                <p:nvPr/>
              </p:nvSpPr>
              <p:spPr bwMode="gray">
                <a:xfrm>
                  <a:off x="5969697" y="3382517"/>
                  <a:ext cx="83820" cy="14287"/>
                </a:xfrm>
                <a:custGeom>
                  <a:avLst/>
                  <a:gdLst>
                    <a:gd name="connsiteX0" fmla="*/ 76676 w 83820"/>
                    <a:gd name="connsiteY0" fmla="*/ 14288 h 14287"/>
                    <a:gd name="connsiteX1" fmla="*/ 7144 w 83820"/>
                    <a:gd name="connsiteY1" fmla="*/ 14288 h 14287"/>
                    <a:gd name="connsiteX2" fmla="*/ 0 w 83820"/>
                    <a:gd name="connsiteY2" fmla="*/ 7144 h 14287"/>
                    <a:gd name="connsiteX3" fmla="*/ 7144 w 83820"/>
                    <a:gd name="connsiteY3" fmla="*/ 0 h 14287"/>
                    <a:gd name="connsiteX4" fmla="*/ 76676 w 83820"/>
                    <a:gd name="connsiteY4" fmla="*/ 0 h 14287"/>
                    <a:gd name="connsiteX5" fmla="*/ 83820 w 83820"/>
                    <a:gd name="connsiteY5" fmla="*/ 7144 h 14287"/>
                    <a:gd name="connsiteX6" fmla="*/ 76676 w 8382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3820" h="14287">
                      <a:moveTo>
                        <a:pt x="7667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6676" y="0"/>
                      </a:lnTo>
                      <a:cubicBezTo>
                        <a:pt x="80582" y="0"/>
                        <a:pt x="83820" y="3238"/>
                        <a:pt x="83820" y="7144"/>
                      </a:cubicBezTo>
                      <a:cubicBezTo>
                        <a:pt x="83820" y="11049"/>
                        <a:pt x="80582" y="14288"/>
                        <a:pt x="7667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8" name="Grafik 29">
                  <a:extLst>
                    <a:ext uri="{FF2B5EF4-FFF2-40B4-BE49-F238E27FC236}">
                      <a16:creationId xmlns:a16="http://schemas.microsoft.com/office/drawing/2014/main" id="{AB855BF5-42E0-8A10-C60F-E96DC7F39ECD}"/>
                    </a:ext>
                  </a:extLst>
                </p:cNvPr>
                <p:cNvSpPr/>
                <p:nvPr/>
              </p:nvSpPr>
              <p:spPr bwMode="gray">
                <a:xfrm>
                  <a:off x="5969817" y="3382731"/>
                  <a:ext cx="26908" cy="26931"/>
                </a:xfrm>
                <a:custGeom>
                  <a:avLst/>
                  <a:gdLst>
                    <a:gd name="connsiteX0" fmla="*/ 19788 w 26908"/>
                    <a:gd name="connsiteY0" fmla="*/ 26932 h 26931"/>
                    <a:gd name="connsiteX1" fmla="*/ 14740 w 26908"/>
                    <a:gd name="connsiteY1" fmla="*/ 24836 h 26931"/>
                    <a:gd name="connsiteX2" fmla="*/ 2072 w 26908"/>
                    <a:gd name="connsiteY2" fmla="*/ 12168 h 26931"/>
                    <a:gd name="connsiteX3" fmla="*/ 2072 w 26908"/>
                    <a:gd name="connsiteY3" fmla="*/ 2072 h 26931"/>
                    <a:gd name="connsiteX4" fmla="*/ 12168 w 26908"/>
                    <a:gd name="connsiteY4" fmla="*/ 2072 h 26931"/>
                    <a:gd name="connsiteX5" fmla="*/ 24836 w 26908"/>
                    <a:gd name="connsiteY5" fmla="*/ 14740 h 26931"/>
                    <a:gd name="connsiteX6" fmla="*/ 24836 w 26908"/>
                    <a:gd name="connsiteY6" fmla="*/ 24836 h 26931"/>
                    <a:gd name="connsiteX7" fmla="*/ 19788 w 26908"/>
                    <a:gd name="connsiteY7" fmla="*/ 26932 h 26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908" h="26931">
                      <a:moveTo>
                        <a:pt x="19788" y="26932"/>
                      </a:moveTo>
                      <a:cubicBezTo>
                        <a:pt x="17978" y="26932"/>
                        <a:pt x="16169" y="26265"/>
                        <a:pt x="14740" y="24836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4836" y="14740"/>
                      </a:lnTo>
                      <a:cubicBezTo>
                        <a:pt x="27599" y="17502"/>
                        <a:pt x="27599" y="22074"/>
                        <a:pt x="24836" y="24836"/>
                      </a:cubicBezTo>
                      <a:cubicBezTo>
                        <a:pt x="23503" y="26265"/>
                        <a:pt x="21693" y="26932"/>
                        <a:pt x="19788" y="269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9" name="Grafik 29">
                  <a:extLst>
                    <a:ext uri="{FF2B5EF4-FFF2-40B4-BE49-F238E27FC236}">
                      <a16:creationId xmlns:a16="http://schemas.microsoft.com/office/drawing/2014/main" id="{D763E15A-633B-0C55-280A-A96429C1344C}"/>
                    </a:ext>
                  </a:extLst>
                </p:cNvPr>
                <p:cNvSpPr/>
                <p:nvPr/>
              </p:nvSpPr>
              <p:spPr bwMode="gray">
                <a:xfrm>
                  <a:off x="5969340" y="3369492"/>
                  <a:ext cx="26908" cy="26931"/>
                </a:xfrm>
                <a:custGeom>
                  <a:avLst/>
                  <a:gdLst>
                    <a:gd name="connsiteX0" fmla="*/ 7120 w 26908"/>
                    <a:gd name="connsiteY0" fmla="*/ 26932 h 26931"/>
                    <a:gd name="connsiteX1" fmla="*/ 2072 w 26908"/>
                    <a:gd name="connsiteY1" fmla="*/ 24836 h 26931"/>
                    <a:gd name="connsiteX2" fmla="*/ 2072 w 26908"/>
                    <a:gd name="connsiteY2" fmla="*/ 14740 h 26931"/>
                    <a:gd name="connsiteX3" fmla="*/ 14740 w 26908"/>
                    <a:gd name="connsiteY3" fmla="*/ 2072 h 26931"/>
                    <a:gd name="connsiteX4" fmla="*/ 24836 w 26908"/>
                    <a:gd name="connsiteY4" fmla="*/ 2072 h 26931"/>
                    <a:gd name="connsiteX5" fmla="*/ 24836 w 26908"/>
                    <a:gd name="connsiteY5" fmla="*/ 12168 h 26931"/>
                    <a:gd name="connsiteX6" fmla="*/ 12168 w 26908"/>
                    <a:gd name="connsiteY6" fmla="*/ 24836 h 26931"/>
                    <a:gd name="connsiteX7" fmla="*/ 7120 w 26908"/>
                    <a:gd name="connsiteY7" fmla="*/ 26932 h 26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908" h="26931">
                      <a:moveTo>
                        <a:pt x="7120" y="26932"/>
                      </a:moveTo>
                      <a:cubicBezTo>
                        <a:pt x="5310" y="26932"/>
                        <a:pt x="3500" y="26265"/>
                        <a:pt x="2072" y="24836"/>
                      </a:cubicBezTo>
                      <a:cubicBezTo>
                        <a:pt x="-691" y="22074"/>
                        <a:pt x="-691" y="17502"/>
                        <a:pt x="2072" y="14740"/>
                      </a:cubicBezTo>
                      <a:lnTo>
                        <a:pt x="14740" y="2072"/>
                      </a:lnTo>
                      <a:cubicBezTo>
                        <a:pt x="17502" y="-691"/>
                        <a:pt x="22074" y="-691"/>
                        <a:pt x="24836" y="2072"/>
                      </a:cubicBezTo>
                      <a:cubicBezTo>
                        <a:pt x="27599" y="4834"/>
                        <a:pt x="27599" y="9406"/>
                        <a:pt x="24836" y="12168"/>
                      </a:cubicBezTo>
                      <a:lnTo>
                        <a:pt x="12168" y="24836"/>
                      </a:lnTo>
                      <a:cubicBezTo>
                        <a:pt x="10739" y="26265"/>
                        <a:pt x="8930" y="26932"/>
                        <a:pt x="7120" y="269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4" name="Grafik 29">
                <a:extLst>
                  <a:ext uri="{FF2B5EF4-FFF2-40B4-BE49-F238E27FC236}">
                    <a16:creationId xmlns:a16="http://schemas.microsoft.com/office/drawing/2014/main" id="{671EAE71-77B6-A562-C9B4-D52F6E3A51B8}"/>
                  </a:ext>
                </a:extLst>
              </p:cNvPr>
              <p:cNvGrpSpPr/>
              <p:nvPr/>
            </p:nvGrpSpPr>
            <p:grpSpPr bwMode="gray">
              <a:xfrm>
                <a:off x="6039825" y="3396043"/>
                <a:ext cx="40052" cy="84200"/>
                <a:chOff x="6039825" y="3396043"/>
                <a:chExt cx="40052" cy="84200"/>
              </a:xfrm>
              <a:grpFill/>
            </p:grpSpPr>
            <p:sp>
              <p:nvSpPr>
                <p:cNvPr id="534" name="Grafik 29">
                  <a:extLst>
                    <a:ext uri="{FF2B5EF4-FFF2-40B4-BE49-F238E27FC236}">
                      <a16:creationId xmlns:a16="http://schemas.microsoft.com/office/drawing/2014/main" id="{6F6E338E-B446-49B5-2111-DD3BC85AFE4C}"/>
                    </a:ext>
                  </a:extLst>
                </p:cNvPr>
                <p:cNvSpPr/>
                <p:nvPr/>
              </p:nvSpPr>
              <p:spPr bwMode="gray">
                <a:xfrm>
                  <a:off x="6052755" y="3396043"/>
                  <a:ext cx="14287" cy="83819"/>
                </a:xfrm>
                <a:custGeom>
                  <a:avLst/>
                  <a:gdLst>
                    <a:gd name="connsiteX0" fmla="*/ 7144 w 14287"/>
                    <a:gd name="connsiteY0" fmla="*/ 83820 h 83819"/>
                    <a:gd name="connsiteX1" fmla="*/ 0 w 14287"/>
                    <a:gd name="connsiteY1" fmla="*/ 76676 h 83819"/>
                    <a:gd name="connsiteX2" fmla="*/ 0 w 14287"/>
                    <a:gd name="connsiteY2" fmla="*/ 7144 h 83819"/>
                    <a:gd name="connsiteX3" fmla="*/ 7144 w 14287"/>
                    <a:gd name="connsiteY3" fmla="*/ 0 h 83819"/>
                    <a:gd name="connsiteX4" fmla="*/ 14288 w 14287"/>
                    <a:gd name="connsiteY4" fmla="*/ 7144 h 83819"/>
                    <a:gd name="connsiteX5" fmla="*/ 14288 w 14287"/>
                    <a:gd name="connsiteY5" fmla="*/ 76676 h 83819"/>
                    <a:gd name="connsiteX6" fmla="*/ 7144 w 14287"/>
                    <a:gd name="connsiteY6" fmla="*/ 83820 h 838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83819">
                      <a:moveTo>
                        <a:pt x="7144" y="83820"/>
                      </a:moveTo>
                      <a:cubicBezTo>
                        <a:pt x="3239" y="83820"/>
                        <a:pt x="0" y="80581"/>
                        <a:pt x="0" y="76676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76676"/>
                      </a:lnTo>
                      <a:cubicBezTo>
                        <a:pt x="14288" y="80581"/>
                        <a:pt x="11144" y="83820"/>
                        <a:pt x="7144" y="8382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5" name="Grafik 29">
                  <a:extLst>
                    <a:ext uri="{FF2B5EF4-FFF2-40B4-BE49-F238E27FC236}">
                      <a16:creationId xmlns:a16="http://schemas.microsoft.com/office/drawing/2014/main" id="{99EC2B58-5702-52B9-7C58-B6C5F17ACF2B}"/>
                    </a:ext>
                  </a:extLst>
                </p:cNvPr>
                <p:cNvSpPr/>
                <p:nvPr/>
              </p:nvSpPr>
              <p:spPr bwMode="gray">
                <a:xfrm>
                  <a:off x="6052970" y="3452835"/>
                  <a:ext cx="26908" cy="26931"/>
                </a:xfrm>
                <a:custGeom>
                  <a:avLst/>
                  <a:gdLst>
                    <a:gd name="connsiteX0" fmla="*/ 7120 w 26908"/>
                    <a:gd name="connsiteY0" fmla="*/ 26932 h 26931"/>
                    <a:gd name="connsiteX1" fmla="*/ 2072 w 26908"/>
                    <a:gd name="connsiteY1" fmla="*/ 24836 h 26931"/>
                    <a:gd name="connsiteX2" fmla="*/ 2072 w 26908"/>
                    <a:gd name="connsiteY2" fmla="*/ 14740 h 26931"/>
                    <a:gd name="connsiteX3" fmla="*/ 14740 w 26908"/>
                    <a:gd name="connsiteY3" fmla="*/ 2072 h 26931"/>
                    <a:gd name="connsiteX4" fmla="*/ 24836 w 26908"/>
                    <a:gd name="connsiteY4" fmla="*/ 2072 h 26931"/>
                    <a:gd name="connsiteX5" fmla="*/ 24836 w 26908"/>
                    <a:gd name="connsiteY5" fmla="*/ 12168 h 26931"/>
                    <a:gd name="connsiteX6" fmla="*/ 12168 w 26908"/>
                    <a:gd name="connsiteY6" fmla="*/ 24836 h 26931"/>
                    <a:gd name="connsiteX7" fmla="*/ 7120 w 26908"/>
                    <a:gd name="connsiteY7" fmla="*/ 26932 h 26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908" h="26931">
                      <a:moveTo>
                        <a:pt x="7120" y="26932"/>
                      </a:moveTo>
                      <a:cubicBezTo>
                        <a:pt x="5310" y="26932"/>
                        <a:pt x="3500" y="26265"/>
                        <a:pt x="2072" y="24836"/>
                      </a:cubicBezTo>
                      <a:cubicBezTo>
                        <a:pt x="-691" y="22074"/>
                        <a:pt x="-691" y="17502"/>
                        <a:pt x="2072" y="14740"/>
                      </a:cubicBezTo>
                      <a:lnTo>
                        <a:pt x="14740" y="2072"/>
                      </a:lnTo>
                      <a:cubicBezTo>
                        <a:pt x="17502" y="-691"/>
                        <a:pt x="22074" y="-691"/>
                        <a:pt x="24836" y="2072"/>
                      </a:cubicBezTo>
                      <a:cubicBezTo>
                        <a:pt x="27599" y="4834"/>
                        <a:pt x="27599" y="9406"/>
                        <a:pt x="24836" y="12168"/>
                      </a:cubicBezTo>
                      <a:lnTo>
                        <a:pt x="12168" y="24836"/>
                      </a:lnTo>
                      <a:cubicBezTo>
                        <a:pt x="10739" y="26170"/>
                        <a:pt x="8930" y="26932"/>
                        <a:pt x="7120" y="269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6" name="Grafik 29">
                  <a:extLst>
                    <a:ext uri="{FF2B5EF4-FFF2-40B4-BE49-F238E27FC236}">
                      <a16:creationId xmlns:a16="http://schemas.microsoft.com/office/drawing/2014/main" id="{5E1CFBB0-8096-283D-D1F1-0DBE68FE0424}"/>
                    </a:ext>
                  </a:extLst>
                </p:cNvPr>
                <p:cNvSpPr/>
                <p:nvPr/>
              </p:nvSpPr>
              <p:spPr bwMode="gray">
                <a:xfrm>
                  <a:off x="6039825" y="3453312"/>
                  <a:ext cx="26908" cy="26931"/>
                </a:xfrm>
                <a:custGeom>
                  <a:avLst/>
                  <a:gdLst>
                    <a:gd name="connsiteX0" fmla="*/ 19788 w 26908"/>
                    <a:gd name="connsiteY0" fmla="*/ 26932 h 26931"/>
                    <a:gd name="connsiteX1" fmla="*/ 14740 w 26908"/>
                    <a:gd name="connsiteY1" fmla="*/ 24836 h 26931"/>
                    <a:gd name="connsiteX2" fmla="*/ 2072 w 26908"/>
                    <a:gd name="connsiteY2" fmla="*/ 12168 h 26931"/>
                    <a:gd name="connsiteX3" fmla="*/ 2072 w 26908"/>
                    <a:gd name="connsiteY3" fmla="*/ 2072 h 26931"/>
                    <a:gd name="connsiteX4" fmla="*/ 12168 w 26908"/>
                    <a:gd name="connsiteY4" fmla="*/ 2072 h 26931"/>
                    <a:gd name="connsiteX5" fmla="*/ 24836 w 26908"/>
                    <a:gd name="connsiteY5" fmla="*/ 14740 h 26931"/>
                    <a:gd name="connsiteX6" fmla="*/ 24836 w 26908"/>
                    <a:gd name="connsiteY6" fmla="*/ 24836 h 26931"/>
                    <a:gd name="connsiteX7" fmla="*/ 19788 w 26908"/>
                    <a:gd name="connsiteY7" fmla="*/ 26932 h 26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908" h="26931">
                      <a:moveTo>
                        <a:pt x="19788" y="26932"/>
                      </a:moveTo>
                      <a:cubicBezTo>
                        <a:pt x="17978" y="26932"/>
                        <a:pt x="16169" y="26265"/>
                        <a:pt x="14740" y="24836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4836" y="14740"/>
                      </a:lnTo>
                      <a:cubicBezTo>
                        <a:pt x="27599" y="17502"/>
                        <a:pt x="27599" y="22074"/>
                        <a:pt x="24836" y="24836"/>
                      </a:cubicBezTo>
                      <a:cubicBezTo>
                        <a:pt x="23408" y="26170"/>
                        <a:pt x="21598" y="26932"/>
                        <a:pt x="19788" y="269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5" name="Grafik 29">
                <a:extLst>
                  <a:ext uri="{FF2B5EF4-FFF2-40B4-BE49-F238E27FC236}">
                    <a16:creationId xmlns:a16="http://schemas.microsoft.com/office/drawing/2014/main" id="{616BE693-32BC-D960-2D9D-0B4C762E0922}"/>
                  </a:ext>
                </a:extLst>
              </p:cNvPr>
              <p:cNvGrpSpPr/>
              <p:nvPr/>
            </p:nvGrpSpPr>
            <p:grpSpPr bwMode="gray">
              <a:xfrm>
                <a:off x="6039730" y="3299197"/>
                <a:ext cx="40147" cy="84081"/>
                <a:chOff x="6039730" y="3299197"/>
                <a:chExt cx="40147" cy="84081"/>
              </a:xfrm>
              <a:grpFill/>
            </p:grpSpPr>
            <p:sp>
              <p:nvSpPr>
                <p:cNvPr id="531" name="Grafik 29">
                  <a:extLst>
                    <a:ext uri="{FF2B5EF4-FFF2-40B4-BE49-F238E27FC236}">
                      <a16:creationId xmlns:a16="http://schemas.microsoft.com/office/drawing/2014/main" id="{7B9E8054-8811-C51B-9797-EC2155BAD24A}"/>
                    </a:ext>
                  </a:extLst>
                </p:cNvPr>
                <p:cNvSpPr/>
                <p:nvPr/>
              </p:nvSpPr>
              <p:spPr bwMode="gray">
                <a:xfrm>
                  <a:off x="6052755" y="3299459"/>
                  <a:ext cx="14287" cy="83820"/>
                </a:xfrm>
                <a:custGeom>
                  <a:avLst/>
                  <a:gdLst>
                    <a:gd name="connsiteX0" fmla="*/ 7144 w 14287"/>
                    <a:gd name="connsiteY0" fmla="*/ 83820 h 83820"/>
                    <a:gd name="connsiteX1" fmla="*/ 0 w 14287"/>
                    <a:gd name="connsiteY1" fmla="*/ 76676 h 83820"/>
                    <a:gd name="connsiteX2" fmla="*/ 0 w 14287"/>
                    <a:gd name="connsiteY2" fmla="*/ 7144 h 83820"/>
                    <a:gd name="connsiteX3" fmla="*/ 7144 w 14287"/>
                    <a:gd name="connsiteY3" fmla="*/ 0 h 83820"/>
                    <a:gd name="connsiteX4" fmla="*/ 14288 w 14287"/>
                    <a:gd name="connsiteY4" fmla="*/ 7144 h 83820"/>
                    <a:gd name="connsiteX5" fmla="*/ 14288 w 14287"/>
                    <a:gd name="connsiteY5" fmla="*/ 76676 h 83820"/>
                    <a:gd name="connsiteX6" fmla="*/ 7144 w 14287"/>
                    <a:gd name="connsiteY6" fmla="*/ 83820 h 838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83820">
                      <a:moveTo>
                        <a:pt x="7144" y="83820"/>
                      </a:moveTo>
                      <a:cubicBezTo>
                        <a:pt x="3239" y="83820"/>
                        <a:pt x="0" y="80582"/>
                        <a:pt x="0" y="7667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6676"/>
                      </a:lnTo>
                      <a:cubicBezTo>
                        <a:pt x="14288" y="80677"/>
                        <a:pt x="11144" y="83820"/>
                        <a:pt x="7144" y="8382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2" name="Grafik 29">
                  <a:extLst>
                    <a:ext uri="{FF2B5EF4-FFF2-40B4-BE49-F238E27FC236}">
                      <a16:creationId xmlns:a16="http://schemas.microsoft.com/office/drawing/2014/main" id="{E95CE6A6-0D4E-AC3E-E3CA-EEB6771C0B50}"/>
                    </a:ext>
                  </a:extLst>
                </p:cNvPr>
                <p:cNvSpPr/>
                <p:nvPr/>
              </p:nvSpPr>
              <p:spPr bwMode="gray">
                <a:xfrm>
                  <a:off x="6052970" y="3299673"/>
                  <a:ext cx="26908" cy="26931"/>
                </a:xfrm>
                <a:custGeom>
                  <a:avLst/>
                  <a:gdLst>
                    <a:gd name="connsiteX0" fmla="*/ 19788 w 26908"/>
                    <a:gd name="connsiteY0" fmla="*/ 26932 h 26931"/>
                    <a:gd name="connsiteX1" fmla="*/ 14740 w 26908"/>
                    <a:gd name="connsiteY1" fmla="*/ 24836 h 26931"/>
                    <a:gd name="connsiteX2" fmla="*/ 2072 w 26908"/>
                    <a:gd name="connsiteY2" fmla="*/ 12168 h 26931"/>
                    <a:gd name="connsiteX3" fmla="*/ 2072 w 26908"/>
                    <a:gd name="connsiteY3" fmla="*/ 2072 h 26931"/>
                    <a:gd name="connsiteX4" fmla="*/ 12168 w 26908"/>
                    <a:gd name="connsiteY4" fmla="*/ 2072 h 26931"/>
                    <a:gd name="connsiteX5" fmla="*/ 24836 w 26908"/>
                    <a:gd name="connsiteY5" fmla="*/ 14740 h 26931"/>
                    <a:gd name="connsiteX6" fmla="*/ 24836 w 26908"/>
                    <a:gd name="connsiteY6" fmla="*/ 24836 h 26931"/>
                    <a:gd name="connsiteX7" fmla="*/ 19788 w 26908"/>
                    <a:gd name="connsiteY7" fmla="*/ 26932 h 26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908" h="26931">
                      <a:moveTo>
                        <a:pt x="19788" y="26932"/>
                      </a:moveTo>
                      <a:cubicBezTo>
                        <a:pt x="17978" y="26932"/>
                        <a:pt x="16169" y="26265"/>
                        <a:pt x="14740" y="24836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4836" y="14740"/>
                      </a:lnTo>
                      <a:cubicBezTo>
                        <a:pt x="27599" y="17502"/>
                        <a:pt x="27599" y="22074"/>
                        <a:pt x="24836" y="24836"/>
                      </a:cubicBezTo>
                      <a:cubicBezTo>
                        <a:pt x="23503" y="26265"/>
                        <a:pt x="21598" y="26932"/>
                        <a:pt x="19788" y="269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3" name="Grafik 29">
                  <a:extLst>
                    <a:ext uri="{FF2B5EF4-FFF2-40B4-BE49-F238E27FC236}">
                      <a16:creationId xmlns:a16="http://schemas.microsoft.com/office/drawing/2014/main" id="{07DC7889-B7B8-495E-68E8-ED403836F208}"/>
                    </a:ext>
                  </a:extLst>
                </p:cNvPr>
                <p:cNvSpPr/>
                <p:nvPr/>
              </p:nvSpPr>
              <p:spPr bwMode="gray">
                <a:xfrm>
                  <a:off x="6039730" y="3299197"/>
                  <a:ext cx="26908" cy="26931"/>
                </a:xfrm>
                <a:custGeom>
                  <a:avLst/>
                  <a:gdLst>
                    <a:gd name="connsiteX0" fmla="*/ 7120 w 26908"/>
                    <a:gd name="connsiteY0" fmla="*/ 26932 h 26931"/>
                    <a:gd name="connsiteX1" fmla="*/ 2072 w 26908"/>
                    <a:gd name="connsiteY1" fmla="*/ 24836 h 26931"/>
                    <a:gd name="connsiteX2" fmla="*/ 2072 w 26908"/>
                    <a:gd name="connsiteY2" fmla="*/ 14740 h 26931"/>
                    <a:gd name="connsiteX3" fmla="*/ 14740 w 26908"/>
                    <a:gd name="connsiteY3" fmla="*/ 2072 h 26931"/>
                    <a:gd name="connsiteX4" fmla="*/ 24836 w 26908"/>
                    <a:gd name="connsiteY4" fmla="*/ 2072 h 26931"/>
                    <a:gd name="connsiteX5" fmla="*/ 24836 w 26908"/>
                    <a:gd name="connsiteY5" fmla="*/ 12168 h 26931"/>
                    <a:gd name="connsiteX6" fmla="*/ 12168 w 26908"/>
                    <a:gd name="connsiteY6" fmla="*/ 24836 h 26931"/>
                    <a:gd name="connsiteX7" fmla="*/ 7120 w 26908"/>
                    <a:gd name="connsiteY7" fmla="*/ 26932 h 26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908" h="26931">
                      <a:moveTo>
                        <a:pt x="7120" y="26932"/>
                      </a:moveTo>
                      <a:cubicBezTo>
                        <a:pt x="5310" y="26932"/>
                        <a:pt x="3500" y="26265"/>
                        <a:pt x="2072" y="24836"/>
                      </a:cubicBezTo>
                      <a:cubicBezTo>
                        <a:pt x="-691" y="22074"/>
                        <a:pt x="-691" y="17502"/>
                        <a:pt x="2072" y="14740"/>
                      </a:cubicBezTo>
                      <a:lnTo>
                        <a:pt x="14740" y="2072"/>
                      </a:lnTo>
                      <a:cubicBezTo>
                        <a:pt x="17502" y="-691"/>
                        <a:pt x="22074" y="-691"/>
                        <a:pt x="24836" y="2072"/>
                      </a:cubicBezTo>
                      <a:cubicBezTo>
                        <a:pt x="27599" y="4834"/>
                        <a:pt x="27599" y="9406"/>
                        <a:pt x="24836" y="12168"/>
                      </a:cubicBezTo>
                      <a:lnTo>
                        <a:pt x="12168" y="24836"/>
                      </a:lnTo>
                      <a:cubicBezTo>
                        <a:pt x="10739" y="26170"/>
                        <a:pt x="8930" y="26932"/>
                        <a:pt x="7120" y="269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6" name="Grafik 29">
                <a:extLst>
                  <a:ext uri="{FF2B5EF4-FFF2-40B4-BE49-F238E27FC236}">
                    <a16:creationId xmlns:a16="http://schemas.microsoft.com/office/drawing/2014/main" id="{52AB106E-7B3D-BDFF-4BD5-AC158275E27F}"/>
                  </a:ext>
                </a:extLst>
              </p:cNvPr>
              <p:cNvGrpSpPr/>
              <p:nvPr/>
            </p:nvGrpSpPr>
            <p:grpSpPr bwMode="gray">
              <a:xfrm>
                <a:off x="5994558" y="3390828"/>
                <a:ext cx="63984" cy="63412"/>
                <a:chOff x="5994558" y="3390828"/>
                <a:chExt cx="63984" cy="63412"/>
              </a:xfrm>
              <a:grpFill/>
            </p:grpSpPr>
            <p:sp>
              <p:nvSpPr>
                <p:cNvPr id="528" name="Grafik 29">
                  <a:extLst>
                    <a:ext uri="{FF2B5EF4-FFF2-40B4-BE49-F238E27FC236}">
                      <a16:creationId xmlns:a16="http://schemas.microsoft.com/office/drawing/2014/main" id="{CD6598EB-19D1-0211-1691-5A2A1A21C917}"/>
                    </a:ext>
                  </a:extLst>
                </p:cNvPr>
                <p:cNvSpPr/>
                <p:nvPr/>
              </p:nvSpPr>
              <p:spPr bwMode="gray">
                <a:xfrm>
                  <a:off x="5995153" y="3390828"/>
                  <a:ext cx="63388" cy="63412"/>
                </a:xfrm>
                <a:custGeom>
                  <a:avLst/>
                  <a:gdLst>
                    <a:gd name="connsiteX0" fmla="*/ 7120 w 63388"/>
                    <a:gd name="connsiteY0" fmla="*/ 63413 h 63412"/>
                    <a:gd name="connsiteX1" fmla="*/ 2072 w 63388"/>
                    <a:gd name="connsiteY1" fmla="*/ 61317 h 63412"/>
                    <a:gd name="connsiteX2" fmla="*/ 2072 w 63388"/>
                    <a:gd name="connsiteY2" fmla="*/ 51221 h 63412"/>
                    <a:gd name="connsiteX3" fmla="*/ 51221 w 63388"/>
                    <a:gd name="connsiteY3" fmla="*/ 2072 h 63412"/>
                    <a:gd name="connsiteX4" fmla="*/ 61317 w 63388"/>
                    <a:gd name="connsiteY4" fmla="*/ 2072 h 63412"/>
                    <a:gd name="connsiteX5" fmla="*/ 61317 w 63388"/>
                    <a:gd name="connsiteY5" fmla="*/ 12168 h 63412"/>
                    <a:gd name="connsiteX6" fmla="*/ 12168 w 63388"/>
                    <a:gd name="connsiteY6" fmla="*/ 61317 h 63412"/>
                    <a:gd name="connsiteX7" fmla="*/ 7120 w 63388"/>
                    <a:gd name="connsiteY7" fmla="*/ 63413 h 634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3388" h="63412">
                      <a:moveTo>
                        <a:pt x="7120" y="63413"/>
                      </a:moveTo>
                      <a:cubicBezTo>
                        <a:pt x="5310" y="63413"/>
                        <a:pt x="3500" y="62746"/>
                        <a:pt x="2072" y="61317"/>
                      </a:cubicBezTo>
                      <a:cubicBezTo>
                        <a:pt x="-691" y="58555"/>
                        <a:pt x="-691" y="53983"/>
                        <a:pt x="2072" y="51221"/>
                      </a:cubicBezTo>
                      <a:lnTo>
                        <a:pt x="51221" y="2072"/>
                      </a:lnTo>
                      <a:cubicBezTo>
                        <a:pt x="53983" y="-691"/>
                        <a:pt x="58555" y="-691"/>
                        <a:pt x="61317" y="2072"/>
                      </a:cubicBezTo>
                      <a:cubicBezTo>
                        <a:pt x="64079" y="4834"/>
                        <a:pt x="64079" y="9406"/>
                        <a:pt x="61317" y="12168"/>
                      </a:cubicBezTo>
                      <a:lnTo>
                        <a:pt x="12168" y="61317"/>
                      </a:lnTo>
                      <a:cubicBezTo>
                        <a:pt x="10739" y="62746"/>
                        <a:pt x="8930" y="63413"/>
                        <a:pt x="7120" y="6341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29" name="Grafik 29">
                  <a:extLst>
                    <a:ext uri="{FF2B5EF4-FFF2-40B4-BE49-F238E27FC236}">
                      <a16:creationId xmlns:a16="http://schemas.microsoft.com/office/drawing/2014/main" id="{CE555982-3190-ADDC-8C9B-E7A61833EA53}"/>
                    </a:ext>
                  </a:extLst>
                </p:cNvPr>
                <p:cNvSpPr/>
                <p:nvPr/>
              </p:nvSpPr>
              <p:spPr bwMode="gray">
                <a:xfrm>
                  <a:off x="5995225" y="3439953"/>
                  <a:ext cx="32289" cy="14287"/>
                </a:xfrm>
                <a:custGeom>
                  <a:avLst/>
                  <a:gdLst>
                    <a:gd name="connsiteX0" fmla="*/ 25146 w 32289"/>
                    <a:gd name="connsiteY0" fmla="*/ 14288 h 14287"/>
                    <a:gd name="connsiteX1" fmla="*/ 7144 w 32289"/>
                    <a:gd name="connsiteY1" fmla="*/ 14288 h 14287"/>
                    <a:gd name="connsiteX2" fmla="*/ 0 w 32289"/>
                    <a:gd name="connsiteY2" fmla="*/ 7144 h 14287"/>
                    <a:gd name="connsiteX3" fmla="*/ 7144 w 32289"/>
                    <a:gd name="connsiteY3" fmla="*/ 0 h 14287"/>
                    <a:gd name="connsiteX4" fmla="*/ 25146 w 32289"/>
                    <a:gd name="connsiteY4" fmla="*/ 0 h 14287"/>
                    <a:gd name="connsiteX5" fmla="*/ 32290 w 32289"/>
                    <a:gd name="connsiteY5" fmla="*/ 7144 h 14287"/>
                    <a:gd name="connsiteX6" fmla="*/ 25146 w 3228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2289" h="14287">
                      <a:moveTo>
                        <a:pt x="2514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25146" y="0"/>
                      </a:lnTo>
                      <a:cubicBezTo>
                        <a:pt x="29051" y="0"/>
                        <a:pt x="32290" y="3239"/>
                        <a:pt x="32290" y="7144"/>
                      </a:cubicBezTo>
                      <a:cubicBezTo>
                        <a:pt x="32290" y="11049"/>
                        <a:pt x="29146" y="14288"/>
                        <a:pt x="2514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0" name="Grafik 29">
                  <a:extLst>
                    <a:ext uri="{FF2B5EF4-FFF2-40B4-BE49-F238E27FC236}">
                      <a16:creationId xmlns:a16="http://schemas.microsoft.com/office/drawing/2014/main" id="{383F230C-4057-D72B-BED1-AA9E7A52F8A1}"/>
                    </a:ext>
                  </a:extLst>
                </p:cNvPr>
                <p:cNvSpPr/>
                <p:nvPr/>
              </p:nvSpPr>
              <p:spPr bwMode="gray">
                <a:xfrm>
                  <a:off x="5994558" y="3421951"/>
                  <a:ext cx="14287" cy="32289"/>
                </a:xfrm>
                <a:custGeom>
                  <a:avLst/>
                  <a:gdLst>
                    <a:gd name="connsiteX0" fmla="*/ 7144 w 14287"/>
                    <a:gd name="connsiteY0" fmla="*/ 32290 h 32289"/>
                    <a:gd name="connsiteX1" fmla="*/ 0 w 14287"/>
                    <a:gd name="connsiteY1" fmla="*/ 25146 h 32289"/>
                    <a:gd name="connsiteX2" fmla="*/ 0 w 14287"/>
                    <a:gd name="connsiteY2" fmla="*/ 7144 h 32289"/>
                    <a:gd name="connsiteX3" fmla="*/ 7144 w 14287"/>
                    <a:gd name="connsiteY3" fmla="*/ 0 h 32289"/>
                    <a:gd name="connsiteX4" fmla="*/ 14288 w 14287"/>
                    <a:gd name="connsiteY4" fmla="*/ 7144 h 32289"/>
                    <a:gd name="connsiteX5" fmla="*/ 14288 w 14287"/>
                    <a:gd name="connsiteY5" fmla="*/ 25146 h 32289"/>
                    <a:gd name="connsiteX6" fmla="*/ 7144 w 14287"/>
                    <a:gd name="connsiteY6" fmla="*/ 32290 h 322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2289">
                      <a:moveTo>
                        <a:pt x="7144" y="32290"/>
                      </a:moveTo>
                      <a:cubicBezTo>
                        <a:pt x="3239" y="32290"/>
                        <a:pt x="0" y="29051"/>
                        <a:pt x="0" y="2514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5146"/>
                      </a:lnTo>
                      <a:cubicBezTo>
                        <a:pt x="14288" y="29051"/>
                        <a:pt x="11049" y="32290"/>
                        <a:pt x="7144" y="3229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527" name="Grafik 29">
                <a:extLst>
                  <a:ext uri="{FF2B5EF4-FFF2-40B4-BE49-F238E27FC236}">
                    <a16:creationId xmlns:a16="http://schemas.microsoft.com/office/drawing/2014/main" id="{B733562E-4CBD-BA3E-8DD7-06A71D2AF965}"/>
                  </a:ext>
                </a:extLst>
              </p:cNvPr>
              <p:cNvSpPr/>
              <p:nvPr/>
            </p:nvSpPr>
            <p:spPr bwMode="gray">
              <a:xfrm>
                <a:off x="6042278" y="3370516"/>
                <a:ext cx="38100" cy="38100"/>
              </a:xfrm>
              <a:custGeom>
                <a:avLst/>
                <a:gdLst>
                  <a:gd name="connsiteX0" fmla="*/ 19050 w 38100"/>
                  <a:gd name="connsiteY0" fmla="*/ 38100 h 38100"/>
                  <a:gd name="connsiteX1" fmla="*/ 0 w 38100"/>
                  <a:gd name="connsiteY1" fmla="*/ 19050 h 38100"/>
                  <a:gd name="connsiteX2" fmla="*/ 19050 w 38100"/>
                  <a:gd name="connsiteY2" fmla="*/ 0 h 38100"/>
                  <a:gd name="connsiteX3" fmla="*/ 38100 w 38100"/>
                  <a:gd name="connsiteY3" fmla="*/ 19050 h 38100"/>
                  <a:gd name="connsiteX4" fmla="*/ 19050 w 38100"/>
                  <a:gd name="connsiteY4" fmla="*/ 38100 h 38100"/>
                  <a:gd name="connsiteX5" fmla="*/ 19050 w 38100"/>
                  <a:gd name="connsiteY5" fmla="*/ 14288 h 38100"/>
                  <a:gd name="connsiteX6" fmla="*/ 14288 w 38100"/>
                  <a:gd name="connsiteY6" fmla="*/ 19050 h 38100"/>
                  <a:gd name="connsiteX7" fmla="*/ 19050 w 38100"/>
                  <a:gd name="connsiteY7" fmla="*/ 23813 h 38100"/>
                  <a:gd name="connsiteX8" fmla="*/ 23813 w 38100"/>
                  <a:gd name="connsiteY8" fmla="*/ 19050 h 38100"/>
                  <a:gd name="connsiteX9" fmla="*/ 19050 w 38100"/>
                  <a:gd name="connsiteY9" fmla="*/ 14288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8100" h="38100">
                    <a:moveTo>
                      <a:pt x="19050" y="38100"/>
                    </a:moveTo>
                    <a:cubicBezTo>
                      <a:pt x="8572" y="38100"/>
                      <a:pt x="0" y="29527"/>
                      <a:pt x="0" y="19050"/>
                    </a:cubicBezTo>
                    <a:cubicBezTo>
                      <a:pt x="0" y="8572"/>
                      <a:pt x="8572" y="0"/>
                      <a:pt x="19050" y="0"/>
                    </a:cubicBezTo>
                    <a:cubicBezTo>
                      <a:pt x="29527" y="0"/>
                      <a:pt x="38100" y="8572"/>
                      <a:pt x="38100" y="19050"/>
                    </a:cubicBezTo>
                    <a:cubicBezTo>
                      <a:pt x="38100" y="29527"/>
                      <a:pt x="29527" y="38100"/>
                      <a:pt x="19050" y="38100"/>
                    </a:cubicBezTo>
                    <a:close/>
                    <a:moveTo>
                      <a:pt x="19050" y="14288"/>
                    </a:moveTo>
                    <a:cubicBezTo>
                      <a:pt x="16383" y="14288"/>
                      <a:pt x="14288" y="16478"/>
                      <a:pt x="14288" y="19050"/>
                    </a:cubicBezTo>
                    <a:cubicBezTo>
                      <a:pt x="14288" y="21622"/>
                      <a:pt x="16478" y="23813"/>
                      <a:pt x="19050" y="23813"/>
                    </a:cubicBezTo>
                    <a:cubicBezTo>
                      <a:pt x="21622" y="23813"/>
                      <a:pt x="23813" y="21622"/>
                      <a:pt x="23813" y="19050"/>
                    </a:cubicBezTo>
                    <a:cubicBezTo>
                      <a:pt x="23813" y="16478"/>
                      <a:pt x="21717" y="14288"/>
                      <a:pt x="19050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573" name="Grafik 31">
            <a:extLst>
              <a:ext uri="{FF2B5EF4-FFF2-40B4-BE49-F238E27FC236}">
                <a16:creationId xmlns:a16="http://schemas.microsoft.com/office/drawing/2014/main" id="{17257D79-DEAA-A593-8862-ABEA2FC34D76}"/>
              </a:ext>
            </a:extLst>
          </p:cNvPr>
          <p:cNvGrpSpPr/>
          <p:nvPr/>
        </p:nvGrpSpPr>
        <p:grpSpPr bwMode="gray">
          <a:xfrm>
            <a:off x="5130237" y="2940797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574" name="Grafik 31">
              <a:extLst>
                <a:ext uri="{FF2B5EF4-FFF2-40B4-BE49-F238E27FC236}">
                  <a16:creationId xmlns:a16="http://schemas.microsoft.com/office/drawing/2014/main" id="{649D28A7-3588-160C-61E5-5BACC585BB79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5" name="Grafik 31">
              <a:extLst>
                <a:ext uri="{FF2B5EF4-FFF2-40B4-BE49-F238E27FC236}">
                  <a16:creationId xmlns:a16="http://schemas.microsoft.com/office/drawing/2014/main" id="{E83261B1-39E6-CD80-E631-35BD77022990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576" name="Grafik 31">
              <a:extLst>
                <a:ext uri="{FF2B5EF4-FFF2-40B4-BE49-F238E27FC236}">
                  <a16:creationId xmlns:a16="http://schemas.microsoft.com/office/drawing/2014/main" id="{0CD0F5E0-6679-D63A-7E06-CF5942D4AB3B}"/>
                </a:ext>
              </a:extLst>
            </p:cNvPr>
            <p:cNvGrpSpPr/>
            <p:nvPr/>
          </p:nvGrpSpPr>
          <p:grpSpPr bwMode="gray">
            <a:xfrm>
              <a:off x="5989890" y="3228688"/>
              <a:ext cx="202177" cy="153066"/>
              <a:chOff x="5989890" y="3228688"/>
              <a:chExt cx="202177" cy="153066"/>
            </a:xfrm>
            <a:grpFill/>
          </p:grpSpPr>
          <p:grpSp>
            <p:nvGrpSpPr>
              <p:cNvPr id="577" name="Grafik 31">
                <a:extLst>
                  <a:ext uri="{FF2B5EF4-FFF2-40B4-BE49-F238E27FC236}">
                    <a16:creationId xmlns:a16="http://schemas.microsoft.com/office/drawing/2014/main" id="{635B18D4-076B-29A4-051C-67BE565381A0}"/>
                  </a:ext>
                </a:extLst>
              </p:cNvPr>
              <p:cNvGrpSpPr/>
              <p:nvPr/>
            </p:nvGrpSpPr>
            <p:grpSpPr bwMode="gray">
              <a:xfrm>
                <a:off x="5989890" y="3280147"/>
                <a:ext cx="196762" cy="51030"/>
                <a:chOff x="5989890" y="3280147"/>
                <a:chExt cx="196762" cy="51030"/>
              </a:xfrm>
              <a:grpFill/>
            </p:grpSpPr>
            <p:sp>
              <p:nvSpPr>
                <p:cNvPr id="588" name="Grafik 31">
                  <a:extLst>
                    <a:ext uri="{FF2B5EF4-FFF2-40B4-BE49-F238E27FC236}">
                      <a16:creationId xmlns:a16="http://schemas.microsoft.com/office/drawing/2014/main" id="{87A56783-7041-EF67-4478-549A272A0A66}"/>
                    </a:ext>
                  </a:extLst>
                </p:cNvPr>
                <p:cNvSpPr/>
                <p:nvPr/>
              </p:nvSpPr>
              <p:spPr bwMode="gray">
                <a:xfrm>
                  <a:off x="5989890" y="3298507"/>
                  <a:ext cx="186594" cy="14287"/>
                </a:xfrm>
                <a:custGeom>
                  <a:avLst/>
                  <a:gdLst>
                    <a:gd name="connsiteX0" fmla="*/ 179451 w 186594"/>
                    <a:gd name="connsiteY0" fmla="*/ 14288 h 14287"/>
                    <a:gd name="connsiteX1" fmla="*/ 7144 w 186594"/>
                    <a:gd name="connsiteY1" fmla="*/ 14288 h 14287"/>
                    <a:gd name="connsiteX2" fmla="*/ 0 w 186594"/>
                    <a:gd name="connsiteY2" fmla="*/ 7144 h 14287"/>
                    <a:gd name="connsiteX3" fmla="*/ 7144 w 186594"/>
                    <a:gd name="connsiteY3" fmla="*/ 0 h 14287"/>
                    <a:gd name="connsiteX4" fmla="*/ 179451 w 186594"/>
                    <a:gd name="connsiteY4" fmla="*/ 0 h 14287"/>
                    <a:gd name="connsiteX5" fmla="*/ 186595 w 186594"/>
                    <a:gd name="connsiteY5" fmla="*/ 7144 h 14287"/>
                    <a:gd name="connsiteX6" fmla="*/ 179451 w 186594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86594" h="14287">
                      <a:moveTo>
                        <a:pt x="179451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79451" y="0"/>
                      </a:lnTo>
                      <a:cubicBezTo>
                        <a:pt x="183356" y="0"/>
                        <a:pt x="186595" y="3239"/>
                        <a:pt x="186595" y="7144"/>
                      </a:cubicBezTo>
                      <a:cubicBezTo>
                        <a:pt x="186595" y="11049"/>
                        <a:pt x="183452" y="14288"/>
                        <a:pt x="179451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9" name="Grafik 31">
                  <a:extLst>
                    <a:ext uri="{FF2B5EF4-FFF2-40B4-BE49-F238E27FC236}">
                      <a16:creationId xmlns:a16="http://schemas.microsoft.com/office/drawing/2014/main" id="{896BE292-0056-9016-0699-C4803D38CE5A}"/>
                    </a:ext>
                  </a:extLst>
                </p:cNvPr>
                <p:cNvSpPr/>
                <p:nvPr/>
              </p:nvSpPr>
              <p:spPr bwMode="gray">
                <a:xfrm>
                  <a:off x="6154030" y="3280147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90" name="Grafik 31">
                  <a:extLst>
                    <a:ext uri="{FF2B5EF4-FFF2-40B4-BE49-F238E27FC236}">
                      <a16:creationId xmlns:a16="http://schemas.microsoft.com/office/drawing/2014/main" id="{E1C74BD8-D4BE-012F-DAE6-E6011BDD1E95}"/>
                    </a:ext>
                  </a:extLst>
                </p:cNvPr>
                <p:cNvSpPr/>
                <p:nvPr/>
              </p:nvSpPr>
              <p:spPr bwMode="gray">
                <a:xfrm>
                  <a:off x="6154030" y="329853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78" name="Grafik 31">
                <a:extLst>
                  <a:ext uri="{FF2B5EF4-FFF2-40B4-BE49-F238E27FC236}">
                    <a16:creationId xmlns:a16="http://schemas.microsoft.com/office/drawing/2014/main" id="{E64216AC-ECC6-F2A5-30C2-FE14F1A7DD27}"/>
                  </a:ext>
                </a:extLst>
              </p:cNvPr>
              <p:cNvGrpSpPr/>
              <p:nvPr/>
            </p:nvGrpSpPr>
            <p:grpSpPr bwMode="gray">
              <a:xfrm>
                <a:off x="5989986" y="3228688"/>
                <a:ext cx="202082" cy="49434"/>
                <a:chOff x="5989986" y="3228688"/>
                <a:chExt cx="202082" cy="49434"/>
              </a:xfrm>
              <a:grpFill/>
            </p:grpSpPr>
            <p:sp>
              <p:nvSpPr>
                <p:cNvPr id="584" name="Grafik 31">
                  <a:extLst>
                    <a:ext uri="{FF2B5EF4-FFF2-40B4-BE49-F238E27FC236}">
                      <a16:creationId xmlns:a16="http://schemas.microsoft.com/office/drawing/2014/main" id="{9ED0AF5C-D873-B591-EF41-4CB5AC4323E9}"/>
                    </a:ext>
                  </a:extLst>
                </p:cNvPr>
                <p:cNvSpPr/>
                <p:nvPr/>
              </p:nvSpPr>
              <p:spPr bwMode="gray">
                <a:xfrm>
                  <a:off x="5989986" y="3228688"/>
                  <a:ext cx="81819" cy="14287"/>
                </a:xfrm>
                <a:custGeom>
                  <a:avLst/>
                  <a:gdLst>
                    <a:gd name="connsiteX0" fmla="*/ 74676 w 81819"/>
                    <a:gd name="connsiteY0" fmla="*/ 14288 h 14287"/>
                    <a:gd name="connsiteX1" fmla="*/ 7144 w 81819"/>
                    <a:gd name="connsiteY1" fmla="*/ 14288 h 14287"/>
                    <a:gd name="connsiteX2" fmla="*/ 0 w 81819"/>
                    <a:gd name="connsiteY2" fmla="*/ 7144 h 14287"/>
                    <a:gd name="connsiteX3" fmla="*/ 7144 w 81819"/>
                    <a:gd name="connsiteY3" fmla="*/ 0 h 14287"/>
                    <a:gd name="connsiteX4" fmla="*/ 74676 w 81819"/>
                    <a:gd name="connsiteY4" fmla="*/ 0 h 14287"/>
                    <a:gd name="connsiteX5" fmla="*/ 81820 w 81819"/>
                    <a:gd name="connsiteY5" fmla="*/ 7144 h 14287"/>
                    <a:gd name="connsiteX6" fmla="*/ 74676 w 8181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1819" h="14287">
                      <a:moveTo>
                        <a:pt x="7467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4676" y="0"/>
                      </a:lnTo>
                      <a:cubicBezTo>
                        <a:pt x="78581" y="0"/>
                        <a:pt x="81820" y="3239"/>
                        <a:pt x="81820" y="7144"/>
                      </a:cubicBezTo>
                      <a:cubicBezTo>
                        <a:pt x="81820" y="11049"/>
                        <a:pt x="78581" y="14288"/>
                        <a:pt x="7467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5" name="Grafik 31">
                  <a:extLst>
                    <a:ext uri="{FF2B5EF4-FFF2-40B4-BE49-F238E27FC236}">
                      <a16:creationId xmlns:a16="http://schemas.microsoft.com/office/drawing/2014/main" id="{40F2B676-2098-8F0F-8263-1D41C7D80904}"/>
                    </a:ext>
                  </a:extLst>
                </p:cNvPr>
                <p:cNvSpPr/>
                <p:nvPr/>
              </p:nvSpPr>
              <p:spPr bwMode="gray">
                <a:xfrm>
                  <a:off x="6061509" y="3229464"/>
                  <a:ext cx="128988" cy="33990"/>
                </a:xfrm>
                <a:custGeom>
                  <a:avLst/>
                  <a:gdLst>
                    <a:gd name="connsiteX0" fmla="*/ 121835 w 128988"/>
                    <a:gd name="connsiteY0" fmla="*/ 33991 h 33990"/>
                    <a:gd name="connsiteX1" fmla="*/ 120596 w 128988"/>
                    <a:gd name="connsiteY1" fmla="*/ 33896 h 33990"/>
                    <a:gd name="connsiteX2" fmla="*/ 5915 w 128988"/>
                    <a:gd name="connsiteY2" fmla="*/ 14179 h 33990"/>
                    <a:gd name="connsiteX3" fmla="*/ 105 w 128988"/>
                    <a:gd name="connsiteY3" fmla="*/ 5892 h 33990"/>
                    <a:gd name="connsiteX4" fmla="*/ 8392 w 128988"/>
                    <a:gd name="connsiteY4" fmla="*/ 82 h 33990"/>
                    <a:gd name="connsiteX5" fmla="*/ 123073 w 128988"/>
                    <a:gd name="connsiteY5" fmla="*/ 19799 h 33990"/>
                    <a:gd name="connsiteX6" fmla="*/ 128883 w 128988"/>
                    <a:gd name="connsiteY6" fmla="*/ 28085 h 33990"/>
                    <a:gd name="connsiteX7" fmla="*/ 121835 w 128988"/>
                    <a:gd name="connsiteY7" fmla="*/ 33991 h 339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28988" h="33990">
                      <a:moveTo>
                        <a:pt x="121835" y="33991"/>
                      </a:moveTo>
                      <a:cubicBezTo>
                        <a:pt x="121454" y="33991"/>
                        <a:pt x="121073" y="33991"/>
                        <a:pt x="120596" y="33896"/>
                      </a:cubicBezTo>
                      <a:lnTo>
                        <a:pt x="5915" y="14179"/>
                      </a:lnTo>
                      <a:cubicBezTo>
                        <a:pt x="2010" y="13512"/>
                        <a:pt x="-562" y="9797"/>
                        <a:pt x="105" y="5892"/>
                      </a:cubicBezTo>
                      <a:cubicBezTo>
                        <a:pt x="772" y="1987"/>
                        <a:pt x="4487" y="-490"/>
                        <a:pt x="8392" y="82"/>
                      </a:cubicBezTo>
                      <a:lnTo>
                        <a:pt x="123073" y="19799"/>
                      </a:lnTo>
                      <a:cubicBezTo>
                        <a:pt x="126978" y="20465"/>
                        <a:pt x="129550" y="24180"/>
                        <a:pt x="128883" y="28085"/>
                      </a:cubicBezTo>
                      <a:cubicBezTo>
                        <a:pt x="128312" y="31514"/>
                        <a:pt x="125264" y="33991"/>
                        <a:pt x="121835" y="339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6" name="Grafik 31">
                  <a:extLst>
                    <a:ext uri="{FF2B5EF4-FFF2-40B4-BE49-F238E27FC236}">
                      <a16:creationId xmlns:a16="http://schemas.microsoft.com/office/drawing/2014/main" id="{38F434B9-AB0D-4FBE-7E16-058A5001096E}"/>
                    </a:ext>
                  </a:extLst>
                </p:cNvPr>
                <p:cNvSpPr/>
                <p:nvPr/>
              </p:nvSpPr>
              <p:spPr bwMode="gray">
                <a:xfrm>
                  <a:off x="6166331" y="3229012"/>
                  <a:ext cx="25737" cy="37585"/>
                </a:xfrm>
                <a:custGeom>
                  <a:avLst/>
                  <a:gdLst>
                    <a:gd name="connsiteX0" fmla="*/ 18631 w 25737"/>
                    <a:gd name="connsiteY0" fmla="*/ 37586 h 37585"/>
                    <a:gd name="connsiteX1" fmla="*/ 12249 w 25737"/>
                    <a:gd name="connsiteY1" fmla="*/ 33585 h 37585"/>
                    <a:gd name="connsiteX2" fmla="*/ 724 w 25737"/>
                    <a:gd name="connsiteY2" fmla="*/ 10249 h 37585"/>
                    <a:gd name="connsiteX3" fmla="*/ 3963 w 25737"/>
                    <a:gd name="connsiteY3" fmla="*/ 724 h 37585"/>
                    <a:gd name="connsiteX4" fmla="*/ 13488 w 25737"/>
                    <a:gd name="connsiteY4" fmla="*/ 3963 h 37585"/>
                    <a:gd name="connsiteX5" fmla="*/ 25013 w 25737"/>
                    <a:gd name="connsiteY5" fmla="*/ 27299 h 37585"/>
                    <a:gd name="connsiteX6" fmla="*/ 21774 w 25737"/>
                    <a:gd name="connsiteY6" fmla="*/ 36824 h 37585"/>
                    <a:gd name="connsiteX7" fmla="*/ 18631 w 25737"/>
                    <a:gd name="connsiteY7" fmla="*/ 37586 h 375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737" h="37585">
                      <a:moveTo>
                        <a:pt x="18631" y="37586"/>
                      </a:moveTo>
                      <a:cubicBezTo>
                        <a:pt x="15964" y="37586"/>
                        <a:pt x="13488" y="36157"/>
                        <a:pt x="12249" y="33585"/>
                      </a:cubicBezTo>
                      <a:lnTo>
                        <a:pt x="724" y="10249"/>
                      </a:lnTo>
                      <a:cubicBezTo>
                        <a:pt x="-990" y="6725"/>
                        <a:pt x="438" y="2439"/>
                        <a:pt x="3963" y="724"/>
                      </a:cubicBezTo>
                      <a:cubicBezTo>
                        <a:pt x="7487" y="-990"/>
                        <a:pt x="11773" y="438"/>
                        <a:pt x="13488" y="3963"/>
                      </a:cubicBezTo>
                      <a:lnTo>
                        <a:pt x="25013" y="27299"/>
                      </a:lnTo>
                      <a:cubicBezTo>
                        <a:pt x="26727" y="30823"/>
                        <a:pt x="25299" y="35109"/>
                        <a:pt x="21774" y="36824"/>
                      </a:cubicBezTo>
                      <a:cubicBezTo>
                        <a:pt x="20727" y="37395"/>
                        <a:pt x="19679" y="37586"/>
                        <a:pt x="18631" y="3758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7" name="Grafik 31">
                  <a:extLst>
                    <a:ext uri="{FF2B5EF4-FFF2-40B4-BE49-F238E27FC236}">
                      <a16:creationId xmlns:a16="http://schemas.microsoft.com/office/drawing/2014/main" id="{6A10F834-8075-5C2A-FF04-CD290A5BC0DD}"/>
                    </a:ext>
                  </a:extLst>
                </p:cNvPr>
                <p:cNvSpPr/>
                <p:nvPr/>
              </p:nvSpPr>
              <p:spPr bwMode="gray">
                <a:xfrm>
                  <a:off x="6154520" y="3252348"/>
                  <a:ext cx="37548" cy="25774"/>
                </a:xfrm>
                <a:custGeom>
                  <a:avLst/>
                  <a:gdLst>
                    <a:gd name="connsiteX0" fmla="*/ 7106 w 37548"/>
                    <a:gd name="connsiteY0" fmla="*/ 25775 h 25774"/>
                    <a:gd name="connsiteX1" fmla="*/ 724 w 37548"/>
                    <a:gd name="connsiteY1" fmla="*/ 21774 h 25774"/>
                    <a:gd name="connsiteX2" fmla="*/ 3963 w 37548"/>
                    <a:gd name="connsiteY2" fmla="*/ 12249 h 25774"/>
                    <a:gd name="connsiteX3" fmla="*/ 27299 w 37548"/>
                    <a:gd name="connsiteY3" fmla="*/ 724 h 25774"/>
                    <a:gd name="connsiteX4" fmla="*/ 36824 w 37548"/>
                    <a:gd name="connsiteY4" fmla="*/ 3963 h 25774"/>
                    <a:gd name="connsiteX5" fmla="*/ 33585 w 37548"/>
                    <a:gd name="connsiteY5" fmla="*/ 13488 h 25774"/>
                    <a:gd name="connsiteX6" fmla="*/ 10249 w 37548"/>
                    <a:gd name="connsiteY6" fmla="*/ 25013 h 25774"/>
                    <a:gd name="connsiteX7" fmla="*/ 7106 w 37548"/>
                    <a:gd name="connsiteY7" fmla="*/ 25775 h 257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548" h="25774">
                      <a:moveTo>
                        <a:pt x="7106" y="25775"/>
                      </a:moveTo>
                      <a:cubicBezTo>
                        <a:pt x="4439" y="25775"/>
                        <a:pt x="1962" y="24346"/>
                        <a:pt x="724" y="21774"/>
                      </a:cubicBezTo>
                      <a:cubicBezTo>
                        <a:pt x="-990" y="18250"/>
                        <a:pt x="438" y="13964"/>
                        <a:pt x="3963" y="12249"/>
                      </a:cubicBezTo>
                      <a:lnTo>
                        <a:pt x="27299" y="724"/>
                      </a:lnTo>
                      <a:cubicBezTo>
                        <a:pt x="30823" y="-990"/>
                        <a:pt x="35110" y="438"/>
                        <a:pt x="36824" y="3963"/>
                      </a:cubicBezTo>
                      <a:cubicBezTo>
                        <a:pt x="38538" y="7487"/>
                        <a:pt x="37110" y="11773"/>
                        <a:pt x="33585" y="13488"/>
                      </a:cubicBezTo>
                      <a:lnTo>
                        <a:pt x="10249" y="25013"/>
                      </a:lnTo>
                      <a:cubicBezTo>
                        <a:pt x="9297" y="25584"/>
                        <a:pt x="8154" y="25775"/>
                        <a:pt x="7106" y="257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79" name="Grafik 31">
                <a:extLst>
                  <a:ext uri="{FF2B5EF4-FFF2-40B4-BE49-F238E27FC236}">
                    <a16:creationId xmlns:a16="http://schemas.microsoft.com/office/drawing/2014/main" id="{E3C2D2C4-5D5E-C772-C841-F1F5041C0BC4}"/>
                  </a:ext>
                </a:extLst>
              </p:cNvPr>
              <p:cNvGrpSpPr/>
              <p:nvPr/>
            </p:nvGrpSpPr>
            <p:grpSpPr bwMode="gray">
              <a:xfrm>
                <a:off x="5989986" y="3332358"/>
                <a:ext cx="202082" cy="49396"/>
                <a:chOff x="5989986" y="3332358"/>
                <a:chExt cx="202082" cy="49396"/>
              </a:xfrm>
              <a:grpFill/>
            </p:grpSpPr>
            <p:sp>
              <p:nvSpPr>
                <p:cNvPr id="580" name="Grafik 31">
                  <a:extLst>
                    <a:ext uri="{FF2B5EF4-FFF2-40B4-BE49-F238E27FC236}">
                      <a16:creationId xmlns:a16="http://schemas.microsoft.com/office/drawing/2014/main" id="{FF9930BD-1D62-3C2D-A0A5-C4A6469FE16B}"/>
                    </a:ext>
                  </a:extLst>
                </p:cNvPr>
                <p:cNvSpPr/>
                <p:nvPr/>
              </p:nvSpPr>
              <p:spPr bwMode="gray">
                <a:xfrm>
                  <a:off x="5989986" y="3367468"/>
                  <a:ext cx="81819" cy="14287"/>
                </a:xfrm>
                <a:custGeom>
                  <a:avLst/>
                  <a:gdLst>
                    <a:gd name="connsiteX0" fmla="*/ 74676 w 81819"/>
                    <a:gd name="connsiteY0" fmla="*/ 14288 h 14287"/>
                    <a:gd name="connsiteX1" fmla="*/ 7144 w 81819"/>
                    <a:gd name="connsiteY1" fmla="*/ 14288 h 14287"/>
                    <a:gd name="connsiteX2" fmla="*/ 0 w 81819"/>
                    <a:gd name="connsiteY2" fmla="*/ 7144 h 14287"/>
                    <a:gd name="connsiteX3" fmla="*/ 7144 w 81819"/>
                    <a:gd name="connsiteY3" fmla="*/ 0 h 14287"/>
                    <a:gd name="connsiteX4" fmla="*/ 74676 w 81819"/>
                    <a:gd name="connsiteY4" fmla="*/ 0 h 14287"/>
                    <a:gd name="connsiteX5" fmla="*/ 81820 w 81819"/>
                    <a:gd name="connsiteY5" fmla="*/ 7144 h 14287"/>
                    <a:gd name="connsiteX6" fmla="*/ 74676 w 8181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1819" h="14287">
                      <a:moveTo>
                        <a:pt x="7467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4676" y="0"/>
                      </a:lnTo>
                      <a:cubicBezTo>
                        <a:pt x="78581" y="0"/>
                        <a:pt x="81820" y="3238"/>
                        <a:pt x="81820" y="7144"/>
                      </a:cubicBezTo>
                      <a:cubicBezTo>
                        <a:pt x="81820" y="11049"/>
                        <a:pt x="78581" y="14288"/>
                        <a:pt x="7467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1" name="Grafik 31">
                  <a:extLst>
                    <a:ext uri="{FF2B5EF4-FFF2-40B4-BE49-F238E27FC236}">
                      <a16:creationId xmlns:a16="http://schemas.microsoft.com/office/drawing/2014/main" id="{4E0D7F09-8BAC-1417-8A93-549B22B500EB}"/>
                    </a:ext>
                  </a:extLst>
                </p:cNvPr>
                <p:cNvSpPr/>
                <p:nvPr/>
              </p:nvSpPr>
              <p:spPr bwMode="gray">
                <a:xfrm>
                  <a:off x="6061413" y="3347005"/>
                  <a:ext cx="129083" cy="33988"/>
                </a:xfrm>
                <a:custGeom>
                  <a:avLst/>
                  <a:gdLst>
                    <a:gd name="connsiteX0" fmla="*/ 7154 w 129083"/>
                    <a:gd name="connsiteY0" fmla="*/ 33988 h 33988"/>
                    <a:gd name="connsiteX1" fmla="*/ 105 w 129083"/>
                    <a:gd name="connsiteY1" fmla="*/ 28083 h 33988"/>
                    <a:gd name="connsiteX2" fmla="*/ 5915 w 129083"/>
                    <a:gd name="connsiteY2" fmla="*/ 19796 h 33988"/>
                    <a:gd name="connsiteX3" fmla="*/ 120692 w 129083"/>
                    <a:gd name="connsiteY3" fmla="*/ 79 h 33988"/>
                    <a:gd name="connsiteX4" fmla="*/ 128978 w 129083"/>
                    <a:gd name="connsiteY4" fmla="*/ 5890 h 33988"/>
                    <a:gd name="connsiteX5" fmla="*/ 123168 w 129083"/>
                    <a:gd name="connsiteY5" fmla="*/ 14176 h 33988"/>
                    <a:gd name="connsiteX6" fmla="*/ 8392 w 129083"/>
                    <a:gd name="connsiteY6" fmla="*/ 33893 h 33988"/>
                    <a:gd name="connsiteX7" fmla="*/ 7154 w 129083"/>
                    <a:gd name="connsiteY7" fmla="*/ 33988 h 339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29083" h="33988">
                      <a:moveTo>
                        <a:pt x="7154" y="33988"/>
                      </a:moveTo>
                      <a:cubicBezTo>
                        <a:pt x="3725" y="33988"/>
                        <a:pt x="677" y="31512"/>
                        <a:pt x="105" y="28083"/>
                      </a:cubicBezTo>
                      <a:cubicBezTo>
                        <a:pt x="-562" y="24178"/>
                        <a:pt x="2010" y="20463"/>
                        <a:pt x="5915" y="19796"/>
                      </a:cubicBezTo>
                      <a:lnTo>
                        <a:pt x="120692" y="79"/>
                      </a:lnTo>
                      <a:cubicBezTo>
                        <a:pt x="124597" y="-492"/>
                        <a:pt x="128312" y="2080"/>
                        <a:pt x="128978" y="5890"/>
                      </a:cubicBezTo>
                      <a:cubicBezTo>
                        <a:pt x="129645" y="9795"/>
                        <a:pt x="127073" y="13510"/>
                        <a:pt x="123168" y="14176"/>
                      </a:cubicBezTo>
                      <a:lnTo>
                        <a:pt x="8392" y="33893"/>
                      </a:lnTo>
                      <a:cubicBezTo>
                        <a:pt x="8011" y="33988"/>
                        <a:pt x="7535" y="33988"/>
                        <a:pt x="7154" y="339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2" name="Grafik 31">
                  <a:extLst>
                    <a:ext uri="{FF2B5EF4-FFF2-40B4-BE49-F238E27FC236}">
                      <a16:creationId xmlns:a16="http://schemas.microsoft.com/office/drawing/2014/main" id="{38D33FDA-47C5-CCE6-3846-8040A4964292}"/>
                    </a:ext>
                  </a:extLst>
                </p:cNvPr>
                <p:cNvSpPr/>
                <p:nvPr/>
              </p:nvSpPr>
              <p:spPr bwMode="gray">
                <a:xfrm>
                  <a:off x="6166331" y="3343746"/>
                  <a:ext cx="25737" cy="37627"/>
                </a:xfrm>
                <a:custGeom>
                  <a:avLst/>
                  <a:gdLst>
                    <a:gd name="connsiteX0" fmla="*/ 7106 w 25737"/>
                    <a:gd name="connsiteY0" fmla="*/ 37628 h 37627"/>
                    <a:gd name="connsiteX1" fmla="*/ 3963 w 25737"/>
                    <a:gd name="connsiteY1" fmla="*/ 36866 h 37627"/>
                    <a:gd name="connsiteX2" fmla="*/ 724 w 25737"/>
                    <a:gd name="connsiteY2" fmla="*/ 27341 h 37627"/>
                    <a:gd name="connsiteX3" fmla="*/ 12249 w 25737"/>
                    <a:gd name="connsiteY3" fmla="*/ 4004 h 37627"/>
                    <a:gd name="connsiteX4" fmla="*/ 21774 w 25737"/>
                    <a:gd name="connsiteY4" fmla="*/ 766 h 37627"/>
                    <a:gd name="connsiteX5" fmla="*/ 25013 w 25737"/>
                    <a:gd name="connsiteY5" fmla="*/ 10291 h 37627"/>
                    <a:gd name="connsiteX6" fmla="*/ 13488 w 25737"/>
                    <a:gd name="connsiteY6" fmla="*/ 33627 h 37627"/>
                    <a:gd name="connsiteX7" fmla="*/ 7106 w 25737"/>
                    <a:gd name="connsiteY7" fmla="*/ 37628 h 37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737" h="37627">
                      <a:moveTo>
                        <a:pt x="7106" y="37628"/>
                      </a:moveTo>
                      <a:cubicBezTo>
                        <a:pt x="6058" y="37628"/>
                        <a:pt x="4915" y="37437"/>
                        <a:pt x="3963" y="36866"/>
                      </a:cubicBezTo>
                      <a:cubicBezTo>
                        <a:pt x="438" y="35151"/>
                        <a:pt x="-990" y="30865"/>
                        <a:pt x="724" y="27341"/>
                      </a:cubicBezTo>
                      <a:lnTo>
                        <a:pt x="12249" y="4004"/>
                      </a:lnTo>
                      <a:cubicBezTo>
                        <a:pt x="13964" y="480"/>
                        <a:pt x="18250" y="-1044"/>
                        <a:pt x="21774" y="766"/>
                      </a:cubicBezTo>
                      <a:cubicBezTo>
                        <a:pt x="25299" y="2480"/>
                        <a:pt x="26727" y="6767"/>
                        <a:pt x="25013" y="10291"/>
                      </a:cubicBezTo>
                      <a:lnTo>
                        <a:pt x="13488" y="33627"/>
                      </a:lnTo>
                      <a:cubicBezTo>
                        <a:pt x="12249" y="36199"/>
                        <a:pt x="9678" y="37628"/>
                        <a:pt x="7106" y="3762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3" name="Grafik 31">
                  <a:extLst>
                    <a:ext uri="{FF2B5EF4-FFF2-40B4-BE49-F238E27FC236}">
                      <a16:creationId xmlns:a16="http://schemas.microsoft.com/office/drawing/2014/main" id="{6E0A5508-0895-038F-6C17-2860D699BEB5}"/>
                    </a:ext>
                  </a:extLst>
                </p:cNvPr>
                <p:cNvSpPr/>
                <p:nvPr/>
              </p:nvSpPr>
              <p:spPr bwMode="gray">
                <a:xfrm>
                  <a:off x="6154520" y="3332358"/>
                  <a:ext cx="37548" cy="25774"/>
                </a:xfrm>
                <a:custGeom>
                  <a:avLst/>
                  <a:gdLst>
                    <a:gd name="connsiteX0" fmla="*/ 30442 w 37548"/>
                    <a:gd name="connsiteY0" fmla="*/ 25775 h 25774"/>
                    <a:gd name="connsiteX1" fmla="*/ 27299 w 37548"/>
                    <a:gd name="connsiteY1" fmla="*/ 25013 h 25774"/>
                    <a:gd name="connsiteX2" fmla="*/ 3963 w 37548"/>
                    <a:gd name="connsiteY2" fmla="*/ 13488 h 25774"/>
                    <a:gd name="connsiteX3" fmla="*/ 724 w 37548"/>
                    <a:gd name="connsiteY3" fmla="*/ 3963 h 25774"/>
                    <a:gd name="connsiteX4" fmla="*/ 10249 w 37548"/>
                    <a:gd name="connsiteY4" fmla="*/ 724 h 25774"/>
                    <a:gd name="connsiteX5" fmla="*/ 33585 w 37548"/>
                    <a:gd name="connsiteY5" fmla="*/ 12249 h 25774"/>
                    <a:gd name="connsiteX6" fmla="*/ 36824 w 37548"/>
                    <a:gd name="connsiteY6" fmla="*/ 21774 h 25774"/>
                    <a:gd name="connsiteX7" fmla="*/ 30442 w 37548"/>
                    <a:gd name="connsiteY7" fmla="*/ 25775 h 257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548" h="25774">
                      <a:moveTo>
                        <a:pt x="30442" y="25775"/>
                      </a:moveTo>
                      <a:cubicBezTo>
                        <a:pt x="29394" y="25775"/>
                        <a:pt x="28251" y="25584"/>
                        <a:pt x="27299" y="25013"/>
                      </a:cubicBezTo>
                      <a:lnTo>
                        <a:pt x="3963" y="13488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439" y="438"/>
                        <a:pt x="6725" y="-990"/>
                        <a:pt x="10249" y="724"/>
                      </a:cubicBezTo>
                      <a:lnTo>
                        <a:pt x="33585" y="12249"/>
                      </a:lnTo>
                      <a:cubicBezTo>
                        <a:pt x="37110" y="13964"/>
                        <a:pt x="38538" y="18250"/>
                        <a:pt x="36824" y="21774"/>
                      </a:cubicBezTo>
                      <a:cubicBezTo>
                        <a:pt x="35586" y="24251"/>
                        <a:pt x="33014" y="25775"/>
                        <a:pt x="30442" y="257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sp>
        <p:nvSpPr>
          <p:cNvPr id="591" name="Rectangle 590">
            <a:extLst>
              <a:ext uri="{FF2B5EF4-FFF2-40B4-BE49-F238E27FC236}">
                <a16:creationId xmlns:a16="http://schemas.microsoft.com/office/drawing/2014/main" id="{833B5D09-4A08-045B-6118-670AE6304C88}"/>
              </a:ext>
            </a:extLst>
          </p:cNvPr>
          <p:cNvSpPr/>
          <p:nvPr/>
        </p:nvSpPr>
        <p:spPr>
          <a:xfrm>
            <a:off x="7536202" y="850740"/>
            <a:ext cx="1975315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ATM</a:t>
            </a:r>
          </a:p>
        </p:txBody>
      </p:sp>
      <p:sp>
        <p:nvSpPr>
          <p:cNvPr id="592" name="Text Box 55">
            <a:extLst>
              <a:ext uri="{FF2B5EF4-FFF2-40B4-BE49-F238E27FC236}">
                <a16:creationId xmlns:a16="http://schemas.microsoft.com/office/drawing/2014/main" id="{41C34BCD-3161-226B-45B7-D593E9F9BD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19972" y="1366838"/>
            <a:ext cx="112466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Router with ATM</a:t>
            </a:r>
          </a:p>
        </p:txBody>
      </p:sp>
      <p:sp>
        <p:nvSpPr>
          <p:cNvPr id="593" name="Text Box 56">
            <a:extLst>
              <a:ext uri="{FF2B5EF4-FFF2-40B4-BE49-F238E27FC236}">
                <a16:creationId xmlns:a16="http://schemas.microsoft.com/office/drawing/2014/main" id="{59B9A7FD-AAD0-B5E9-728B-415F429FDDE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19972" y="1912938"/>
            <a:ext cx="80932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ATM Switch</a:t>
            </a:r>
          </a:p>
        </p:txBody>
      </p:sp>
      <p:sp>
        <p:nvSpPr>
          <p:cNvPr id="594" name="Text Box 57">
            <a:extLst>
              <a:ext uri="{FF2B5EF4-FFF2-40B4-BE49-F238E27FC236}">
                <a16:creationId xmlns:a16="http://schemas.microsoft.com/office/drawing/2014/main" id="{2FA53046-19D8-F7AF-8C12-7FC72373250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19972" y="2459038"/>
            <a:ext cx="95539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Switch Router</a:t>
            </a:r>
          </a:p>
        </p:txBody>
      </p:sp>
      <p:sp>
        <p:nvSpPr>
          <p:cNvPr id="595" name="Text Box 58">
            <a:extLst>
              <a:ext uri="{FF2B5EF4-FFF2-40B4-BE49-F238E27FC236}">
                <a16:creationId xmlns:a16="http://schemas.microsoft.com/office/drawing/2014/main" id="{05D70CA0-DBA1-52FD-6CC1-2BD94997F92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19972" y="3005138"/>
            <a:ext cx="98905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DSLAM (ATM)</a:t>
            </a:r>
          </a:p>
        </p:txBody>
      </p:sp>
      <p:grpSp>
        <p:nvGrpSpPr>
          <p:cNvPr id="596" name="Grafik 4039">
            <a:extLst>
              <a:ext uri="{FF2B5EF4-FFF2-40B4-BE49-F238E27FC236}">
                <a16:creationId xmlns:a16="http://schemas.microsoft.com/office/drawing/2014/main" id="{C785DA48-D6AA-172C-0987-258CACEC2E04}"/>
              </a:ext>
            </a:extLst>
          </p:cNvPr>
          <p:cNvGrpSpPr/>
          <p:nvPr/>
        </p:nvGrpSpPr>
        <p:grpSpPr bwMode="gray">
          <a:xfrm>
            <a:off x="7536203" y="133320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97" name="Grafik 4039">
              <a:extLst>
                <a:ext uri="{FF2B5EF4-FFF2-40B4-BE49-F238E27FC236}">
                  <a16:creationId xmlns:a16="http://schemas.microsoft.com/office/drawing/2014/main" id="{E15B7E2D-29C0-28AA-641D-9ECE98DA8759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606" name="Grafik 4039">
                <a:extLst>
                  <a:ext uri="{FF2B5EF4-FFF2-40B4-BE49-F238E27FC236}">
                    <a16:creationId xmlns:a16="http://schemas.microsoft.com/office/drawing/2014/main" id="{74593C41-549E-7245-4527-E54D0A521254}"/>
                  </a:ext>
                </a:extLst>
              </p:cNvPr>
              <p:cNvGrpSpPr/>
              <p:nvPr/>
            </p:nvGrpSpPr>
            <p:grpSpPr bwMode="gray">
              <a:xfrm>
                <a:off x="5951066" y="3230233"/>
                <a:ext cx="285352" cy="149902"/>
                <a:chOff x="5951066" y="3230233"/>
                <a:chExt cx="285352" cy="149902"/>
              </a:xfrm>
              <a:grpFill/>
            </p:grpSpPr>
            <p:grpSp>
              <p:nvGrpSpPr>
                <p:cNvPr id="609" name="Grafik 4039">
                  <a:extLst>
                    <a:ext uri="{FF2B5EF4-FFF2-40B4-BE49-F238E27FC236}">
                      <a16:creationId xmlns:a16="http://schemas.microsoft.com/office/drawing/2014/main" id="{0C82CC3D-6B0D-481C-F657-319C031C70DC}"/>
                    </a:ext>
                  </a:extLst>
                </p:cNvPr>
                <p:cNvGrpSpPr/>
                <p:nvPr/>
              </p:nvGrpSpPr>
              <p:grpSpPr bwMode="gray">
                <a:xfrm>
                  <a:off x="6118933" y="3230233"/>
                  <a:ext cx="117485" cy="65892"/>
                  <a:chOff x="6118933" y="3230233"/>
                  <a:chExt cx="117485" cy="65892"/>
                </a:xfrm>
                <a:grpFill/>
              </p:grpSpPr>
              <p:sp>
                <p:nvSpPr>
                  <p:cNvPr id="622" name="Grafik 4039">
                    <a:extLst>
                      <a:ext uri="{FF2B5EF4-FFF2-40B4-BE49-F238E27FC236}">
                        <a16:creationId xmlns:a16="http://schemas.microsoft.com/office/drawing/2014/main" id="{A158F004-3B3A-92E4-8DC4-448457BC11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33" y="3230233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225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225"/>
                        </a:lnTo>
                        <a:cubicBezTo>
                          <a:pt x="9356" y="65702"/>
                          <a:pt x="8308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3" name="Grafik 4039">
                    <a:extLst>
                      <a:ext uri="{FF2B5EF4-FFF2-40B4-BE49-F238E27FC236}">
                        <a16:creationId xmlns:a16="http://schemas.microsoft.com/office/drawing/2014/main" id="{371910A6-E372-965D-3403-9766E67AAC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307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9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4" name="Grafik 4039">
                    <a:extLst>
                      <a:ext uri="{FF2B5EF4-FFF2-40B4-BE49-F238E27FC236}">
                        <a16:creationId xmlns:a16="http://schemas.microsoft.com/office/drawing/2014/main" id="{9BF9D7A8-7610-7315-D9BF-10495F25536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610" name="Grafik 4039">
                  <a:extLst>
                    <a:ext uri="{FF2B5EF4-FFF2-40B4-BE49-F238E27FC236}">
                      <a16:creationId xmlns:a16="http://schemas.microsoft.com/office/drawing/2014/main" id="{375DCF99-F027-4AE2-EC2E-51F43BD5AF5D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44"/>
                  <a:ext cx="117485" cy="65892"/>
                  <a:chOff x="5951103" y="3314244"/>
                  <a:chExt cx="117485" cy="65892"/>
                </a:xfrm>
                <a:grpFill/>
              </p:grpSpPr>
              <p:sp>
                <p:nvSpPr>
                  <p:cNvPr id="619" name="Grafik 4039">
                    <a:extLst>
                      <a:ext uri="{FF2B5EF4-FFF2-40B4-BE49-F238E27FC236}">
                        <a16:creationId xmlns:a16="http://schemas.microsoft.com/office/drawing/2014/main" id="{FB41407B-1F26-33D9-6045-2C78C7B1A7A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44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130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130"/>
                        </a:lnTo>
                        <a:cubicBezTo>
                          <a:pt x="9356" y="65606"/>
                          <a:pt x="8213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0" name="Grafik 4039">
                    <a:extLst>
                      <a:ext uri="{FF2B5EF4-FFF2-40B4-BE49-F238E27FC236}">
                        <a16:creationId xmlns:a16="http://schemas.microsoft.com/office/drawing/2014/main" id="{B56493AE-25BD-D415-A04B-38F3452C502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1" name="Grafik 4039">
                    <a:extLst>
                      <a:ext uri="{FF2B5EF4-FFF2-40B4-BE49-F238E27FC236}">
                        <a16:creationId xmlns:a16="http://schemas.microsoft.com/office/drawing/2014/main" id="{46CD8D0C-7B8C-4E03-6428-1AC25C5D5A7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611" name="Grafik 4039">
                  <a:extLst>
                    <a:ext uri="{FF2B5EF4-FFF2-40B4-BE49-F238E27FC236}">
                      <a16:creationId xmlns:a16="http://schemas.microsoft.com/office/drawing/2014/main" id="{A20D8790-167B-50DD-A953-7322AE974846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616" name="Grafik 4039">
                    <a:extLst>
                      <a:ext uri="{FF2B5EF4-FFF2-40B4-BE49-F238E27FC236}">
                        <a16:creationId xmlns:a16="http://schemas.microsoft.com/office/drawing/2014/main" id="{4B0FBDE2-013C-C5E7-A534-6C8752403BD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7" name="Grafik 4039">
                    <a:extLst>
                      <a:ext uri="{FF2B5EF4-FFF2-40B4-BE49-F238E27FC236}">
                        <a16:creationId xmlns:a16="http://schemas.microsoft.com/office/drawing/2014/main" id="{F1903805-067C-5D57-EB1A-D8ED6D492BD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8" name="Grafik 4039">
                    <a:extLst>
                      <a:ext uri="{FF2B5EF4-FFF2-40B4-BE49-F238E27FC236}">
                        <a16:creationId xmlns:a16="http://schemas.microsoft.com/office/drawing/2014/main" id="{A6D1BF19-BB15-6FD4-2971-90D48955CB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612" name="Grafik 4039">
                  <a:extLst>
                    <a:ext uri="{FF2B5EF4-FFF2-40B4-BE49-F238E27FC236}">
                      <a16:creationId xmlns:a16="http://schemas.microsoft.com/office/drawing/2014/main" id="{6812D198-0DD3-06B5-663E-4F8000D73976}"/>
                    </a:ext>
                  </a:extLst>
                </p:cNvPr>
                <p:cNvGrpSpPr/>
                <p:nvPr/>
              </p:nvGrpSpPr>
              <p:grpSpPr bwMode="gray">
                <a:xfrm>
                  <a:off x="5951066" y="3230345"/>
                  <a:ext cx="117405" cy="65779"/>
                  <a:chOff x="5951066" y="3230345"/>
                  <a:chExt cx="117405" cy="65779"/>
                </a:xfrm>
                <a:grpFill/>
              </p:grpSpPr>
              <p:sp>
                <p:nvSpPr>
                  <p:cNvPr id="613" name="Grafik 4039">
                    <a:extLst>
                      <a:ext uri="{FF2B5EF4-FFF2-40B4-BE49-F238E27FC236}">
                        <a16:creationId xmlns:a16="http://schemas.microsoft.com/office/drawing/2014/main" id="{2627FC1D-DD76-5B48-4599-51DF24282C7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066" y="3230345"/>
                    <a:ext cx="117367" cy="65779"/>
                  </a:xfrm>
                  <a:custGeom>
                    <a:avLst/>
                    <a:gdLst>
                      <a:gd name="connsiteX0" fmla="*/ 110262 w 117367"/>
                      <a:gd name="connsiteY0" fmla="*/ 65780 h 65779"/>
                      <a:gd name="connsiteX1" fmla="*/ 107118 w 117367"/>
                      <a:gd name="connsiteY1" fmla="*/ 65018 h 65779"/>
                      <a:gd name="connsiteX2" fmla="*/ 3963 w 117367"/>
                      <a:gd name="connsiteY2" fmla="*/ 13583 h 65779"/>
                      <a:gd name="connsiteX3" fmla="*/ 724 w 117367"/>
                      <a:gd name="connsiteY3" fmla="*/ 3963 h 65779"/>
                      <a:gd name="connsiteX4" fmla="*/ 10344 w 117367"/>
                      <a:gd name="connsiteY4" fmla="*/ 724 h 65779"/>
                      <a:gd name="connsiteX5" fmla="*/ 113405 w 117367"/>
                      <a:gd name="connsiteY5" fmla="*/ 52254 h 65779"/>
                      <a:gd name="connsiteX6" fmla="*/ 116643 w 117367"/>
                      <a:gd name="connsiteY6" fmla="*/ 61875 h 65779"/>
                      <a:gd name="connsiteX7" fmla="*/ 110262 w 117367"/>
                      <a:gd name="connsiteY7" fmla="*/ 65780 h 65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779">
                        <a:moveTo>
                          <a:pt x="110262" y="65780"/>
                        </a:moveTo>
                        <a:cubicBezTo>
                          <a:pt x="109214" y="65780"/>
                          <a:pt x="108071" y="65494"/>
                          <a:pt x="107118" y="65018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405" y="64351"/>
                          <a:pt x="112833" y="65780"/>
                          <a:pt x="110262" y="6578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4" name="Grafik 4039">
                    <a:extLst>
                      <a:ext uri="{FF2B5EF4-FFF2-40B4-BE49-F238E27FC236}">
                        <a16:creationId xmlns:a16="http://schemas.microsoft.com/office/drawing/2014/main" id="{266FDD83-2013-6D62-42FB-0443F5F0706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5" name="Grafik 4039">
                    <a:extLst>
                      <a:ext uri="{FF2B5EF4-FFF2-40B4-BE49-F238E27FC236}">
                        <a16:creationId xmlns:a16="http://schemas.microsoft.com/office/drawing/2014/main" id="{86E6C3C9-B271-5BDD-669C-0377DB0B422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83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607" name="Grafik 4039">
                <a:extLst>
                  <a:ext uri="{FF2B5EF4-FFF2-40B4-BE49-F238E27FC236}">
                    <a16:creationId xmlns:a16="http://schemas.microsoft.com/office/drawing/2014/main" id="{841D904D-ACD5-E3F7-EC22-FDC6D81EE86F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8" name="Grafik 4039">
                <a:extLst>
                  <a:ext uri="{FF2B5EF4-FFF2-40B4-BE49-F238E27FC236}">
                    <a16:creationId xmlns:a16="http://schemas.microsoft.com/office/drawing/2014/main" id="{85813441-F91E-FD98-9137-716A2F4DCF88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98" name="Grafik 4039">
              <a:extLst>
                <a:ext uri="{FF2B5EF4-FFF2-40B4-BE49-F238E27FC236}">
                  <a16:creationId xmlns:a16="http://schemas.microsoft.com/office/drawing/2014/main" id="{2E8BB4D6-F856-526A-997F-8384DEF500E9}"/>
                </a:ext>
              </a:extLst>
            </p:cNvPr>
            <p:cNvGrpSpPr/>
            <p:nvPr/>
          </p:nvGrpSpPr>
          <p:grpSpPr bwMode="gray">
            <a:xfrm>
              <a:off x="5995525" y="3480339"/>
              <a:ext cx="196486" cy="95250"/>
              <a:chOff x="5995525" y="3480339"/>
              <a:chExt cx="196486" cy="95250"/>
            </a:xfrm>
            <a:grpFill/>
          </p:grpSpPr>
          <p:sp>
            <p:nvSpPr>
              <p:cNvPr id="599" name="Grafik 4039">
                <a:extLst>
                  <a:ext uri="{FF2B5EF4-FFF2-40B4-BE49-F238E27FC236}">
                    <a16:creationId xmlns:a16="http://schemas.microsoft.com/office/drawing/2014/main" id="{3CBDDB5C-6CD6-C4C1-501B-DBBF7C6194D9}"/>
                  </a:ext>
                </a:extLst>
              </p:cNvPr>
              <p:cNvSpPr/>
              <p:nvPr/>
            </p:nvSpPr>
            <p:spPr bwMode="gray">
              <a:xfrm>
                <a:off x="6177724" y="3480434"/>
                <a:ext cx="14287" cy="95154"/>
              </a:xfrm>
              <a:custGeom>
                <a:avLst/>
                <a:gdLst>
                  <a:gd name="connsiteX0" fmla="*/ 7144 w 14287"/>
                  <a:gd name="connsiteY0" fmla="*/ 95155 h 95154"/>
                  <a:gd name="connsiteX1" fmla="*/ 0 w 14287"/>
                  <a:gd name="connsiteY1" fmla="*/ 88011 h 95154"/>
                  <a:gd name="connsiteX2" fmla="*/ 0 w 14287"/>
                  <a:gd name="connsiteY2" fmla="*/ 7144 h 95154"/>
                  <a:gd name="connsiteX3" fmla="*/ 7144 w 14287"/>
                  <a:gd name="connsiteY3" fmla="*/ 0 h 95154"/>
                  <a:gd name="connsiteX4" fmla="*/ 14288 w 14287"/>
                  <a:gd name="connsiteY4" fmla="*/ 7144 h 95154"/>
                  <a:gd name="connsiteX5" fmla="*/ 14288 w 14287"/>
                  <a:gd name="connsiteY5" fmla="*/ 88011 h 95154"/>
                  <a:gd name="connsiteX6" fmla="*/ 7144 w 14287"/>
                  <a:gd name="connsiteY6" fmla="*/ 95155 h 9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95154">
                    <a:moveTo>
                      <a:pt x="7144" y="95155"/>
                    </a:moveTo>
                    <a:cubicBezTo>
                      <a:pt x="3238" y="95155"/>
                      <a:pt x="0" y="91916"/>
                      <a:pt x="0" y="88011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88011"/>
                    </a:lnTo>
                    <a:cubicBezTo>
                      <a:pt x="14288" y="92012"/>
                      <a:pt x="11049" y="95155"/>
                      <a:pt x="7144" y="9515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0" name="Grafik 4039">
                <a:extLst>
                  <a:ext uri="{FF2B5EF4-FFF2-40B4-BE49-F238E27FC236}">
                    <a16:creationId xmlns:a16="http://schemas.microsoft.com/office/drawing/2014/main" id="{92451294-60F6-F4E1-3911-9C1870DA19D0}"/>
                  </a:ext>
                </a:extLst>
              </p:cNvPr>
              <p:cNvSpPr/>
              <p:nvPr/>
            </p:nvSpPr>
            <p:spPr bwMode="gray">
              <a:xfrm>
                <a:off x="5995525" y="3480339"/>
                <a:ext cx="67978" cy="95250"/>
              </a:xfrm>
              <a:custGeom>
                <a:avLst/>
                <a:gdLst>
                  <a:gd name="connsiteX0" fmla="*/ 60850 w 67978"/>
                  <a:gd name="connsiteY0" fmla="*/ 95250 h 95250"/>
                  <a:gd name="connsiteX1" fmla="*/ 54088 w 67978"/>
                  <a:gd name="connsiteY1" fmla="*/ 90392 h 95250"/>
                  <a:gd name="connsiteX2" fmla="*/ 34085 w 67978"/>
                  <a:gd name="connsiteY2" fmla="*/ 29813 h 95250"/>
                  <a:gd name="connsiteX3" fmla="*/ 13892 w 67978"/>
                  <a:gd name="connsiteY3" fmla="*/ 90297 h 95250"/>
                  <a:gd name="connsiteX4" fmla="*/ 4843 w 67978"/>
                  <a:gd name="connsiteY4" fmla="*/ 94774 h 95250"/>
                  <a:gd name="connsiteX5" fmla="*/ 367 w 67978"/>
                  <a:gd name="connsiteY5" fmla="*/ 85725 h 95250"/>
                  <a:gd name="connsiteX6" fmla="*/ 27322 w 67978"/>
                  <a:gd name="connsiteY6" fmla="*/ 4858 h 95250"/>
                  <a:gd name="connsiteX7" fmla="*/ 34085 w 67978"/>
                  <a:gd name="connsiteY7" fmla="*/ 0 h 95250"/>
                  <a:gd name="connsiteX8" fmla="*/ 34085 w 67978"/>
                  <a:gd name="connsiteY8" fmla="*/ 0 h 95250"/>
                  <a:gd name="connsiteX9" fmla="*/ 40848 w 67978"/>
                  <a:gd name="connsiteY9" fmla="*/ 4858 h 95250"/>
                  <a:gd name="connsiteX10" fmla="*/ 67613 w 67978"/>
                  <a:gd name="connsiteY10" fmla="*/ 85820 h 95250"/>
                  <a:gd name="connsiteX11" fmla="*/ 63041 w 67978"/>
                  <a:gd name="connsiteY11" fmla="*/ 94869 h 95250"/>
                  <a:gd name="connsiteX12" fmla="*/ 60850 w 67978"/>
                  <a:gd name="connsiteY12" fmla="*/ 95250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7978" h="95250">
                    <a:moveTo>
                      <a:pt x="60850" y="95250"/>
                    </a:moveTo>
                    <a:cubicBezTo>
                      <a:pt x="57898" y="95250"/>
                      <a:pt x="55040" y="93345"/>
                      <a:pt x="54088" y="90392"/>
                    </a:cubicBezTo>
                    <a:lnTo>
                      <a:pt x="34085" y="29813"/>
                    </a:lnTo>
                    <a:lnTo>
                      <a:pt x="13892" y="90297"/>
                    </a:lnTo>
                    <a:cubicBezTo>
                      <a:pt x="12654" y="94012"/>
                      <a:pt x="8558" y="96012"/>
                      <a:pt x="4843" y="94774"/>
                    </a:cubicBezTo>
                    <a:cubicBezTo>
                      <a:pt x="1129" y="93536"/>
                      <a:pt x="-872" y="89440"/>
                      <a:pt x="367" y="85725"/>
                    </a:cubicBezTo>
                    <a:lnTo>
                      <a:pt x="27322" y="4858"/>
                    </a:lnTo>
                    <a:cubicBezTo>
                      <a:pt x="28275" y="1905"/>
                      <a:pt x="31037" y="0"/>
                      <a:pt x="34085" y="0"/>
                    </a:cubicBezTo>
                    <a:cubicBezTo>
                      <a:pt x="34085" y="0"/>
                      <a:pt x="34085" y="0"/>
                      <a:pt x="34085" y="0"/>
                    </a:cubicBezTo>
                    <a:cubicBezTo>
                      <a:pt x="37133" y="0"/>
                      <a:pt x="39895" y="2000"/>
                      <a:pt x="40848" y="4858"/>
                    </a:cubicBezTo>
                    <a:lnTo>
                      <a:pt x="67613" y="85820"/>
                    </a:lnTo>
                    <a:cubicBezTo>
                      <a:pt x="68851" y="89535"/>
                      <a:pt x="66851" y="93631"/>
                      <a:pt x="63041" y="94869"/>
                    </a:cubicBezTo>
                    <a:cubicBezTo>
                      <a:pt x="62279" y="95155"/>
                      <a:pt x="61517" y="95250"/>
                      <a:pt x="60850" y="952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1" name="Grafik 4039">
                <a:extLst>
                  <a:ext uri="{FF2B5EF4-FFF2-40B4-BE49-F238E27FC236}">
                    <a16:creationId xmlns:a16="http://schemas.microsoft.com/office/drawing/2014/main" id="{BEE2165B-0858-7BE0-63D5-46FBE6BD7621}"/>
                  </a:ext>
                </a:extLst>
              </p:cNvPr>
              <p:cNvSpPr/>
              <p:nvPr/>
            </p:nvSpPr>
            <p:spPr bwMode="gray">
              <a:xfrm>
                <a:off x="6076187" y="3480434"/>
                <a:ext cx="14287" cy="95154"/>
              </a:xfrm>
              <a:custGeom>
                <a:avLst/>
                <a:gdLst>
                  <a:gd name="connsiteX0" fmla="*/ 7144 w 14287"/>
                  <a:gd name="connsiteY0" fmla="*/ 95155 h 95154"/>
                  <a:gd name="connsiteX1" fmla="*/ 0 w 14287"/>
                  <a:gd name="connsiteY1" fmla="*/ 88011 h 95154"/>
                  <a:gd name="connsiteX2" fmla="*/ 0 w 14287"/>
                  <a:gd name="connsiteY2" fmla="*/ 7144 h 95154"/>
                  <a:gd name="connsiteX3" fmla="*/ 7144 w 14287"/>
                  <a:gd name="connsiteY3" fmla="*/ 0 h 95154"/>
                  <a:gd name="connsiteX4" fmla="*/ 14288 w 14287"/>
                  <a:gd name="connsiteY4" fmla="*/ 7144 h 95154"/>
                  <a:gd name="connsiteX5" fmla="*/ 14288 w 14287"/>
                  <a:gd name="connsiteY5" fmla="*/ 88011 h 95154"/>
                  <a:gd name="connsiteX6" fmla="*/ 7144 w 14287"/>
                  <a:gd name="connsiteY6" fmla="*/ 95155 h 9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95154">
                    <a:moveTo>
                      <a:pt x="7144" y="95155"/>
                    </a:moveTo>
                    <a:cubicBezTo>
                      <a:pt x="3239" y="95155"/>
                      <a:pt x="0" y="91916"/>
                      <a:pt x="0" y="88011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88011"/>
                    </a:lnTo>
                    <a:cubicBezTo>
                      <a:pt x="14288" y="92012"/>
                      <a:pt x="11049" y="95155"/>
                      <a:pt x="7144" y="9515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2" name="Grafik 4039">
                <a:extLst>
                  <a:ext uri="{FF2B5EF4-FFF2-40B4-BE49-F238E27FC236}">
                    <a16:creationId xmlns:a16="http://schemas.microsoft.com/office/drawing/2014/main" id="{4E213AC2-D036-613A-FD1F-E941585DE146}"/>
                  </a:ext>
                </a:extLst>
              </p:cNvPr>
              <p:cNvSpPr/>
              <p:nvPr/>
            </p:nvSpPr>
            <p:spPr bwMode="gray">
              <a:xfrm>
                <a:off x="6017227" y="3534346"/>
                <a:ext cx="37338" cy="14287"/>
              </a:xfrm>
              <a:custGeom>
                <a:avLst/>
                <a:gdLst>
                  <a:gd name="connsiteX0" fmla="*/ 30194 w 37338"/>
                  <a:gd name="connsiteY0" fmla="*/ 14288 h 14287"/>
                  <a:gd name="connsiteX1" fmla="*/ 7144 w 37338"/>
                  <a:gd name="connsiteY1" fmla="*/ 14288 h 14287"/>
                  <a:gd name="connsiteX2" fmla="*/ 0 w 37338"/>
                  <a:gd name="connsiteY2" fmla="*/ 7144 h 14287"/>
                  <a:gd name="connsiteX3" fmla="*/ 7144 w 37338"/>
                  <a:gd name="connsiteY3" fmla="*/ 0 h 14287"/>
                  <a:gd name="connsiteX4" fmla="*/ 30194 w 37338"/>
                  <a:gd name="connsiteY4" fmla="*/ 0 h 14287"/>
                  <a:gd name="connsiteX5" fmla="*/ 37338 w 37338"/>
                  <a:gd name="connsiteY5" fmla="*/ 7144 h 14287"/>
                  <a:gd name="connsiteX6" fmla="*/ 30194 w 37338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7338" h="14287">
                    <a:moveTo>
                      <a:pt x="3019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0194" y="0"/>
                    </a:lnTo>
                    <a:cubicBezTo>
                      <a:pt x="34100" y="0"/>
                      <a:pt x="37338" y="3239"/>
                      <a:pt x="37338" y="7144"/>
                    </a:cubicBezTo>
                    <a:cubicBezTo>
                      <a:pt x="37338" y="11049"/>
                      <a:pt x="34100" y="14288"/>
                      <a:pt x="3019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3" name="Grafik 4039">
                <a:extLst>
                  <a:ext uri="{FF2B5EF4-FFF2-40B4-BE49-F238E27FC236}">
                    <a16:creationId xmlns:a16="http://schemas.microsoft.com/office/drawing/2014/main" id="{FACC9E47-F61B-C652-FDAE-687B0514B53D}"/>
                  </a:ext>
                </a:extLst>
              </p:cNvPr>
              <p:cNvSpPr/>
              <p:nvPr/>
            </p:nvSpPr>
            <p:spPr bwMode="gray">
              <a:xfrm>
                <a:off x="6049136" y="3480339"/>
                <a:ext cx="68294" cy="14287"/>
              </a:xfrm>
              <a:custGeom>
                <a:avLst/>
                <a:gdLst>
                  <a:gd name="connsiteX0" fmla="*/ 61151 w 68294"/>
                  <a:gd name="connsiteY0" fmla="*/ 14288 h 14287"/>
                  <a:gd name="connsiteX1" fmla="*/ 7144 w 68294"/>
                  <a:gd name="connsiteY1" fmla="*/ 14288 h 14287"/>
                  <a:gd name="connsiteX2" fmla="*/ 0 w 68294"/>
                  <a:gd name="connsiteY2" fmla="*/ 7144 h 14287"/>
                  <a:gd name="connsiteX3" fmla="*/ 7144 w 68294"/>
                  <a:gd name="connsiteY3" fmla="*/ 0 h 14287"/>
                  <a:gd name="connsiteX4" fmla="*/ 61151 w 68294"/>
                  <a:gd name="connsiteY4" fmla="*/ 0 h 14287"/>
                  <a:gd name="connsiteX5" fmla="*/ 68294 w 68294"/>
                  <a:gd name="connsiteY5" fmla="*/ 7144 h 14287"/>
                  <a:gd name="connsiteX6" fmla="*/ 61151 w 6829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8294" h="14287">
                    <a:moveTo>
                      <a:pt x="6115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61151" y="0"/>
                    </a:lnTo>
                    <a:cubicBezTo>
                      <a:pt x="65056" y="0"/>
                      <a:pt x="68294" y="3239"/>
                      <a:pt x="68294" y="7144"/>
                    </a:cubicBezTo>
                    <a:cubicBezTo>
                      <a:pt x="68294" y="11049"/>
                      <a:pt x="65151" y="14288"/>
                      <a:pt x="61151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4" name="Grafik 4039">
                <a:extLst>
                  <a:ext uri="{FF2B5EF4-FFF2-40B4-BE49-F238E27FC236}">
                    <a16:creationId xmlns:a16="http://schemas.microsoft.com/office/drawing/2014/main" id="{968101B3-85B7-D5C7-C573-43F70EE1D179}"/>
                  </a:ext>
                </a:extLst>
              </p:cNvPr>
              <p:cNvSpPr/>
              <p:nvPr/>
            </p:nvSpPr>
            <p:spPr bwMode="gray">
              <a:xfrm>
                <a:off x="6123812" y="3480434"/>
                <a:ext cx="14287" cy="95154"/>
              </a:xfrm>
              <a:custGeom>
                <a:avLst/>
                <a:gdLst>
                  <a:gd name="connsiteX0" fmla="*/ 7144 w 14287"/>
                  <a:gd name="connsiteY0" fmla="*/ 95155 h 95154"/>
                  <a:gd name="connsiteX1" fmla="*/ 0 w 14287"/>
                  <a:gd name="connsiteY1" fmla="*/ 88011 h 95154"/>
                  <a:gd name="connsiteX2" fmla="*/ 0 w 14287"/>
                  <a:gd name="connsiteY2" fmla="*/ 7144 h 95154"/>
                  <a:gd name="connsiteX3" fmla="*/ 7144 w 14287"/>
                  <a:gd name="connsiteY3" fmla="*/ 0 h 95154"/>
                  <a:gd name="connsiteX4" fmla="*/ 14288 w 14287"/>
                  <a:gd name="connsiteY4" fmla="*/ 7144 h 95154"/>
                  <a:gd name="connsiteX5" fmla="*/ 14288 w 14287"/>
                  <a:gd name="connsiteY5" fmla="*/ 88011 h 95154"/>
                  <a:gd name="connsiteX6" fmla="*/ 7144 w 14287"/>
                  <a:gd name="connsiteY6" fmla="*/ 95155 h 9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95154">
                    <a:moveTo>
                      <a:pt x="7144" y="95155"/>
                    </a:moveTo>
                    <a:cubicBezTo>
                      <a:pt x="3239" y="95155"/>
                      <a:pt x="0" y="91916"/>
                      <a:pt x="0" y="88011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88011"/>
                    </a:lnTo>
                    <a:cubicBezTo>
                      <a:pt x="14288" y="92012"/>
                      <a:pt x="11049" y="95155"/>
                      <a:pt x="7144" y="9515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5" name="Grafik 4039">
                <a:extLst>
                  <a:ext uri="{FF2B5EF4-FFF2-40B4-BE49-F238E27FC236}">
                    <a16:creationId xmlns:a16="http://schemas.microsoft.com/office/drawing/2014/main" id="{809727C5-301A-D1B1-D35A-255C1B3C1058}"/>
                  </a:ext>
                </a:extLst>
              </p:cNvPr>
              <p:cNvSpPr/>
              <p:nvPr/>
            </p:nvSpPr>
            <p:spPr bwMode="gray">
              <a:xfrm>
                <a:off x="6123836" y="3480458"/>
                <a:ext cx="68151" cy="41219"/>
              </a:xfrm>
              <a:custGeom>
                <a:avLst/>
                <a:gdLst>
                  <a:gd name="connsiteX0" fmla="*/ 34076 w 68151"/>
                  <a:gd name="connsiteY0" fmla="*/ 41219 h 41219"/>
                  <a:gd name="connsiteX1" fmla="*/ 29027 w 68151"/>
                  <a:gd name="connsiteY1" fmla="*/ 39124 h 41219"/>
                  <a:gd name="connsiteX2" fmla="*/ 2072 w 68151"/>
                  <a:gd name="connsiteY2" fmla="*/ 12168 h 41219"/>
                  <a:gd name="connsiteX3" fmla="*/ 2072 w 68151"/>
                  <a:gd name="connsiteY3" fmla="*/ 2072 h 41219"/>
                  <a:gd name="connsiteX4" fmla="*/ 12168 w 68151"/>
                  <a:gd name="connsiteY4" fmla="*/ 2072 h 41219"/>
                  <a:gd name="connsiteX5" fmla="*/ 34076 w 68151"/>
                  <a:gd name="connsiteY5" fmla="*/ 23979 h 41219"/>
                  <a:gd name="connsiteX6" fmla="*/ 55983 w 68151"/>
                  <a:gd name="connsiteY6" fmla="*/ 2072 h 41219"/>
                  <a:gd name="connsiteX7" fmla="*/ 66080 w 68151"/>
                  <a:gd name="connsiteY7" fmla="*/ 2072 h 41219"/>
                  <a:gd name="connsiteX8" fmla="*/ 66080 w 68151"/>
                  <a:gd name="connsiteY8" fmla="*/ 12168 h 41219"/>
                  <a:gd name="connsiteX9" fmla="*/ 39124 w 68151"/>
                  <a:gd name="connsiteY9" fmla="*/ 39124 h 41219"/>
                  <a:gd name="connsiteX10" fmla="*/ 34076 w 68151"/>
                  <a:gd name="connsiteY10" fmla="*/ 41219 h 41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8151" h="41219">
                    <a:moveTo>
                      <a:pt x="34076" y="41219"/>
                    </a:moveTo>
                    <a:cubicBezTo>
                      <a:pt x="32266" y="41219"/>
                      <a:pt x="30456" y="40553"/>
                      <a:pt x="29027" y="39124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4076" y="23979"/>
                    </a:lnTo>
                    <a:lnTo>
                      <a:pt x="55983" y="2072"/>
                    </a:lnTo>
                    <a:cubicBezTo>
                      <a:pt x="58745" y="-691"/>
                      <a:pt x="63317" y="-691"/>
                      <a:pt x="66080" y="2072"/>
                    </a:cubicBezTo>
                    <a:cubicBezTo>
                      <a:pt x="68842" y="4834"/>
                      <a:pt x="68842" y="9406"/>
                      <a:pt x="66080" y="12168"/>
                    </a:cubicBezTo>
                    <a:lnTo>
                      <a:pt x="39124" y="39124"/>
                    </a:lnTo>
                    <a:cubicBezTo>
                      <a:pt x="37695" y="40553"/>
                      <a:pt x="35885" y="41219"/>
                      <a:pt x="34076" y="412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625" name="Grafik 36">
            <a:extLst>
              <a:ext uri="{FF2B5EF4-FFF2-40B4-BE49-F238E27FC236}">
                <a16:creationId xmlns:a16="http://schemas.microsoft.com/office/drawing/2014/main" id="{0550848E-67F7-9315-6732-82271D77908A}"/>
              </a:ext>
            </a:extLst>
          </p:cNvPr>
          <p:cNvGrpSpPr/>
          <p:nvPr/>
        </p:nvGrpSpPr>
        <p:grpSpPr bwMode="gray">
          <a:xfrm>
            <a:off x="7536203" y="1869071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26" name="Grafik 36">
              <a:extLst>
                <a:ext uri="{FF2B5EF4-FFF2-40B4-BE49-F238E27FC236}">
                  <a16:creationId xmlns:a16="http://schemas.microsoft.com/office/drawing/2014/main" id="{7B61128F-E799-6E11-D61F-B523BBDD3BA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648" name="Grafik 36">
                <a:extLst>
                  <a:ext uri="{FF2B5EF4-FFF2-40B4-BE49-F238E27FC236}">
                    <a16:creationId xmlns:a16="http://schemas.microsoft.com/office/drawing/2014/main" id="{08999A8B-8CAD-FD5E-A6FE-B5711FCA05C8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49" name="Grafik 36">
                <a:extLst>
                  <a:ext uri="{FF2B5EF4-FFF2-40B4-BE49-F238E27FC236}">
                    <a16:creationId xmlns:a16="http://schemas.microsoft.com/office/drawing/2014/main" id="{67FBE0C3-8083-DFF0-69F1-5B8D3A418FA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50" name="Grafik 36">
                <a:extLst>
                  <a:ext uri="{FF2B5EF4-FFF2-40B4-BE49-F238E27FC236}">
                    <a16:creationId xmlns:a16="http://schemas.microsoft.com/office/drawing/2014/main" id="{72F8995B-F3E6-84A9-25CB-4624DB438592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51" name="Grafik 36">
                <a:extLst>
                  <a:ext uri="{FF2B5EF4-FFF2-40B4-BE49-F238E27FC236}">
                    <a16:creationId xmlns:a16="http://schemas.microsoft.com/office/drawing/2014/main" id="{96D503B4-A94D-3C4D-B64E-7F5A953CD63A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52" name="Grafik 36">
                <a:extLst>
                  <a:ext uri="{FF2B5EF4-FFF2-40B4-BE49-F238E27FC236}">
                    <a16:creationId xmlns:a16="http://schemas.microsoft.com/office/drawing/2014/main" id="{25244F7A-3C38-D405-E7B1-0D5959B584FC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27" name="Grafik 36">
              <a:extLst>
                <a:ext uri="{FF2B5EF4-FFF2-40B4-BE49-F238E27FC236}">
                  <a16:creationId xmlns:a16="http://schemas.microsoft.com/office/drawing/2014/main" id="{234D9592-CCAF-857B-FB31-7C3DFB1A88AB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28" name="Grafik 36">
                <a:extLst>
                  <a:ext uri="{FF2B5EF4-FFF2-40B4-BE49-F238E27FC236}">
                    <a16:creationId xmlns:a16="http://schemas.microsoft.com/office/drawing/2014/main" id="{643D1C7B-FECA-0173-0BEF-AFD16CFCE84A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639" name="Grafik 36">
                  <a:extLst>
                    <a:ext uri="{FF2B5EF4-FFF2-40B4-BE49-F238E27FC236}">
                      <a16:creationId xmlns:a16="http://schemas.microsoft.com/office/drawing/2014/main" id="{E6E96408-F423-A4AF-7DD1-867974A32A88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645" name="Grafik 36">
                    <a:extLst>
                      <a:ext uri="{FF2B5EF4-FFF2-40B4-BE49-F238E27FC236}">
                        <a16:creationId xmlns:a16="http://schemas.microsoft.com/office/drawing/2014/main" id="{D533C7A4-C458-4487-BDB0-488B856FEE8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46" name="Grafik 36">
                    <a:extLst>
                      <a:ext uri="{FF2B5EF4-FFF2-40B4-BE49-F238E27FC236}">
                        <a16:creationId xmlns:a16="http://schemas.microsoft.com/office/drawing/2014/main" id="{551C452F-4C12-674B-9557-07616DEB66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47" name="Grafik 36">
                    <a:extLst>
                      <a:ext uri="{FF2B5EF4-FFF2-40B4-BE49-F238E27FC236}">
                        <a16:creationId xmlns:a16="http://schemas.microsoft.com/office/drawing/2014/main" id="{31BA8B89-6F01-374B-277B-BD9940C2968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40" name="Grafik 36">
                  <a:extLst>
                    <a:ext uri="{FF2B5EF4-FFF2-40B4-BE49-F238E27FC236}">
                      <a16:creationId xmlns:a16="http://schemas.microsoft.com/office/drawing/2014/main" id="{13AD4FB4-C777-836D-3B2C-53312BCD6B7E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641" name="Grafik 36">
                  <a:extLst>
                    <a:ext uri="{FF2B5EF4-FFF2-40B4-BE49-F238E27FC236}">
                      <a16:creationId xmlns:a16="http://schemas.microsoft.com/office/drawing/2014/main" id="{7E182040-7299-34B3-817E-63397ABAF9F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642" name="Grafik 36">
                    <a:extLst>
                      <a:ext uri="{FF2B5EF4-FFF2-40B4-BE49-F238E27FC236}">
                        <a16:creationId xmlns:a16="http://schemas.microsoft.com/office/drawing/2014/main" id="{8005361B-0D91-8F0C-AE45-43EEB77FB76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43" name="Grafik 36">
                    <a:extLst>
                      <a:ext uri="{FF2B5EF4-FFF2-40B4-BE49-F238E27FC236}">
                        <a16:creationId xmlns:a16="http://schemas.microsoft.com/office/drawing/2014/main" id="{2E007FF7-EF09-B7A4-2CB2-615FA5C3B23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44" name="Grafik 36">
                    <a:extLst>
                      <a:ext uri="{FF2B5EF4-FFF2-40B4-BE49-F238E27FC236}">
                        <a16:creationId xmlns:a16="http://schemas.microsoft.com/office/drawing/2014/main" id="{BD153695-F573-A553-FD1C-29701ED1A38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629" name="Grafik 36">
                <a:extLst>
                  <a:ext uri="{FF2B5EF4-FFF2-40B4-BE49-F238E27FC236}">
                    <a16:creationId xmlns:a16="http://schemas.microsoft.com/office/drawing/2014/main" id="{AB9D3A23-3EDF-AACC-D5F7-7DFB379B6B1C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30" name="Grafik 36">
                  <a:extLst>
                    <a:ext uri="{FF2B5EF4-FFF2-40B4-BE49-F238E27FC236}">
                      <a16:creationId xmlns:a16="http://schemas.microsoft.com/office/drawing/2014/main" id="{72AA7BA2-14E7-A12B-1C62-4770DE5FE924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36" name="Grafik 36">
                    <a:extLst>
                      <a:ext uri="{FF2B5EF4-FFF2-40B4-BE49-F238E27FC236}">
                        <a16:creationId xmlns:a16="http://schemas.microsoft.com/office/drawing/2014/main" id="{AA7C7697-AFC7-C380-9B67-6D3BC85AF4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37" name="Grafik 36">
                    <a:extLst>
                      <a:ext uri="{FF2B5EF4-FFF2-40B4-BE49-F238E27FC236}">
                        <a16:creationId xmlns:a16="http://schemas.microsoft.com/office/drawing/2014/main" id="{52C6602F-DB0B-001A-906B-E95B814DA74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38" name="Grafik 36">
                    <a:extLst>
                      <a:ext uri="{FF2B5EF4-FFF2-40B4-BE49-F238E27FC236}">
                        <a16:creationId xmlns:a16="http://schemas.microsoft.com/office/drawing/2014/main" id="{4B011580-63B6-4DF7-CD1C-4BD565444DB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31" name="Grafik 36">
                  <a:extLst>
                    <a:ext uri="{FF2B5EF4-FFF2-40B4-BE49-F238E27FC236}">
                      <a16:creationId xmlns:a16="http://schemas.microsoft.com/office/drawing/2014/main" id="{5C8C3C61-1CBC-399D-553F-655A5827F49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32" name="Grafik 36">
                  <a:extLst>
                    <a:ext uri="{FF2B5EF4-FFF2-40B4-BE49-F238E27FC236}">
                      <a16:creationId xmlns:a16="http://schemas.microsoft.com/office/drawing/2014/main" id="{F626FE28-B5BF-03FF-ED73-3E739C78157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33" name="Grafik 36">
                    <a:extLst>
                      <a:ext uri="{FF2B5EF4-FFF2-40B4-BE49-F238E27FC236}">
                        <a16:creationId xmlns:a16="http://schemas.microsoft.com/office/drawing/2014/main" id="{C71AB9B4-FA91-7F3C-DC30-6C01E82623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34" name="Grafik 36">
                    <a:extLst>
                      <a:ext uri="{FF2B5EF4-FFF2-40B4-BE49-F238E27FC236}">
                        <a16:creationId xmlns:a16="http://schemas.microsoft.com/office/drawing/2014/main" id="{E6E1E73A-3855-B630-3757-2CCF59F53D2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35" name="Grafik 36">
                    <a:extLst>
                      <a:ext uri="{FF2B5EF4-FFF2-40B4-BE49-F238E27FC236}">
                        <a16:creationId xmlns:a16="http://schemas.microsoft.com/office/drawing/2014/main" id="{32CA2001-B863-AD17-63FF-2BB281D9689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653" name="Grafik 3840">
            <a:extLst>
              <a:ext uri="{FF2B5EF4-FFF2-40B4-BE49-F238E27FC236}">
                <a16:creationId xmlns:a16="http://schemas.microsoft.com/office/drawing/2014/main" id="{0EBA1212-6A7F-DD21-9CF1-C64A8D51D3A0}"/>
              </a:ext>
            </a:extLst>
          </p:cNvPr>
          <p:cNvGrpSpPr/>
          <p:nvPr/>
        </p:nvGrpSpPr>
        <p:grpSpPr bwMode="gray">
          <a:xfrm>
            <a:off x="7536203" y="240493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54" name="Grafik 3840">
              <a:extLst>
                <a:ext uri="{FF2B5EF4-FFF2-40B4-BE49-F238E27FC236}">
                  <a16:creationId xmlns:a16="http://schemas.microsoft.com/office/drawing/2014/main" id="{24790CE8-642A-CC60-28A4-2E3CC77E7ECB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676" name="Grafik 3840">
                <a:extLst>
                  <a:ext uri="{FF2B5EF4-FFF2-40B4-BE49-F238E27FC236}">
                    <a16:creationId xmlns:a16="http://schemas.microsoft.com/office/drawing/2014/main" id="{26762EB6-52CF-DF49-8BB8-4C2139DEB9C9}"/>
                  </a:ext>
                </a:extLst>
              </p:cNvPr>
              <p:cNvGrpSpPr/>
              <p:nvPr/>
            </p:nvGrpSpPr>
            <p:grpSpPr bwMode="gray">
              <a:xfrm>
                <a:off x="5951066" y="3230191"/>
                <a:ext cx="285352" cy="149944"/>
                <a:chOff x="5951066" y="3230191"/>
                <a:chExt cx="285352" cy="149944"/>
              </a:xfrm>
              <a:grpFill/>
            </p:grpSpPr>
            <p:grpSp>
              <p:nvGrpSpPr>
                <p:cNvPr id="679" name="Grafik 3840">
                  <a:extLst>
                    <a:ext uri="{FF2B5EF4-FFF2-40B4-BE49-F238E27FC236}">
                      <a16:creationId xmlns:a16="http://schemas.microsoft.com/office/drawing/2014/main" id="{5C5BFB57-482C-DF00-BF84-88F664920610}"/>
                    </a:ext>
                  </a:extLst>
                </p:cNvPr>
                <p:cNvGrpSpPr/>
                <p:nvPr/>
              </p:nvGrpSpPr>
              <p:grpSpPr bwMode="gray">
                <a:xfrm>
                  <a:off x="6118933" y="3230191"/>
                  <a:ext cx="117485" cy="65934"/>
                  <a:chOff x="6118933" y="3230191"/>
                  <a:chExt cx="117485" cy="65934"/>
                </a:xfrm>
                <a:grpFill/>
              </p:grpSpPr>
              <p:sp>
                <p:nvSpPr>
                  <p:cNvPr id="692" name="Grafik 3840">
                    <a:extLst>
                      <a:ext uri="{FF2B5EF4-FFF2-40B4-BE49-F238E27FC236}">
                        <a16:creationId xmlns:a16="http://schemas.microsoft.com/office/drawing/2014/main" id="{4D52C056-6DDE-3932-B565-7438AB20C81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33" y="3230191"/>
                    <a:ext cx="117485" cy="65934"/>
                  </a:xfrm>
                  <a:custGeom>
                    <a:avLst/>
                    <a:gdLst>
                      <a:gd name="connsiteX0" fmla="*/ 7165 w 117485"/>
                      <a:gd name="connsiteY0" fmla="*/ 65934 h 65934"/>
                      <a:gd name="connsiteX1" fmla="*/ 783 w 117485"/>
                      <a:gd name="connsiteY1" fmla="*/ 61934 h 65934"/>
                      <a:gd name="connsiteX2" fmla="*/ 4022 w 117485"/>
                      <a:gd name="connsiteY2" fmla="*/ 52313 h 65934"/>
                      <a:gd name="connsiteX3" fmla="*/ 107082 w 117485"/>
                      <a:gd name="connsiteY3" fmla="*/ 783 h 65934"/>
                      <a:gd name="connsiteX4" fmla="*/ 116702 w 117485"/>
                      <a:gd name="connsiteY4" fmla="*/ 4022 h 65934"/>
                      <a:gd name="connsiteX5" fmla="*/ 113464 w 117485"/>
                      <a:gd name="connsiteY5" fmla="*/ 13642 h 65934"/>
                      <a:gd name="connsiteX6" fmla="*/ 10403 w 117485"/>
                      <a:gd name="connsiteY6" fmla="*/ 65267 h 65934"/>
                      <a:gd name="connsiteX7" fmla="*/ 7165 w 117485"/>
                      <a:gd name="connsiteY7" fmla="*/ 65934 h 659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934">
                        <a:moveTo>
                          <a:pt x="7165" y="65934"/>
                        </a:moveTo>
                        <a:cubicBezTo>
                          <a:pt x="4498" y="65934"/>
                          <a:pt x="2021" y="64505"/>
                          <a:pt x="783" y="61934"/>
                        </a:cubicBezTo>
                        <a:cubicBezTo>
                          <a:pt x="-1027" y="58409"/>
                          <a:pt x="402" y="54123"/>
                          <a:pt x="4022" y="52313"/>
                        </a:cubicBezTo>
                        <a:lnTo>
                          <a:pt x="107082" y="783"/>
                        </a:lnTo>
                        <a:cubicBezTo>
                          <a:pt x="110606" y="-1027"/>
                          <a:pt x="114893" y="402"/>
                          <a:pt x="116702" y="4022"/>
                        </a:cubicBezTo>
                        <a:cubicBezTo>
                          <a:pt x="118512" y="7546"/>
                          <a:pt x="117083" y="11832"/>
                          <a:pt x="113464" y="13642"/>
                        </a:cubicBezTo>
                        <a:lnTo>
                          <a:pt x="10403" y="65267"/>
                        </a:lnTo>
                        <a:cubicBezTo>
                          <a:pt x="9356" y="65744"/>
                          <a:pt x="8308" y="65934"/>
                          <a:pt x="7165" y="659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93" name="Grafik 3840">
                    <a:extLst>
                      <a:ext uri="{FF2B5EF4-FFF2-40B4-BE49-F238E27FC236}">
                        <a16:creationId xmlns:a16="http://schemas.microsoft.com/office/drawing/2014/main" id="{C4B72DB1-3FBE-CB8A-D319-A717BCEA2A6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307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9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94" name="Grafik 3840">
                    <a:extLst>
                      <a:ext uri="{FF2B5EF4-FFF2-40B4-BE49-F238E27FC236}">
                        <a16:creationId xmlns:a16="http://schemas.microsoft.com/office/drawing/2014/main" id="{3802F1D2-0FE9-801C-3C54-0330E4B86A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680" name="Grafik 3840">
                  <a:extLst>
                    <a:ext uri="{FF2B5EF4-FFF2-40B4-BE49-F238E27FC236}">
                      <a16:creationId xmlns:a16="http://schemas.microsoft.com/office/drawing/2014/main" id="{D6B936C6-BE0D-A6AD-FEF9-E8BDDA48F3F9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02"/>
                  <a:ext cx="117485" cy="65934"/>
                  <a:chOff x="5951103" y="3314202"/>
                  <a:chExt cx="117485" cy="65934"/>
                </a:xfrm>
                <a:grpFill/>
              </p:grpSpPr>
              <p:sp>
                <p:nvSpPr>
                  <p:cNvPr id="689" name="Grafik 3840">
                    <a:extLst>
                      <a:ext uri="{FF2B5EF4-FFF2-40B4-BE49-F238E27FC236}">
                        <a16:creationId xmlns:a16="http://schemas.microsoft.com/office/drawing/2014/main" id="{E2C596ED-8715-4C1A-EA09-4858E137540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02"/>
                    <a:ext cx="117485" cy="65934"/>
                  </a:xfrm>
                  <a:custGeom>
                    <a:avLst/>
                    <a:gdLst>
                      <a:gd name="connsiteX0" fmla="*/ 7165 w 117485"/>
                      <a:gd name="connsiteY0" fmla="*/ 65934 h 65934"/>
                      <a:gd name="connsiteX1" fmla="*/ 783 w 117485"/>
                      <a:gd name="connsiteY1" fmla="*/ 61934 h 65934"/>
                      <a:gd name="connsiteX2" fmla="*/ 4022 w 117485"/>
                      <a:gd name="connsiteY2" fmla="*/ 52313 h 65934"/>
                      <a:gd name="connsiteX3" fmla="*/ 107082 w 117485"/>
                      <a:gd name="connsiteY3" fmla="*/ 783 h 65934"/>
                      <a:gd name="connsiteX4" fmla="*/ 116702 w 117485"/>
                      <a:gd name="connsiteY4" fmla="*/ 4022 h 65934"/>
                      <a:gd name="connsiteX5" fmla="*/ 113464 w 117485"/>
                      <a:gd name="connsiteY5" fmla="*/ 13642 h 65934"/>
                      <a:gd name="connsiteX6" fmla="*/ 10403 w 117485"/>
                      <a:gd name="connsiteY6" fmla="*/ 65172 h 65934"/>
                      <a:gd name="connsiteX7" fmla="*/ 7165 w 117485"/>
                      <a:gd name="connsiteY7" fmla="*/ 65934 h 659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934">
                        <a:moveTo>
                          <a:pt x="7165" y="65934"/>
                        </a:moveTo>
                        <a:cubicBezTo>
                          <a:pt x="4498" y="65934"/>
                          <a:pt x="2021" y="64505"/>
                          <a:pt x="783" y="61934"/>
                        </a:cubicBezTo>
                        <a:cubicBezTo>
                          <a:pt x="-1027" y="58409"/>
                          <a:pt x="402" y="54123"/>
                          <a:pt x="4022" y="52313"/>
                        </a:cubicBezTo>
                        <a:lnTo>
                          <a:pt x="107082" y="783"/>
                        </a:lnTo>
                        <a:cubicBezTo>
                          <a:pt x="110606" y="-1027"/>
                          <a:pt x="114893" y="402"/>
                          <a:pt x="116702" y="4022"/>
                        </a:cubicBezTo>
                        <a:cubicBezTo>
                          <a:pt x="118512" y="7546"/>
                          <a:pt x="117083" y="11832"/>
                          <a:pt x="113464" y="13642"/>
                        </a:cubicBezTo>
                        <a:lnTo>
                          <a:pt x="10403" y="65172"/>
                        </a:lnTo>
                        <a:cubicBezTo>
                          <a:pt x="9356" y="65648"/>
                          <a:pt x="8213" y="65934"/>
                          <a:pt x="7165" y="659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90" name="Grafik 3840">
                    <a:extLst>
                      <a:ext uri="{FF2B5EF4-FFF2-40B4-BE49-F238E27FC236}">
                        <a16:creationId xmlns:a16="http://schemas.microsoft.com/office/drawing/2014/main" id="{555442CF-9F68-CD1E-2F1E-08B79DC3335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91" name="Grafik 3840">
                    <a:extLst>
                      <a:ext uri="{FF2B5EF4-FFF2-40B4-BE49-F238E27FC236}">
                        <a16:creationId xmlns:a16="http://schemas.microsoft.com/office/drawing/2014/main" id="{197C5B04-05FE-75FA-C2DA-3C2DCC3323D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681" name="Grafik 3840">
                  <a:extLst>
                    <a:ext uri="{FF2B5EF4-FFF2-40B4-BE49-F238E27FC236}">
                      <a16:creationId xmlns:a16="http://schemas.microsoft.com/office/drawing/2014/main" id="{08822363-F341-57EC-2416-542F29B6D55A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686" name="Grafik 3840">
                    <a:extLst>
                      <a:ext uri="{FF2B5EF4-FFF2-40B4-BE49-F238E27FC236}">
                        <a16:creationId xmlns:a16="http://schemas.microsoft.com/office/drawing/2014/main" id="{800C3C2C-1E61-DD8B-376E-A06678FEF45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87" name="Grafik 3840">
                    <a:extLst>
                      <a:ext uri="{FF2B5EF4-FFF2-40B4-BE49-F238E27FC236}">
                        <a16:creationId xmlns:a16="http://schemas.microsoft.com/office/drawing/2014/main" id="{16D23C82-3D59-9666-348B-17E2F107227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88" name="Grafik 3840">
                    <a:extLst>
                      <a:ext uri="{FF2B5EF4-FFF2-40B4-BE49-F238E27FC236}">
                        <a16:creationId xmlns:a16="http://schemas.microsoft.com/office/drawing/2014/main" id="{971FE4E5-7DB8-74F9-F664-9DE7E496EA3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682" name="Grafik 3840">
                  <a:extLst>
                    <a:ext uri="{FF2B5EF4-FFF2-40B4-BE49-F238E27FC236}">
                      <a16:creationId xmlns:a16="http://schemas.microsoft.com/office/drawing/2014/main" id="{FE7AF861-F0C3-662C-2138-1DE9A2494759}"/>
                    </a:ext>
                  </a:extLst>
                </p:cNvPr>
                <p:cNvGrpSpPr/>
                <p:nvPr/>
              </p:nvGrpSpPr>
              <p:grpSpPr bwMode="gray">
                <a:xfrm>
                  <a:off x="5951066" y="3230345"/>
                  <a:ext cx="117405" cy="65779"/>
                  <a:chOff x="5951066" y="3230345"/>
                  <a:chExt cx="117405" cy="65779"/>
                </a:xfrm>
                <a:grpFill/>
              </p:grpSpPr>
              <p:sp>
                <p:nvSpPr>
                  <p:cNvPr id="683" name="Grafik 3840">
                    <a:extLst>
                      <a:ext uri="{FF2B5EF4-FFF2-40B4-BE49-F238E27FC236}">
                        <a16:creationId xmlns:a16="http://schemas.microsoft.com/office/drawing/2014/main" id="{2F0EA2D3-4E40-FD1F-D36A-848E9E8F1A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066" y="3230345"/>
                    <a:ext cx="117367" cy="65779"/>
                  </a:xfrm>
                  <a:custGeom>
                    <a:avLst/>
                    <a:gdLst>
                      <a:gd name="connsiteX0" fmla="*/ 110262 w 117367"/>
                      <a:gd name="connsiteY0" fmla="*/ 65780 h 65779"/>
                      <a:gd name="connsiteX1" fmla="*/ 107118 w 117367"/>
                      <a:gd name="connsiteY1" fmla="*/ 65018 h 65779"/>
                      <a:gd name="connsiteX2" fmla="*/ 3963 w 117367"/>
                      <a:gd name="connsiteY2" fmla="*/ 13583 h 65779"/>
                      <a:gd name="connsiteX3" fmla="*/ 724 w 117367"/>
                      <a:gd name="connsiteY3" fmla="*/ 3963 h 65779"/>
                      <a:gd name="connsiteX4" fmla="*/ 10344 w 117367"/>
                      <a:gd name="connsiteY4" fmla="*/ 724 h 65779"/>
                      <a:gd name="connsiteX5" fmla="*/ 113405 w 117367"/>
                      <a:gd name="connsiteY5" fmla="*/ 52254 h 65779"/>
                      <a:gd name="connsiteX6" fmla="*/ 116643 w 117367"/>
                      <a:gd name="connsiteY6" fmla="*/ 61875 h 65779"/>
                      <a:gd name="connsiteX7" fmla="*/ 110262 w 117367"/>
                      <a:gd name="connsiteY7" fmla="*/ 65780 h 65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779">
                        <a:moveTo>
                          <a:pt x="110262" y="65780"/>
                        </a:moveTo>
                        <a:cubicBezTo>
                          <a:pt x="109214" y="65780"/>
                          <a:pt x="108071" y="65494"/>
                          <a:pt x="107118" y="65018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405" y="64351"/>
                          <a:pt x="112833" y="65780"/>
                          <a:pt x="110262" y="6578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84" name="Grafik 3840">
                    <a:extLst>
                      <a:ext uri="{FF2B5EF4-FFF2-40B4-BE49-F238E27FC236}">
                        <a16:creationId xmlns:a16="http://schemas.microsoft.com/office/drawing/2014/main" id="{FFB617D0-0785-1E71-CF9D-5EDEB5C9726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85" name="Grafik 3840">
                    <a:extLst>
                      <a:ext uri="{FF2B5EF4-FFF2-40B4-BE49-F238E27FC236}">
                        <a16:creationId xmlns:a16="http://schemas.microsoft.com/office/drawing/2014/main" id="{63643303-27CF-2C45-DD2E-B39A41323EE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83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677" name="Grafik 3840">
                <a:extLst>
                  <a:ext uri="{FF2B5EF4-FFF2-40B4-BE49-F238E27FC236}">
                    <a16:creationId xmlns:a16="http://schemas.microsoft.com/office/drawing/2014/main" id="{13876F0B-5F1B-2C3B-6CFF-6813176E6248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78" name="Grafik 3840">
                <a:extLst>
                  <a:ext uri="{FF2B5EF4-FFF2-40B4-BE49-F238E27FC236}">
                    <a16:creationId xmlns:a16="http://schemas.microsoft.com/office/drawing/2014/main" id="{9E8A5E62-B192-29F9-7B56-77BA93AFB5CE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55" name="Grafik 3840">
              <a:extLst>
                <a:ext uri="{FF2B5EF4-FFF2-40B4-BE49-F238E27FC236}">
                  <a16:creationId xmlns:a16="http://schemas.microsoft.com/office/drawing/2014/main" id="{4819AD61-E0F3-EFA1-FC48-43EE5DBD4202}"/>
                </a:ext>
              </a:extLst>
            </p:cNvPr>
            <p:cNvGrpSpPr/>
            <p:nvPr/>
          </p:nvGrpSpPr>
          <p:grpSpPr bwMode="gray">
            <a:xfrm>
              <a:off x="5993504" y="3470863"/>
              <a:ext cx="215412" cy="154636"/>
              <a:chOff x="5993504" y="3470863"/>
              <a:chExt cx="215412" cy="154636"/>
            </a:xfrm>
            <a:grpFill/>
          </p:grpSpPr>
          <p:grpSp>
            <p:nvGrpSpPr>
              <p:cNvPr id="656" name="Grafik 3840">
                <a:extLst>
                  <a:ext uri="{FF2B5EF4-FFF2-40B4-BE49-F238E27FC236}">
                    <a16:creationId xmlns:a16="http://schemas.microsoft.com/office/drawing/2014/main" id="{8DA5EA84-8ECA-2EFB-1740-E533F0BA3871}"/>
                  </a:ext>
                </a:extLst>
              </p:cNvPr>
              <p:cNvGrpSpPr/>
              <p:nvPr/>
            </p:nvGrpSpPr>
            <p:grpSpPr bwMode="gray">
              <a:xfrm>
                <a:off x="5993504" y="3470863"/>
                <a:ext cx="215412" cy="154636"/>
                <a:chOff x="5993504" y="3470863"/>
                <a:chExt cx="215412" cy="154636"/>
              </a:xfrm>
              <a:grpFill/>
            </p:grpSpPr>
            <p:grpSp>
              <p:nvGrpSpPr>
                <p:cNvPr id="667" name="Grafik 3840">
                  <a:extLst>
                    <a:ext uri="{FF2B5EF4-FFF2-40B4-BE49-F238E27FC236}">
                      <a16:creationId xmlns:a16="http://schemas.microsoft.com/office/drawing/2014/main" id="{89232F77-2175-9E74-C06A-FA4859992091}"/>
                    </a:ext>
                  </a:extLst>
                </p:cNvPr>
                <p:cNvGrpSpPr/>
                <p:nvPr/>
              </p:nvGrpSpPr>
              <p:grpSpPr bwMode="gray">
                <a:xfrm>
                  <a:off x="5993504" y="3470863"/>
                  <a:ext cx="72015" cy="52814"/>
                  <a:chOff x="5993504" y="3470863"/>
                  <a:chExt cx="72015" cy="52814"/>
                </a:xfrm>
                <a:grpFill/>
              </p:grpSpPr>
              <p:sp>
                <p:nvSpPr>
                  <p:cNvPr id="673" name="Grafik 3840">
                    <a:extLst>
                      <a:ext uri="{FF2B5EF4-FFF2-40B4-BE49-F238E27FC236}">
                        <a16:creationId xmlns:a16="http://schemas.microsoft.com/office/drawing/2014/main" id="{85C4FEDF-870B-1652-3EC8-937DB4303C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93605" y="3490149"/>
                    <a:ext cx="71913" cy="14287"/>
                  </a:xfrm>
                  <a:custGeom>
                    <a:avLst/>
                    <a:gdLst>
                      <a:gd name="connsiteX0" fmla="*/ 64675 w 71913"/>
                      <a:gd name="connsiteY0" fmla="*/ 14288 h 14287"/>
                      <a:gd name="connsiteX1" fmla="*/ 7144 w 71913"/>
                      <a:gd name="connsiteY1" fmla="*/ 14288 h 14287"/>
                      <a:gd name="connsiteX2" fmla="*/ 0 w 71913"/>
                      <a:gd name="connsiteY2" fmla="*/ 7144 h 14287"/>
                      <a:gd name="connsiteX3" fmla="*/ 7144 w 71913"/>
                      <a:gd name="connsiteY3" fmla="*/ 0 h 14287"/>
                      <a:gd name="connsiteX4" fmla="*/ 64770 w 71913"/>
                      <a:gd name="connsiteY4" fmla="*/ 0 h 14287"/>
                      <a:gd name="connsiteX5" fmla="*/ 71914 w 71913"/>
                      <a:gd name="connsiteY5" fmla="*/ 7144 h 14287"/>
                      <a:gd name="connsiteX6" fmla="*/ 64675 w 71913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1913" h="14287">
                        <a:moveTo>
                          <a:pt x="64675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64770" y="0"/>
                        </a:lnTo>
                        <a:cubicBezTo>
                          <a:pt x="68675" y="0"/>
                          <a:pt x="71914" y="3239"/>
                          <a:pt x="71914" y="7144"/>
                        </a:cubicBezTo>
                        <a:cubicBezTo>
                          <a:pt x="71914" y="11049"/>
                          <a:pt x="68675" y="14288"/>
                          <a:pt x="64675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74" name="Grafik 3840">
                    <a:extLst>
                      <a:ext uri="{FF2B5EF4-FFF2-40B4-BE49-F238E27FC236}">
                        <a16:creationId xmlns:a16="http://schemas.microsoft.com/office/drawing/2014/main" id="{521CB436-AB5F-68D0-2413-395E4C8C36B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93559" y="3470863"/>
                    <a:ext cx="30190" cy="33573"/>
                  </a:xfrm>
                  <a:custGeom>
                    <a:avLst/>
                    <a:gdLst>
                      <a:gd name="connsiteX0" fmla="*/ 7190 w 30190"/>
                      <a:gd name="connsiteY0" fmla="*/ 33574 h 33573"/>
                      <a:gd name="connsiteX1" fmla="*/ 2618 w 30190"/>
                      <a:gd name="connsiteY1" fmla="*/ 31955 h 33573"/>
                      <a:gd name="connsiteX2" fmla="*/ 1665 w 30190"/>
                      <a:gd name="connsiteY2" fmla="*/ 21858 h 33573"/>
                      <a:gd name="connsiteX3" fmla="*/ 17477 w 30190"/>
                      <a:gd name="connsiteY3" fmla="*/ 2618 h 33573"/>
                      <a:gd name="connsiteX4" fmla="*/ 27573 w 30190"/>
                      <a:gd name="connsiteY4" fmla="*/ 1665 h 33573"/>
                      <a:gd name="connsiteX5" fmla="*/ 28526 w 30190"/>
                      <a:gd name="connsiteY5" fmla="*/ 11762 h 33573"/>
                      <a:gd name="connsiteX6" fmla="*/ 12714 w 30190"/>
                      <a:gd name="connsiteY6" fmla="*/ 31002 h 33573"/>
                      <a:gd name="connsiteX7" fmla="*/ 7190 w 30190"/>
                      <a:gd name="connsiteY7" fmla="*/ 33574 h 335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190" h="33573">
                        <a:moveTo>
                          <a:pt x="7190" y="33574"/>
                        </a:moveTo>
                        <a:cubicBezTo>
                          <a:pt x="5570" y="33574"/>
                          <a:pt x="3951" y="33002"/>
                          <a:pt x="2618" y="31955"/>
                        </a:cubicBezTo>
                        <a:cubicBezTo>
                          <a:pt x="-430" y="29478"/>
                          <a:pt x="-907" y="24906"/>
                          <a:pt x="1665" y="21858"/>
                        </a:cubicBezTo>
                        <a:lnTo>
                          <a:pt x="17477" y="2618"/>
                        </a:lnTo>
                        <a:cubicBezTo>
                          <a:pt x="19953" y="-430"/>
                          <a:pt x="24525" y="-907"/>
                          <a:pt x="27573" y="1665"/>
                        </a:cubicBezTo>
                        <a:cubicBezTo>
                          <a:pt x="30621" y="4142"/>
                          <a:pt x="31097" y="8714"/>
                          <a:pt x="28526" y="11762"/>
                        </a:cubicBezTo>
                        <a:lnTo>
                          <a:pt x="12714" y="31002"/>
                        </a:lnTo>
                        <a:cubicBezTo>
                          <a:pt x="11285" y="32717"/>
                          <a:pt x="9190" y="33574"/>
                          <a:pt x="7190" y="3357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75" name="Grafik 3840">
                    <a:extLst>
                      <a:ext uri="{FF2B5EF4-FFF2-40B4-BE49-F238E27FC236}">
                        <a16:creationId xmlns:a16="http://schemas.microsoft.com/office/drawing/2014/main" id="{5A060707-6FC4-DA8B-3129-3F6FE9309A9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93504" y="3490143"/>
                    <a:ext cx="30111" cy="33534"/>
                  </a:xfrm>
                  <a:custGeom>
                    <a:avLst/>
                    <a:gdLst>
                      <a:gd name="connsiteX0" fmla="*/ 22962 w 30111"/>
                      <a:gd name="connsiteY0" fmla="*/ 33534 h 33534"/>
                      <a:gd name="connsiteX1" fmla="*/ 17437 w 30111"/>
                      <a:gd name="connsiteY1" fmla="*/ 30963 h 33534"/>
                      <a:gd name="connsiteX2" fmla="*/ 1626 w 30111"/>
                      <a:gd name="connsiteY2" fmla="*/ 11722 h 33534"/>
                      <a:gd name="connsiteX3" fmla="*/ 2578 w 30111"/>
                      <a:gd name="connsiteY3" fmla="*/ 1626 h 33534"/>
                      <a:gd name="connsiteX4" fmla="*/ 12675 w 30111"/>
                      <a:gd name="connsiteY4" fmla="*/ 2578 h 33534"/>
                      <a:gd name="connsiteX5" fmla="*/ 28486 w 30111"/>
                      <a:gd name="connsiteY5" fmla="*/ 21819 h 33534"/>
                      <a:gd name="connsiteX6" fmla="*/ 27534 w 30111"/>
                      <a:gd name="connsiteY6" fmla="*/ 31915 h 33534"/>
                      <a:gd name="connsiteX7" fmla="*/ 22962 w 30111"/>
                      <a:gd name="connsiteY7" fmla="*/ 33534 h 335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111" h="33534">
                        <a:moveTo>
                          <a:pt x="22962" y="33534"/>
                        </a:moveTo>
                        <a:cubicBezTo>
                          <a:pt x="20866" y="33534"/>
                          <a:pt x="18866" y="32677"/>
                          <a:pt x="17437" y="30963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28486" y="21819"/>
                        </a:lnTo>
                        <a:cubicBezTo>
                          <a:pt x="30963" y="24867"/>
                          <a:pt x="30582" y="29343"/>
                          <a:pt x="27534" y="31915"/>
                        </a:cubicBezTo>
                        <a:cubicBezTo>
                          <a:pt x="26200" y="32963"/>
                          <a:pt x="24581" y="33534"/>
                          <a:pt x="22962" y="335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68" name="Grafik 3840">
                  <a:extLst>
                    <a:ext uri="{FF2B5EF4-FFF2-40B4-BE49-F238E27FC236}">
                      <a16:creationId xmlns:a16="http://schemas.microsoft.com/office/drawing/2014/main" id="{3A825E02-8D0F-A488-76AE-FB0BF5A5236C}"/>
                    </a:ext>
                  </a:extLst>
                </p:cNvPr>
                <p:cNvSpPr/>
                <p:nvPr/>
              </p:nvSpPr>
              <p:spPr bwMode="gray">
                <a:xfrm>
                  <a:off x="6051416" y="3490143"/>
                  <a:ext cx="97739" cy="116020"/>
                </a:xfrm>
                <a:custGeom>
                  <a:avLst/>
                  <a:gdLst>
                    <a:gd name="connsiteX0" fmla="*/ 90589 w 97739"/>
                    <a:gd name="connsiteY0" fmla="*/ 116021 h 116020"/>
                    <a:gd name="connsiteX1" fmla="*/ 85065 w 97739"/>
                    <a:gd name="connsiteY1" fmla="*/ 113449 h 116020"/>
                    <a:gd name="connsiteX2" fmla="*/ 1626 w 97739"/>
                    <a:gd name="connsiteY2" fmla="*/ 11722 h 116020"/>
                    <a:gd name="connsiteX3" fmla="*/ 2578 w 97739"/>
                    <a:gd name="connsiteY3" fmla="*/ 1626 h 116020"/>
                    <a:gd name="connsiteX4" fmla="*/ 12675 w 97739"/>
                    <a:gd name="connsiteY4" fmla="*/ 2578 h 116020"/>
                    <a:gd name="connsiteX5" fmla="*/ 96114 w 97739"/>
                    <a:gd name="connsiteY5" fmla="*/ 104305 h 116020"/>
                    <a:gd name="connsiteX6" fmla="*/ 95161 w 97739"/>
                    <a:gd name="connsiteY6" fmla="*/ 114402 h 116020"/>
                    <a:gd name="connsiteX7" fmla="*/ 90589 w 97739"/>
                    <a:gd name="connsiteY7" fmla="*/ 116021 h 1160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7739" h="116020">
                      <a:moveTo>
                        <a:pt x="90589" y="116021"/>
                      </a:moveTo>
                      <a:cubicBezTo>
                        <a:pt x="88494" y="116021"/>
                        <a:pt x="86493" y="115164"/>
                        <a:pt x="85065" y="113449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96114" y="104305"/>
                      </a:lnTo>
                      <a:cubicBezTo>
                        <a:pt x="98590" y="107353"/>
                        <a:pt x="98209" y="111830"/>
                        <a:pt x="95161" y="114402"/>
                      </a:cubicBezTo>
                      <a:cubicBezTo>
                        <a:pt x="93828" y="115449"/>
                        <a:pt x="92208" y="116021"/>
                        <a:pt x="90589" y="11602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669" name="Grafik 3840">
                  <a:extLst>
                    <a:ext uri="{FF2B5EF4-FFF2-40B4-BE49-F238E27FC236}">
                      <a16:creationId xmlns:a16="http://schemas.microsoft.com/office/drawing/2014/main" id="{E8DD4E0F-605E-8A72-49E8-6A136EA59613}"/>
                    </a:ext>
                  </a:extLst>
                </p:cNvPr>
                <p:cNvGrpSpPr/>
                <p:nvPr/>
              </p:nvGrpSpPr>
              <p:grpSpPr bwMode="gray">
                <a:xfrm>
                  <a:off x="6136861" y="3572725"/>
                  <a:ext cx="72054" cy="52774"/>
                  <a:chOff x="6136861" y="3572725"/>
                  <a:chExt cx="72054" cy="52774"/>
                </a:xfrm>
                <a:grpFill/>
              </p:grpSpPr>
              <p:sp>
                <p:nvSpPr>
                  <p:cNvPr id="670" name="Grafik 3840">
                    <a:extLst>
                      <a:ext uri="{FF2B5EF4-FFF2-40B4-BE49-F238E27FC236}">
                        <a16:creationId xmlns:a16="http://schemas.microsoft.com/office/drawing/2014/main" id="{AB327FE7-CF8A-5E14-F878-67B78FD71C5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36861" y="3591972"/>
                    <a:ext cx="71913" cy="14287"/>
                  </a:xfrm>
                  <a:custGeom>
                    <a:avLst/>
                    <a:gdLst>
                      <a:gd name="connsiteX0" fmla="*/ 64770 w 71913"/>
                      <a:gd name="connsiteY0" fmla="*/ 14288 h 14287"/>
                      <a:gd name="connsiteX1" fmla="*/ 7144 w 71913"/>
                      <a:gd name="connsiteY1" fmla="*/ 14288 h 14287"/>
                      <a:gd name="connsiteX2" fmla="*/ 0 w 71913"/>
                      <a:gd name="connsiteY2" fmla="*/ 7144 h 14287"/>
                      <a:gd name="connsiteX3" fmla="*/ 7144 w 71913"/>
                      <a:gd name="connsiteY3" fmla="*/ 0 h 14287"/>
                      <a:gd name="connsiteX4" fmla="*/ 64770 w 71913"/>
                      <a:gd name="connsiteY4" fmla="*/ 0 h 14287"/>
                      <a:gd name="connsiteX5" fmla="*/ 71914 w 71913"/>
                      <a:gd name="connsiteY5" fmla="*/ 7144 h 14287"/>
                      <a:gd name="connsiteX6" fmla="*/ 64770 w 71913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1913" h="14287">
                        <a:moveTo>
                          <a:pt x="64770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64770" y="0"/>
                        </a:lnTo>
                        <a:cubicBezTo>
                          <a:pt x="68675" y="0"/>
                          <a:pt x="71914" y="3239"/>
                          <a:pt x="71914" y="7144"/>
                        </a:cubicBezTo>
                        <a:cubicBezTo>
                          <a:pt x="71914" y="11049"/>
                          <a:pt x="68770" y="14288"/>
                          <a:pt x="64770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71" name="Grafik 3840">
                    <a:extLst>
                      <a:ext uri="{FF2B5EF4-FFF2-40B4-BE49-F238E27FC236}">
                        <a16:creationId xmlns:a16="http://schemas.microsoft.com/office/drawing/2014/main" id="{7296E82E-C989-8A65-B843-771CEF02CD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8670" y="3572725"/>
                    <a:ext cx="30111" cy="33534"/>
                  </a:xfrm>
                  <a:custGeom>
                    <a:avLst/>
                    <a:gdLst>
                      <a:gd name="connsiteX0" fmla="*/ 22962 w 30111"/>
                      <a:gd name="connsiteY0" fmla="*/ 33534 h 33534"/>
                      <a:gd name="connsiteX1" fmla="*/ 17437 w 30111"/>
                      <a:gd name="connsiteY1" fmla="*/ 30963 h 33534"/>
                      <a:gd name="connsiteX2" fmla="*/ 1626 w 30111"/>
                      <a:gd name="connsiteY2" fmla="*/ 11722 h 33534"/>
                      <a:gd name="connsiteX3" fmla="*/ 2578 w 30111"/>
                      <a:gd name="connsiteY3" fmla="*/ 1626 h 33534"/>
                      <a:gd name="connsiteX4" fmla="*/ 12675 w 30111"/>
                      <a:gd name="connsiteY4" fmla="*/ 2578 h 33534"/>
                      <a:gd name="connsiteX5" fmla="*/ 28486 w 30111"/>
                      <a:gd name="connsiteY5" fmla="*/ 21819 h 33534"/>
                      <a:gd name="connsiteX6" fmla="*/ 27534 w 30111"/>
                      <a:gd name="connsiteY6" fmla="*/ 31915 h 33534"/>
                      <a:gd name="connsiteX7" fmla="*/ 22962 w 30111"/>
                      <a:gd name="connsiteY7" fmla="*/ 33534 h 335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111" h="33534">
                        <a:moveTo>
                          <a:pt x="22962" y="33534"/>
                        </a:moveTo>
                        <a:cubicBezTo>
                          <a:pt x="20866" y="33534"/>
                          <a:pt x="18866" y="32677"/>
                          <a:pt x="17437" y="30963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28486" y="21819"/>
                        </a:lnTo>
                        <a:cubicBezTo>
                          <a:pt x="30963" y="24867"/>
                          <a:pt x="30582" y="29343"/>
                          <a:pt x="27534" y="31915"/>
                        </a:cubicBezTo>
                        <a:cubicBezTo>
                          <a:pt x="26200" y="32963"/>
                          <a:pt x="24581" y="33534"/>
                          <a:pt x="22962" y="335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72" name="Grafik 3840">
                    <a:extLst>
                      <a:ext uri="{FF2B5EF4-FFF2-40B4-BE49-F238E27FC236}">
                        <a16:creationId xmlns:a16="http://schemas.microsoft.com/office/drawing/2014/main" id="{7184661F-8C98-1DD5-1A46-010F3E4EB60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8725" y="3591926"/>
                    <a:ext cx="30190" cy="33573"/>
                  </a:xfrm>
                  <a:custGeom>
                    <a:avLst/>
                    <a:gdLst>
                      <a:gd name="connsiteX0" fmla="*/ 7190 w 30190"/>
                      <a:gd name="connsiteY0" fmla="*/ 33574 h 33573"/>
                      <a:gd name="connsiteX1" fmla="*/ 2618 w 30190"/>
                      <a:gd name="connsiteY1" fmla="*/ 31955 h 33573"/>
                      <a:gd name="connsiteX2" fmla="*/ 1665 w 30190"/>
                      <a:gd name="connsiteY2" fmla="*/ 21858 h 33573"/>
                      <a:gd name="connsiteX3" fmla="*/ 17477 w 30190"/>
                      <a:gd name="connsiteY3" fmla="*/ 2618 h 33573"/>
                      <a:gd name="connsiteX4" fmla="*/ 27573 w 30190"/>
                      <a:gd name="connsiteY4" fmla="*/ 1665 h 33573"/>
                      <a:gd name="connsiteX5" fmla="*/ 28526 w 30190"/>
                      <a:gd name="connsiteY5" fmla="*/ 11762 h 33573"/>
                      <a:gd name="connsiteX6" fmla="*/ 12714 w 30190"/>
                      <a:gd name="connsiteY6" fmla="*/ 31002 h 33573"/>
                      <a:gd name="connsiteX7" fmla="*/ 7190 w 30190"/>
                      <a:gd name="connsiteY7" fmla="*/ 33574 h 335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190" h="33573">
                        <a:moveTo>
                          <a:pt x="7190" y="33574"/>
                        </a:moveTo>
                        <a:cubicBezTo>
                          <a:pt x="5570" y="33574"/>
                          <a:pt x="3951" y="33002"/>
                          <a:pt x="2618" y="31955"/>
                        </a:cubicBezTo>
                        <a:cubicBezTo>
                          <a:pt x="-430" y="29478"/>
                          <a:pt x="-907" y="24906"/>
                          <a:pt x="1665" y="21858"/>
                        </a:cubicBezTo>
                        <a:lnTo>
                          <a:pt x="17477" y="2618"/>
                        </a:lnTo>
                        <a:cubicBezTo>
                          <a:pt x="19953" y="-430"/>
                          <a:pt x="24525" y="-907"/>
                          <a:pt x="27573" y="1665"/>
                        </a:cubicBezTo>
                        <a:cubicBezTo>
                          <a:pt x="30621" y="4142"/>
                          <a:pt x="31097" y="8714"/>
                          <a:pt x="28526" y="11762"/>
                        </a:cubicBezTo>
                        <a:lnTo>
                          <a:pt x="12714" y="31002"/>
                        </a:lnTo>
                        <a:cubicBezTo>
                          <a:pt x="11285" y="32717"/>
                          <a:pt x="9190" y="33574"/>
                          <a:pt x="7190" y="3357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657" name="Grafik 3840">
                <a:extLst>
                  <a:ext uri="{FF2B5EF4-FFF2-40B4-BE49-F238E27FC236}">
                    <a16:creationId xmlns:a16="http://schemas.microsoft.com/office/drawing/2014/main" id="{90B97041-80E0-C3C5-AED4-C356DD5D7252}"/>
                  </a:ext>
                </a:extLst>
              </p:cNvPr>
              <p:cNvGrpSpPr/>
              <p:nvPr/>
            </p:nvGrpSpPr>
            <p:grpSpPr bwMode="gray">
              <a:xfrm>
                <a:off x="5993504" y="3470998"/>
                <a:ext cx="215412" cy="154501"/>
                <a:chOff x="5993504" y="3470998"/>
                <a:chExt cx="215412" cy="154501"/>
              </a:xfrm>
              <a:grpFill/>
            </p:grpSpPr>
            <p:grpSp>
              <p:nvGrpSpPr>
                <p:cNvPr id="658" name="Grafik 3840">
                  <a:extLst>
                    <a:ext uri="{FF2B5EF4-FFF2-40B4-BE49-F238E27FC236}">
                      <a16:creationId xmlns:a16="http://schemas.microsoft.com/office/drawing/2014/main" id="{7A6EE54F-30DA-7E36-748A-D2FCB758238A}"/>
                    </a:ext>
                  </a:extLst>
                </p:cNvPr>
                <p:cNvGrpSpPr/>
                <p:nvPr/>
              </p:nvGrpSpPr>
              <p:grpSpPr bwMode="gray">
                <a:xfrm>
                  <a:off x="6136861" y="3470998"/>
                  <a:ext cx="72054" cy="52774"/>
                  <a:chOff x="6136861" y="3470998"/>
                  <a:chExt cx="72054" cy="52774"/>
                </a:xfrm>
                <a:grpFill/>
              </p:grpSpPr>
              <p:sp>
                <p:nvSpPr>
                  <p:cNvPr id="664" name="Grafik 3840">
                    <a:extLst>
                      <a:ext uri="{FF2B5EF4-FFF2-40B4-BE49-F238E27FC236}">
                        <a16:creationId xmlns:a16="http://schemas.microsoft.com/office/drawing/2014/main" id="{EB7CFF03-2475-F9A4-450B-8575124B89B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36861" y="3490245"/>
                    <a:ext cx="71913" cy="14287"/>
                  </a:xfrm>
                  <a:custGeom>
                    <a:avLst/>
                    <a:gdLst>
                      <a:gd name="connsiteX0" fmla="*/ 64770 w 71913"/>
                      <a:gd name="connsiteY0" fmla="*/ 14288 h 14287"/>
                      <a:gd name="connsiteX1" fmla="*/ 7144 w 71913"/>
                      <a:gd name="connsiteY1" fmla="*/ 14288 h 14287"/>
                      <a:gd name="connsiteX2" fmla="*/ 0 w 71913"/>
                      <a:gd name="connsiteY2" fmla="*/ 7144 h 14287"/>
                      <a:gd name="connsiteX3" fmla="*/ 7144 w 71913"/>
                      <a:gd name="connsiteY3" fmla="*/ 0 h 14287"/>
                      <a:gd name="connsiteX4" fmla="*/ 64770 w 71913"/>
                      <a:gd name="connsiteY4" fmla="*/ 0 h 14287"/>
                      <a:gd name="connsiteX5" fmla="*/ 71914 w 71913"/>
                      <a:gd name="connsiteY5" fmla="*/ 7144 h 14287"/>
                      <a:gd name="connsiteX6" fmla="*/ 64770 w 71913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1913" h="14287">
                        <a:moveTo>
                          <a:pt x="64770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64770" y="0"/>
                        </a:lnTo>
                        <a:cubicBezTo>
                          <a:pt x="68675" y="0"/>
                          <a:pt x="71914" y="3239"/>
                          <a:pt x="71914" y="7144"/>
                        </a:cubicBezTo>
                        <a:cubicBezTo>
                          <a:pt x="71914" y="11049"/>
                          <a:pt x="68770" y="14288"/>
                          <a:pt x="64770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65" name="Grafik 3840">
                    <a:extLst>
                      <a:ext uri="{FF2B5EF4-FFF2-40B4-BE49-F238E27FC236}">
                        <a16:creationId xmlns:a16="http://schemas.microsoft.com/office/drawing/2014/main" id="{E2A5311A-9CC5-DD63-0CF5-24032B31FA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8670" y="3470998"/>
                    <a:ext cx="30111" cy="33534"/>
                  </a:xfrm>
                  <a:custGeom>
                    <a:avLst/>
                    <a:gdLst>
                      <a:gd name="connsiteX0" fmla="*/ 22962 w 30111"/>
                      <a:gd name="connsiteY0" fmla="*/ 33534 h 33534"/>
                      <a:gd name="connsiteX1" fmla="*/ 17437 w 30111"/>
                      <a:gd name="connsiteY1" fmla="*/ 30963 h 33534"/>
                      <a:gd name="connsiteX2" fmla="*/ 1626 w 30111"/>
                      <a:gd name="connsiteY2" fmla="*/ 11722 h 33534"/>
                      <a:gd name="connsiteX3" fmla="*/ 2578 w 30111"/>
                      <a:gd name="connsiteY3" fmla="*/ 1626 h 33534"/>
                      <a:gd name="connsiteX4" fmla="*/ 12675 w 30111"/>
                      <a:gd name="connsiteY4" fmla="*/ 2578 h 33534"/>
                      <a:gd name="connsiteX5" fmla="*/ 28486 w 30111"/>
                      <a:gd name="connsiteY5" fmla="*/ 21819 h 33534"/>
                      <a:gd name="connsiteX6" fmla="*/ 27534 w 30111"/>
                      <a:gd name="connsiteY6" fmla="*/ 31915 h 33534"/>
                      <a:gd name="connsiteX7" fmla="*/ 22962 w 30111"/>
                      <a:gd name="connsiteY7" fmla="*/ 33534 h 335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111" h="33534">
                        <a:moveTo>
                          <a:pt x="22962" y="33534"/>
                        </a:moveTo>
                        <a:cubicBezTo>
                          <a:pt x="20866" y="33534"/>
                          <a:pt x="18866" y="32677"/>
                          <a:pt x="17437" y="30963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28486" y="21819"/>
                        </a:lnTo>
                        <a:cubicBezTo>
                          <a:pt x="30963" y="24867"/>
                          <a:pt x="30582" y="29343"/>
                          <a:pt x="27534" y="31915"/>
                        </a:cubicBezTo>
                        <a:cubicBezTo>
                          <a:pt x="26200" y="32963"/>
                          <a:pt x="24581" y="33534"/>
                          <a:pt x="22962" y="335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66" name="Grafik 3840">
                    <a:extLst>
                      <a:ext uri="{FF2B5EF4-FFF2-40B4-BE49-F238E27FC236}">
                        <a16:creationId xmlns:a16="http://schemas.microsoft.com/office/drawing/2014/main" id="{34E6C229-E6E1-D325-5FC0-231E6114586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8725" y="3490199"/>
                    <a:ext cx="30190" cy="33573"/>
                  </a:xfrm>
                  <a:custGeom>
                    <a:avLst/>
                    <a:gdLst>
                      <a:gd name="connsiteX0" fmla="*/ 7190 w 30190"/>
                      <a:gd name="connsiteY0" fmla="*/ 33574 h 33573"/>
                      <a:gd name="connsiteX1" fmla="*/ 2618 w 30190"/>
                      <a:gd name="connsiteY1" fmla="*/ 31955 h 33573"/>
                      <a:gd name="connsiteX2" fmla="*/ 1665 w 30190"/>
                      <a:gd name="connsiteY2" fmla="*/ 21858 h 33573"/>
                      <a:gd name="connsiteX3" fmla="*/ 17477 w 30190"/>
                      <a:gd name="connsiteY3" fmla="*/ 2618 h 33573"/>
                      <a:gd name="connsiteX4" fmla="*/ 27573 w 30190"/>
                      <a:gd name="connsiteY4" fmla="*/ 1665 h 33573"/>
                      <a:gd name="connsiteX5" fmla="*/ 28526 w 30190"/>
                      <a:gd name="connsiteY5" fmla="*/ 11762 h 33573"/>
                      <a:gd name="connsiteX6" fmla="*/ 12714 w 30190"/>
                      <a:gd name="connsiteY6" fmla="*/ 31002 h 33573"/>
                      <a:gd name="connsiteX7" fmla="*/ 7190 w 30190"/>
                      <a:gd name="connsiteY7" fmla="*/ 33574 h 335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190" h="33573">
                        <a:moveTo>
                          <a:pt x="7190" y="33574"/>
                        </a:moveTo>
                        <a:cubicBezTo>
                          <a:pt x="5570" y="33574"/>
                          <a:pt x="3951" y="33002"/>
                          <a:pt x="2618" y="31955"/>
                        </a:cubicBezTo>
                        <a:cubicBezTo>
                          <a:pt x="-430" y="29478"/>
                          <a:pt x="-907" y="24906"/>
                          <a:pt x="1665" y="21858"/>
                        </a:cubicBezTo>
                        <a:lnTo>
                          <a:pt x="17477" y="2618"/>
                        </a:lnTo>
                        <a:cubicBezTo>
                          <a:pt x="19953" y="-430"/>
                          <a:pt x="24525" y="-907"/>
                          <a:pt x="27573" y="1665"/>
                        </a:cubicBezTo>
                        <a:cubicBezTo>
                          <a:pt x="30621" y="4142"/>
                          <a:pt x="31097" y="8714"/>
                          <a:pt x="28526" y="11762"/>
                        </a:cubicBezTo>
                        <a:lnTo>
                          <a:pt x="12714" y="31002"/>
                        </a:lnTo>
                        <a:cubicBezTo>
                          <a:pt x="11285" y="32621"/>
                          <a:pt x="9190" y="33574"/>
                          <a:pt x="7190" y="3357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59" name="Grafik 3840">
                  <a:extLst>
                    <a:ext uri="{FF2B5EF4-FFF2-40B4-BE49-F238E27FC236}">
                      <a16:creationId xmlns:a16="http://schemas.microsoft.com/office/drawing/2014/main" id="{267E019D-F23E-178F-6FB4-42040BFAF860}"/>
                    </a:ext>
                  </a:extLst>
                </p:cNvPr>
                <p:cNvSpPr/>
                <p:nvPr/>
              </p:nvSpPr>
              <p:spPr bwMode="gray">
                <a:xfrm>
                  <a:off x="6053186" y="3490199"/>
                  <a:ext cx="97818" cy="116060"/>
                </a:xfrm>
                <a:custGeom>
                  <a:avLst/>
                  <a:gdLst>
                    <a:gd name="connsiteX0" fmla="*/ 7190 w 97818"/>
                    <a:gd name="connsiteY0" fmla="*/ 116060 h 116060"/>
                    <a:gd name="connsiteX1" fmla="*/ 2618 w 97818"/>
                    <a:gd name="connsiteY1" fmla="*/ 114441 h 116060"/>
                    <a:gd name="connsiteX2" fmla="*/ 1665 w 97818"/>
                    <a:gd name="connsiteY2" fmla="*/ 104345 h 116060"/>
                    <a:gd name="connsiteX3" fmla="*/ 85104 w 97818"/>
                    <a:gd name="connsiteY3" fmla="*/ 2618 h 116060"/>
                    <a:gd name="connsiteX4" fmla="*/ 95201 w 97818"/>
                    <a:gd name="connsiteY4" fmla="*/ 1665 h 116060"/>
                    <a:gd name="connsiteX5" fmla="*/ 96153 w 97818"/>
                    <a:gd name="connsiteY5" fmla="*/ 11762 h 116060"/>
                    <a:gd name="connsiteX6" fmla="*/ 12714 w 97818"/>
                    <a:gd name="connsiteY6" fmla="*/ 113489 h 116060"/>
                    <a:gd name="connsiteX7" fmla="*/ 7190 w 97818"/>
                    <a:gd name="connsiteY7" fmla="*/ 116060 h 1160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7818" h="116060">
                      <a:moveTo>
                        <a:pt x="7190" y="116060"/>
                      </a:moveTo>
                      <a:cubicBezTo>
                        <a:pt x="5570" y="116060"/>
                        <a:pt x="3951" y="115489"/>
                        <a:pt x="2618" y="114441"/>
                      </a:cubicBezTo>
                      <a:cubicBezTo>
                        <a:pt x="-430" y="111965"/>
                        <a:pt x="-907" y="107393"/>
                        <a:pt x="1665" y="104345"/>
                      </a:cubicBezTo>
                      <a:lnTo>
                        <a:pt x="85104" y="2618"/>
                      </a:lnTo>
                      <a:cubicBezTo>
                        <a:pt x="87581" y="-430"/>
                        <a:pt x="92153" y="-907"/>
                        <a:pt x="95201" y="1665"/>
                      </a:cubicBezTo>
                      <a:cubicBezTo>
                        <a:pt x="98249" y="4142"/>
                        <a:pt x="98725" y="8714"/>
                        <a:pt x="96153" y="11762"/>
                      </a:cubicBezTo>
                      <a:lnTo>
                        <a:pt x="12714" y="113489"/>
                      </a:lnTo>
                      <a:cubicBezTo>
                        <a:pt x="11285" y="115108"/>
                        <a:pt x="9285" y="116060"/>
                        <a:pt x="7190" y="11606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660" name="Grafik 3840">
                  <a:extLst>
                    <a:ext uri="{FF2B5EF4-FFF2-40B4-BE49-F238E27FC236}">
                      <a16:creationId xmlns:a16="http://schemas.microsoft.com/office/drawing/2014/main" id="{F2A37EAD-407A-675C-2040-D6B073C70BEF}"/>
                    </a:ext>
                  </a:extLst>
                </p:cNvPr>
                <p:cNvGrpSpPr/>
                <p:nvPr/>
              </p:nvGrpSpPr>
              <p:grpSpPr bwMode="gray">
                <a:xfrm>
                  <a:off x="5993504" y="3572781"/>
                  <a:ext cx="72015" cy="52719"/>
                  <a:chOff x="5993504" y="3572781"/>
                  <a:chExt cx="72015" cy="52719"/>
                </a:xfrm>
                <a:grpFill/>
              </p:grpSpPr>
              <p:sp>
                <p:nvSpPr>
                  <p:cNvPr id="661" name="Grafik 3840">
                    <a:extLst>
                      <a:ext uri="{FF2B5EF4-FFF2-40B4-BE49-F238E27FC236}">
                        <a16:creationId xmlns:a16="http://schemas.microsoft.com/office/drawing/2014/main" id="{31010B6B-EFB8-381A-41F5-05CD82616D8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93605" y="3592067"/>
                    <a:ext cx="71913" cy="14287"/>
                  </a:xfrm>
                  <a:custGeom>
                    <a:avLst/>
                    <a:gdLst>
                      <a:gd name="connsiteX0" fmla="*/ 64675 w 71913"/>
                      <a:gd name="connsiteY0" fmla="*/ 14288 h 14287"/>
                      <a:gd name="connsiteX1" fmla="*/ 7144 w 71913"/>
                      <a:gd name="connsiteY1" fmla="*/ 14288 h 14287"/>
                      <a:gd name="connsiteX2" fmla="*/ 0 w 71913"/>
                      <a:gd name="connsiteY2" fmla="*/ 7144 h 14287"/>
                      <a:gd name="connsiteX3" fmla="*/ 7144 w 71913"/>
                      <a:gd name="connsiteY3" fmla="*/ 0 h 14287"/>
                      <a:gd name="connsiteX4" fmla="*/ 64770 w 71913"/>
                      <a:gd name="connsiteY4" fmla="*/ 0 h 14287"/>
                      <a:gd name="connsiteX5" fmla="*/ 71914 w 71913"/>
                      <a:gd name="connsiteY5" fmla="*/ 7144 h 14287"/>
                      <a:gd name="connsiteX6" fmla="*/ 64675 w 71913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1913" h="14287">
                        <a:moveTo>
                          <a:pt x="64675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64770" y="0"/>
                        </a:lnTo>
                        <a:cubicBezTo>
                          <a:pt x="68675" y="0"/>
                          <a:pt x="71914" y="3239"/>
                          <a:pt x="71914" y="7144"/>
                        </a:cubicBezTo>
                        <a:cubicBezTo>
                          <a:pt x="71914" y="11049"/>
                          <a:pt x="68675" y="14288"/>
                          <a:pt x="64675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62" name="Grafik 3840">
                    <a:extLst>
                      <a:ext uri="{FF2B5EF4-FFF2-40B4-BE49-F238E27FC236}">
                        <a16:creationId xmlns:a16="http://schemas.microsoft.com/office/drawing/2014/main" id="{E7B2CF1A-5F92-3F45-83AC-94399039187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93559" y="3572781"/>
                    <a:ext cx="30190" cy="33573"/>
                  </a:xfrm>
                  <a:custGeom>
                    <a:avLst/>
                    <a:gdLst>
                      <a:gd name="connsiteX0" fmla="*/ 7190 w 30190"/>
                      <a:gd name="connsiteY0" fmla="*/ 33574 h 33573"/>
                      <a:gd name="connsiteX1" fmla="*/ 2618 w 30190"/>
                      <a:gd name="connsiteY1" fmla="*/ 31955 h 33573"/>
                      <a:gd name="connsiteX2" fmla="*/ 1665 w 30190"/>
                      <a:gd name="connsiteY2" fmla="*/ 21858 h 33573"/>
                      <a:gd name="connsiteX3" fmla="*/ 17477 w 30190"/>
                      <a:gd name="connsiteY3" fmla="*/ 2618 h 33573"/>
                      <a:gd name="connsiteX4" fmla="*/ 27573 w 30190"/>
                      <a:gd name="connsiteY4" fmla="*/ 1665 h 33573"/>
                      <a:gd name="connsiteX5" fmla="*/ 28526 w 30190"/>
                      <a:gd name="connsiteY5" fmla="*/ 11762 h 33573"/>
                      <a:gd name="connsiteX6" fmla="*/ 12714 w 30190"/>
                      <a:gd name="connsiteY6" fmla="*/ 31002 h 33573"/>
                      <a:gd name="connsiteX7" fmla="*/ 7190 w 30190"/>
                      <a:gd name="connsiteY7" fmla="*/ 33574 h 335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190" h="33573">
                        <a:moveTo>
                          <a:pt x="7190" y="33574"/>
                        </a:moveTo>
                        <a:cubicBezTo>
                          <a:pt x="5570" y="33574"/>
                          <a:pt x="3951" y="33002"/>
                          <a:pt x="2618" y="31955"/>
                        </a:cubicBezTo>
                        <a:cubicBezTo>
                          <a:pt x="-430" y="29478"/>
                          <a:pt x="-907" y="24906"/>
                          <a:pt x="1665" y="21858"/>
                        </a:cubicBezTo>
                        <a:lnTo>
                          <a:pt x="17477" y="2618"/>
                        </a:lnTo>
                        <a:cubicBezTo>
                          <a:pt x="19953" y="-430"/>
                          <a:pt x="24525" y="-907"/>
                          <a:pt x="27573" y="1665"/>
                        </a:cubicBezTo>
                        <a:cubicBezTo>
                          <a:pt x="30621" y="4142"/>
                          <a:pt x="31097" y="8714"/>
                          <a:pt x="28526" y="11762"/>
                        </a:cubicBezTo>
                        <a:lnTo>
                          <a:pt x="12714" y="31002"/>
                        </a:lnTo>
                        <a:cubicBezTo>
                          <a:pt x="11285" y="32621"/>
                          <a:pt x="9190" y="33574"/>
                          <a:pt x="7190" y="3357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63" name="Grafik 3840">
                    <a:extLst>
                      <a:ext uri="{FF2B5EF4-FFF2-40B4-BE49-F238E27FC236}">
                        <a16:creationId xmlns:a16="http://schemas.microsoft.com/office/drawing/2014/main" id="{9167499E-91ED-1FA8-347A-D87F922D5A0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93504" y="3591965"/>
                    <a:ext cx="30111" cy="33534"/>
                  </a:xfrm>
                  <a:custGeom>
                    <a:avLst/>
                    <a:gdLst>
                      <a:gd name="connsiteX0" fmla="*/ 22962 w 30111"/>
                      <a:gd name="connsiteY0" fmla="*/ 33534 h 33534"/>
                      <a:gd name="connsiteX1" fmla="*/ 17437 w 30111"/>
                      <a:gd name="connsiteY1" fmla="*/ 30963 h 33534"/>
                      <a:gd name="connsiteX2" fmla="*/ 1626 w 30111"/>
                      <a:gd name="connsiteY2" fmla="*/ 11722 h 33534"/>
                      <a:gd name="connsiteX3" fmla="*/ 2578 w 30111"/>
                      <a:gd name="connsiteY3" fmla="*/ 1626 h 33534"/>
                      <a:gd name="connsiteX4" fmla="*/ 12675 w 30111"/>
                      <a:gd name="connsiteY4" fmla="*/ 2578 h 33534"/>
                      <a:gd name="connsiteX5" fmla="*/ 28486 w 30111"/>
                      <a:gd name="connsiteY5" fmla="*/ 21819 h 33534"/>
                      <a:gd name="connsiteX6" fmla="*/ 27534 w 30111"/>
                      <a:gd name="connsiteY6" fmla="*/ 31915 h 33534"/>
                      <a:gd name="connsiteX7" fmla="*/ 22962 w 30111"/>
                      <a:gd name="connsiteY7" fmla="*/ 33534 h 335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111" h="33534">
                        <a:moveTo>
                          <a:pt x="22962" y="33534"/>
                        </a:moveTo>
                        <a:cubicBezTo>
                          <a:pt x="20866" y="33534"/>
                          <a:pt x="18866" y="32677"/>
                          <a:pt x="17437" y="30963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28486" y="21819"/>
                        </a:lnTo>
                        <a:cubicBezTo>
                          <a:pt x="30963" y="24867"/>
                          <a:pt x="30582" y="29343"/>
                          <a:pt x="27534" y="31915"/>
                        </a:cubicBezTo>
                        <a:cubicBezTo>
                          <a:pt x="26200" y="33058"/>
                          <a:pt x="24581" y="33534"/>
                          <a:pt x="22962" y="335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695" name="Grafik 3842">
            <a:extLst>
              <a:ext uri="{FF2B5EF4-FFF2-40B4-BE49-F238E27FC236}">
                <a16:creationId xmlns:a16="http://schemas.microsoft.com/office/drawing/2014/main" id="{24C0816A-AA1A-55B8-57A0-D9E3D39F13E5}"/>
              </a:ext>
            </a:extLst>
          </p:cNvPr>
          <p:cNvGrpSpPr/>
          <p:nvPr/>
        </p:nvGrpSpPr>
        <p:grpSpPr bwMode="gray">
          <a:xfrm>
            <a:off x="7536203" y="2940797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96" name="Grafik 3842">
              <a:extLst>
                <a:ext uri="{FF2B5EF4-FFF2-40B4-BE49-F238E27FC236}">
                  <a16:creationId xmlns:a16="http://schemas.microsoft.com/office/drawing/2014/main" id="{54E32A97-F1F2-7809-E06C-5D6259E543C6}"/>
                </a:ext>
              </a:extLst>
            </p:cNvPr>
            <p:cNvGrpSpPr/>
            <p:nvPr/>
          </p:nvGrpSpPr>
          <p:grpSpPr bwMode="gray">
            <a:xfrm>
              <a:off x="5925025" y="3348513"/>
              <a:ext cx="272712" cy="221170"/>
              <a:chOff x="5925025" y="3348513"/>
              <a:chExt cx="272712" cy="221170"/>
            </a:xfrm>
            <a:grpFill/>
          </p:grpSpPr>
          <p:grpSp>
            <p:nvGrpSpPr>
              <p:cNvPr id="703" name="Grafik 3842">
                <a:extLst>
                  <a:ext uri="{FF2B5EF4-FFF2-40B4-BE49-F238E27FC236}">
                    <a16:creationId xmlns:a16="http://schemas.microsoft.com/office/drawing/2014/main" id="{29FB3E75-6162-C74A-36CC-CABDF886CC38}"/>
                  </a:ext>
                </a:extLst>
              </p:cNvPr>
              <p:cNvGrpSpPr/>
              <p:nvPr/>
            </p:nvGrpSpPr>
            <p:grpSpPr bwMode="gray">
              <a:xfrm>
                <a:off x="5925025" y="3425207"/>
                <a:ext cx="265157" cy="69133"/>
                <a:chOff x="5925025" y="3425207"/>
                <a:chExt cx="265157" cy="69133"/>
              </a:xfrm>
              <a:grpFill/>
            </p:grpSpPr>
            <p:sp>
              <p:nvSpPr>
                <p:cNvPr id="714" name="Grafik 3842">
                  <a:extLst>
                    <a:ext uri="{FF2B5EF4-FFF2-40B4-BE49-F238E27FC236}">
                      <a16:creationId xmlns:a16="http://schemas.microsoft.com/office/drawing/2014/main" id="{4D6D5657-D46D-3325-B0C8-34D55D8551E6}"/>
                    </a:ext>
                  </a:extLst>
                </p:cNvPr>
                <p:cNvSpPr/>
                <p:nvPr/>
              </p:nvSpPr>
              <p:spPr bwMode="gray">
                <a:xfrm>
                  <a:off x="5925025" y="3452621"/>
                  <a:ext cx="251174" cy="14287"/>
                </a:xfrm>
                <a:custGeom>
                  <a:avLst/>
                  <a:gdLst>
                    <a:gd name="connsiteX0" fmla="*/ 244030 w 251174"/>
                    <a:gd name="connsiteY0" fmla="*/ 14288 h 14287"/>
                    <a:gd name="connsiteX1" fmla="*/ 7144 w 251174"/>
                    <a:gd name="connsiteY1" fmla="*/ 14288 h 14287"/>
                    <a:gd name="connsiteX2" fmla="*/ 0 w 251174"/>
                    <a:gd name="connsiteY2" fmla="*/ 7144 h 14287"/>
                    <a:gd name="connsiteX3" fmla="*/ 7144 w 251174"/>
                    <a:gd name="connsiteY3" fmla="*/ 0 h 14287"/>
                    <a:gd name="connsiteX4" fmla="*/ 244030 w 251174"/>
                    <a:gd name="connsiteY4" fmla="*/ 0 h 14287"/>
                    <a:gd name="connsiteX5" fmla="*/ 251174 w 251174"/>
                    <a:gd name="connsiteY5" fmla="*/ 7144 h 14287"/>
                    <a:gd name="connsiteX6" fmla="*/ 244030 w 251174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51174" h="14287">
                      <a:moveTo>
                        <a:pt x="244030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244030" y="0"/>
                      </a:lnTo>
                      <a:cubicBezTo>
                        <a:pt x="247936" y="0"/>
                        <a:pt x="251174" y="3239"/>
                        <a:pt x="251174" y="7144"/>
                      </a:cubicBezTo>
                      <a:cubicBezTo>
                        <a:pt x="251174" y="11049"/>
                        <a:pt x="247936" y="14288"/>
                        <a:pt x="244030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15" name="Grafik 3842">
                  <a:extLst>
                    <a:ext uri="{FF2B5EF4-FFF2-40B4-BE49-F238E27FC236}">
                      <a16:creationId xmlns:a16="http://schemas.microsoft.com/office/drawing/2014/main" id="{58B6A376-2DE1-EF65-62CE-77283E7CAE13}"/>
                    </a:ext>
                  </a:extLst>
                </p:cNvPr>
                <p:cNvSpPr/>
                <p:nvPr/>
              </p:nvSpPr>
              <p:spPr bwMode="gray">
                <a:xfrm>
                  <a:off x="6150691" y="3425207"/>
                  <a:ext cx="39492" cy="41701"/>
                </a:xfrm>
                <a:custGeom>
                  <a:avLst/>
                  <a:gdLst>
                    <a:gd name="connsiteX0" fmla="*/ 32367 w 39492"/>
                    <a:gd name="connsiteY0" fmla="*/ 41701 h 41701"/>
                    <a:gd name="connsiteX1" fmla="*/ 27128 w 39492"/>
                    <a:gd name="connsiteY1" fmla="*/ 39415 h 41701"/>
                    <a:gd name="connsiteX2" fmla="*/ 1887 w 39492"/>
                    <a:gd name="connsiteY2" fmla="*/ 11983 h 41701"/>
                    <a:gd name="connsiteX3" fmla="*/ 2268 w 39492"/>
                    <a:gd name="connsiteY3" fmla="*/ 1887 h 41701"/>
                    <a:gd name="connsiteX4" fmla="*/ 12364 w 39492"/>
                    <a:gd name="connsiteY4" fmla="*/ 2268 h 41701"/>
                    <a:gd name="connsiteX5" fmla="*/ 37605 w 39492"/>
                    <a:gd name="connsiteY5" fmla="*/ 29700 h 41701"/>
                    <a:gd name="connsiteX6" fmla="*/ 37224 w 39492"/>
                    <a:gd name="connsiteY6" fmla="*/ 39796 h 41701"/>
                    <a:gd name="connsiteX7" fmla="*/ 32367 w 39492"/>
                    <a:gd name="connsiteY7" fmla="*/ 41701 h 417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492" h="41701">
                      <a:moveTo>
                        <a:pt x="32367" y="41701"/>
                      </a:moveTo>
                      <a:cubicBezTo>
                        <a:pt x="30462" y="41701"/>
                        <a:pt x="28557" y="40939"/>
                        <a:pt x="27128" y="39415"/>
                      </a:cubicBezTo>
                      <a:lnTo>
                        <a:pt x="1887" y="11983"/>
                      </a:lnTo>
                      <a:cubicBezTo>
                        <a:pt x="-780" y="9126"/>
                        <a:pt x="-590" y="4554"/>
                        <a:pt x="2268" y="1887"/>
                      </a:cubicBezTo>
                      <a:cubicBezTo>
                        <a:pt x="5220" y="-780"/>
                        <a:pt x="9697" y="-590"/>
                        <a:pt x="12364" y="2268"/>
                      </a:cubicBezTo>
                      <a:lnTo>
                        <a:pt x="37605" y="29700"/>
                      </a:lnTo>
                      <a:cubicBezTo>
                        <a:pt x="40272" y="32557"/>
                        <a:pt x="40082" y="37129"/>
                        <a:pt x="37224" y="39796"/>
                      </a:cubicBezTo>
                      <a:cubicBezTo>
                        <a:pt x="35796" y="41034"/>
                        <a:pt x="34081" y="41701"/>
                        <a:pt x="32367" y="4170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16" name="Grafik 3842">
                  <a:extLst>
                    <a:ext uri="{FF2B5EF4-FFF2-40B4-BE49-F238E27FC236}">
                      <a16:creationId xmlns:a16="http://schemas.microsoft.com/office/drawing/2014/main" id="{53D46EE2-27EE-BEC4-66B8-83A992753FC4}"/>
                    </a:ext>
                  </a:extLst>
                </p:cNvPr>
                <p:cNvSpPr/>
                <p:nvPr/>
              </p:nvSpPr>
              <p:spPr bwMode="gray">
                <a:xfrm>
                  <a:off x="6150691" y="3452639"/>
                  <a:ext cx="39492" cy="41701"/>
                </a:xfrm>
                <a:custGeom>
                  <a:avLst/>
                  <a:gdLst>
                    <a:gd name="connsiteX0" fmla="*/ 7125 w 39492"/>
                    <a:gd name="connsiteY0" fmla="*/ 41701 h 41701"/>
                    <a:gd name="connsiteX1" fmla="*/ 2268 w 39492"/>
                    <a:gd name="connsiteY1" fmla="*/ 39796 h 41701"/>
                    <a:gd name="connsiteX2" fmla="*/ 1887 w 39492"/>
                    <a:gd name="connsiteY2" fmla="*/ 29700 h 41701"/>
                    <a:gd name="connsiteX3" fmla="*/ 27128 w 39492"/>
                    <a:gd name="connsiteY3" fmla="*/ 2268 h 41701"/>
                    <a:gd name="connsiteX4" fmla="*/ 37224 w 39492"/>
                    <a:gd name="connsiteY4" fmla="*/ 1887 h 41701"/>
                    <a:gd name="connsiteX5" fmla="*/ 37605 w 39492"/>
                    <a:gd name="connsiteY5" fmla="*/ 11983 h 41701"/>
                    <a:gd name="connsiteX6" fmla="*/ 12364 w 39492"/>
                    <a:gd name="connsiteY6" fmla="*/ 39415 h 41701"/>
                    <a:gd name="connsiteX7" fmla="*/ 7125 w 39492"/>
                    <a:gd name="connsiteY7" fmla="*/ 41701 h 417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492" h="41701">
                      <a:moveTo>
                        <a:pt x="7125" y="41701"/>
                      </a:moveTo>
                      <a:cubicBezTo>
                        <a:pt x="5411" y="41701"/>
                        <a:pt x="3696" y="41034"/>
                        <a:pt x="2268" y="39796"/>
                      </a:cubicBezTo>
                      <a:cubicBezTo>
                        <a:pt x="-590" y="37129"/>
                        <a:pt x="-780" y="32652"/>
                        <a:pt x="1887" y="29700"/>
                      </a:cubicBezTo>
                      <a:lnTo>
                        <a:pt x="27128" y="2268"/>
                      </a:lnTo>
                      <a:cubicBezTo>
                        <a:pt x="29795" y="-590"/>
                        <a:pt x="34272" y="-780"/>
                        <a:pt x="37224" y="1887"/>
                      </a:cubicBezTo>
                      <a:cubicBezTo>
                        <a:pt x="40082" y="4554"/>
                        <a:pt x="40272" y="9030"/>
                        <a:pt x="37605" y="11983"/>
                      </a:cubicBezTo>
                      <a:lnTo>
                        <a:pt x="12364" y="39415"/>
                      </a:lnTo>
                      <a:cubicBezTo>
                        <a:pt x="10935" y="40844"/>
                        <a:pt x="9030" y="41701"/>
                        <a:pt x="7125" y="4170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704" name="Grafik 3842">
                <a:extLst>
                  <a:ext uri="{FF2B5EF4-FFF2-40B4-BE49-F238E27FC236}">
                    <a16:creationId xmlns:a16="http://schemas.microsoft.com/office/drawing/2014/main" id="{3AD749F6-9755-131B-C1FF-70A45B48EBA3}"/>
                  </a:ext>
                </a:extLst>
              </p:cNvPr>
              <p:cNvGrpSpPr/>
              <p:nvPr/>
            </p:nvGrpSpPr>
            <p:grpSpPr bwMode="gray">
              <a:xfrm>
                <a:off x="5925025" y="3348513"/>
                <a:ext cx="272712" cy="66770"/>
                <a:chOff x="5925025" y="3348513"/>
                <a:chExt cx="272712" cy="66770"/>
              </a:xfrm>
              <a:grpFill/>
            </p:grpSpPr>
            <p:sp>
              <p:nvSpPr>
                <p:cNvPr id="710" name="Grafik 3842">
                  <a:extLst>
                    <a:ext uri="{FF2B5EF4-FFF2-40B4-BE49-F238E27FC236}">
                      <a16:creationId xmlns:a16="http://schemas.microsoft.com/office/drawing/2014/main" id="{AEF62471-F436-250B-C3E3-5DB555094958}"/>
                    </a:ext>
                  </a:extLst>
                </p:cNvPr>
                <p:cNvSpPr/>
                <p:nvPr/>
              </p:nvSpPr>
              <p:spPr bwMode="gray">
                <a:xfrm>
                  <a:off x="5925025" y="3348513"/>
                  <a:ext cx="107156" cy="14287"/>
                </a:xfrm>
                <a:custGeom>
                  <a:avLst/>
                  <a:gdLst>
                    <a:gd name="connsiteX0" fmla="*/ 100012 w 107156"/>
                    <a:gd name="connsiteY0" fmla="*/ 14288 h 14287"/>
                    <a:gd name="connsiteX1" fmla="*/ 7144 w 107156"/>
                    <a:gd name="connsiteY1" fmla="*/ 14288 h 14287"/>
                    <a:gd name="connsiteX2" fmla="*/ 0 w 107156"/>
                    <a:gd name="connsiteY2" fmla="*/ 7144 h 14287"/>
                    <a:gd name="connsiteX3" fmla="*/ 7144 w 107156"/>
                    <a:gd name="connsiteY3" fmla="*/ 0 h 14287"/>
                    <a:gd name="connsiteX4" fmla="*/ 100012 w 107156"/>
                    <a:gd name="connsiteY4" fmla="*/ 0 h 14287"/>
                    <a:gd name="connsiteX5" fmla="*/ 107156 w 107156"/>
                    <a:gd name="connsiteY5" fmla="*/ 7144 h 14287"/>
                    <a:gd name="connsiteX6" fmla="*/ 100012 w 10715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7156" h="14287">
                      <a:moveTo>
                        <a:pt x="10001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0012" y="0"/>
                      </a:lnTo>
                      <a:cubicBezTo>
                        <a:pt x="103918" y="0"/>
                        <a:pt x="107156" y="3239"/>
                        <a:pt x="107156" y="7144"/>
                      </a:cubicBezTo>
                      <a:cubicBezTo>
                        <a:pt x="107156" y="11049"/>
                        <a:pt x="104013" y="14288"/>
                        <a:pt x="10001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11" name="Grafik 3842">
                  <a:extLst>
                    <a:ext uri="{FF2B5EF4-FFF2-40B4-BE49-F238E27FC236}">
                      <a16:creationId xmlns:a16="http://schemas.microsoft.com/office/drawing/2014/main" id="{C46F024C-8F4F-5876-FA74-4BBB60F1E217}"/>
                    </a:ext>
                  </a:extLst>
                </p:cNvPr>
                <p:cNvSpPr/>
                <p:nvPr/>
              </p:nvSpPr>
              <p:spPr bwMode="gray">
                <a:xfrm>
                  <a:off x="6023380" y="3349738"/>
                  <a:ext cx="172003" cy="43542"/>
                </a:xfrm>
                <a:custGeom>
                  <a:avLst/>
                  <a:gdLst>
                    <a:gd name="connsiteX0" fmla="*/ 164916 w 172003"/>
                    <a:gd name="connsiteY0" fmla="*/ 43542 h 43542"/>
                    <a:gd name="connsiteX1" fmla="*/ 163583 w 172003"/>
                    <a:gd name="connsiteY1" fmla="*/ 43447 h 43542"/>
                    <a:gd name="connsiteX2" fmla="*/ 5849 w 172003"/>
                    <a:gd name="connsiteY2" fmla="*/ 14110 h 43542"/>
                    <a:gd name="connsiteX3" fmla="*/ 134 w 172003"/>
                    <a:gd name="connsiteY3" fmla="*/ 5823 h 43542"/>
                    <a:gd name="connsiteX4" fmla="*/ 8421 w 172003"/>
                    <a:gd name="connsiteY4" fmla="*/ 108 h 43542"/>
                    <a:gd name="connsiteX5" fmla="*/ 166155 w 172003"/>
                    <a:gd name="connsiteY5" fmla="*/ 29445 h 43542"/>
                    <a:gd name="connsiteX6" fmla="*/ 171870 w 172003"/>
                    <a:gd name="connsiteY6" fmla="*/ 37732 h 43542"/>
                    <a:gd name="connsiteX7" fmla="*/ 164916 w 172003"/>
                    <a:gd name="connsiteY7" fmla="*/ 43542 h 435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72003" h="43542">
                      <a:moveTo>
                        <a:pt x="164916" y="43542"/>
                      </a:moveTo>
                      <a:cubicBezTo>
                        <a:pt x="164440" y="43542"/>
                        <a:pt x="164059" y="43542"/>
                        <a:pt x="163583" y="43447"/>
                      </a:cubicBezTo>
                      <a:lnTo>
                        <a:pt x="5849" y="14110"/>
                      </a:lnTo>
                      <a:cubicBezTo>
                        <a:pt x="1944" y="13348"/>
                        <a:pt x="-628" y="9633"/>
                        <a:pt x="134" y="5823"/>
                      </a:cubicBezTo>
                      <a:cubicBezTo>
                        <a:pt x="896" y="1918"/>
                        <a:pt x="4706" y="-559"/>
                        <a:pt x="8421" y="108"/>
                      </a:cubicBezTo>
                      <a:lnTo>
                        <a:pt x="166155" y="29445"/>
                      </a:lnTo>
                      <a:cubicBezTo>
                        <a:pt x="170060" y="30207"/>
                        <a:pt x="172632" y="33922"/>
                        <a:pt x="171870" y="37732"/>
                      </a:cubicBezTo>
                      <a:cubicBezTo>
                        <a:pt x="171298" y="41161"/>
                        <a:pt x="168250" y="43542"/>
                        <a:pt x="164916" y="4354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12" name="Grafik 3842">
                  <a:extLst>
                    <a:ext uri="{FF2B5EF4-FFF2-40B4-BE49-F238E27FC236}">
                      <a16:creationId xmlns:a16="http://schemas.microsoft.com/office/drawing/2014/main" id="{88012A2A-E1C1-200A-C5AD-ABBEDF6C3CCA}"/>
                    </a:ext>
                  </a:extLst>
                </p:cNvPr>
                <p:cNvSpPr/>
                <p:nvPr/>
              </p:nvSpPr>
              <p:spPr bwMode="gray">
                <a:xfrm>
                  <a:off x="6167569" y="3349121"/>
                  <a:ext cx="30025" cy="49016"/>
                </a:xfrm>
                <a:custGeom>
                  <a:avLst/>
                  <a:gdLst>
                    <a:gd name="connsiteX0" fmla="*/ 22918 w 30025"/>
                    <a:gd name="connsiteY0" fmla="*/ 49017 h 49016"/>
                    <a:gd name="connsiteX1" fmla="*/ 16441 w 30025"/>
                    <a:gd name="connsiteY1" fmla="*/ 44826 h 49016"/>
                    <a:gd name="connsiteX2" fmla="*/ 630 w 30025"/>
                    <a:gd name="connsiteY2" fmla="*/ 10060 h 49016"/>
                    <a:gd name="connsiteX3" fmla="*/ 4154 w 30025"/>
                    <a:gd name="connsiteY3" fmla="*/ 630 h 49016"/>
                    <a:gd name="connsiteX4" fmla="*/ 13584 w 30025"/>
                    <a:gd name="connsiteY4" fmla="*/ 4154 h 49016"/>
                    <a:gd name="connsiteX5" fmla="*/ 29395 w 30025"/>
                    <a:gd name="connsiteY5" fmla="*/ 38920 h 49016"/>
                    <a:gd name="connsiteX6" fmla="*/ 25871 w 30025"/>
                    <a:gd name="connsiteY6" fmla="*/ 48350 h 49016"/>
                    <a:gd name="connsiteX7" fmla="*/ 22918 w 30025"/>
                    <a:gd name="connsiteY7" fmla="*/ 49017 h 49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0025" h="49016">
                      <a:moveTo>
                        <a:pt x="22918" y="49017"/>
                      </a:moveTo>
                      <a:cubicBezTo>
                        <a:pt x="20251" y="49017"/>
                        <a:pt x="17584" y="47493"/>
                        <a:pt x="16441" y="44826"/>
                      </a:cubicBezTo>
                      <a:lnTo>
                        <a:pt x="630" y="10060"/>
                      </a:lnTo>
                      <a:cubicBezTo>
                        <a:pt x="-989" y="6440"/>
                        <a:pt x="630" y="2249"/>
                        <a:pt x="4154" y="630"/>
                      </a:cubicBezTo>
                      <a:cubicBezTo>
                        <a:pt x="7774" y="-989"/>
                        <a:pt x="11965" y="630"/>
                        <a:pt x="13584" y="4154"/>
                      </a:cubicBezTo>
                      <a:lnTo>
                        <a:pt x="29395" y="38920"/>
                      </a:lnTo>
                      <a:cubicBezTo>
                        <a:pt x="31015" y="42540"/>
                        <a:pt x="29395" y="46731"/>
                        <a:pt x="25871" y="48350"/>
                      </a:cubicBezTo>
                      <a:cubicBezTo>
                        <a:pt x="24919" y="48826"/>
                        <a:pt x="23871" y="49017"/>
                        <a:pt x="22918" y="4901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13" name="Grafik 3842">
                  <a:extLst>
                    <a:ext uri="{FF2B5EF4-FFF2-40B4-BE49-F238E27FC236}">
                      <a16:creationId xmlns:a16="http://schemas.microsoft.com/office/drawing/2014/main" id="{1F5EC673-9687-42B3-DD7D-7E587B350B26}"/>
                    </a:ext>
                  </a:extLst>
                </p:cNvPr>
                <p:cNvSpPr/>
                <p:nvPr/>
              </p:nvSpPr>
              <p:spPr bwMode="gray">
                <a:xfrm>
                  <a:off x="6151327" y="3383743"/>
                  <a:ext cx="46410" cy="31539"/>
                </a:xfrm>
                <a:custGeom>
                  <a:avLst/>
                  <a:gdLst>
                    <a:gd name="connsiteX0" fmla="*/ 7156 w 46410"/>
                    <a:gd name="connsiteY0" fmla="*/ 31540 h 31539"/>
                    <a:gd name="connsiteX1" fmla="*/ 869 w 46410"/>
                    <a:gd name="connsiteY1" fmla="*/ 27730 h 31539"/>
                    <a:gd name="connsiteX2" fmla="*/ 3822 w 46410"/>
                    <a:gd name="connsiteY2" fmla="*/ 18014 h 31539"/>
                    <a:gd name="connsiteX3" fmla="*/ 35826 w 46410"/>
                    <a:gd name="connsiteY3" fmla="*/ 869 h 31539"/>
                    <a:gd name="connsiteX4" fmla="*/ 45541 w 46410"/>
                    <a:gd name="connsiteY4" fmla="*/ 3822 h 31539"/>
                    <a:gd name="connsiteX5" fmla="*/ 42589 w 46410"/>
                    <a:gd name="connsiteY5" fmla="*/ 13537 h 31539"/>
                    <a:gd name="connsiteX6" fmla="*/ 10585 w 46410"/>
                    <a:gd name="connsiteY6" fmla="*/ 30682 h 31539"/>
                    <a:gd name="connsiteX7" fmla="*/ 7156 w 46410"/>
                    <a:gd name="connsiteY7" fmla="*/ 31540 h 315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6410" h="31539">
                      <a:moveTo>
                        <a:pt x="7156" y="31540"/>
                      </a:moveTo>
                      <a:cubicBezTo>
                        <a:pt x="4584" y="31540"/>
                        <a:pt x="2107" y="30206"/>
                        <a:pt x="869" y="27730"/>
                      </a:cubicBezTo>
                      <a:cubicBezTo>
                        <a:pt x="-1036" y="24205"/>
                        <a:pt x="298" y="19919"/>
                        <a:pt x="3822" y="18014"/>
                      </a:cubicBezTo>
                      <a:lnTo>
                        <a:pt x="35826" y="869"/>
                      </a:lnTo>
                      <a:cubicBezTo>
                        <a:pt x="39350" y="-1036"/>
                        <a:pt x="43636" y="298"/>
                        <a:pt x="45541" y="3822"/>
                      </a:cubicBezTo>
                      <a:cubicBezTo>
                        <a:pt x="47446" y="7346"/>
                        <a:pt x="46113" y="11632"/>
                        <a:pt x="42589" y="13537"/>
                      </a:cubicBezTo>
                      <a:lnTo>
                        <a:pt x="10585" y="30682"/>
                      </a:lnTo>
                      <a:cubicBezTo>
                        <a:pt x="9442" y="31254"/>
                        <a:pt x="8299" y="31540"/>
                        <a:pt x="7156" y="3154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705" name="Grafik 3842">
                <a:extLst>
                  <a:ext uri="{FF2B5EF4-FFF2-40B4-BE49-F238E27FC236}">
                    <a16:creationId xmlns:a16="http://schemas.microsoft.com/office/drawing/2014/main" id="{42D1A39F-8F9F-2707-17BF-B8C7B213A351}"/>
                  </a:ext>
                </a:extLst>
              </p:cNvPr>
              <p:cNvGrpSpPr/>
              <p:nvPr/>
            </p:nvGrpSpPr>
            <p:grpSpPr bwMode="gray">
              <a:xfrm>
                <a:off x="5925025" y="3502943"/>
                <a:ext cx="272670" cy="66740"/>
                <a:chOff x="5925025" y="3502943"/>
                <a:chExt cx="272670" cy="66740"/>
              </a:xfrm>
              <a:grpFill/>
            </p:grpSpPr>
            <p:sp>
              <p:nvSpPr>
                <p:cNvPr id="706" name="Grafik 3842">
                  <a:extLst>
                    <a:ext uri="{FF2B5EF4-FFF2-40B4-BE49-F238E27FC236}">
                      <a16:creationId xmlns:a16="http://schemas.microsoft.com/office/drawing/2014/main" id="{D9C7C979-BC30-3327-0757-DEBC3311520B}"/>
                    </a:ext>
                  </a:extLst>
                </p:cNvPr>
                <p:cNvSpPr/>
                <p:nvPr/>
              </p:nvSpPr>
              <p:spPr bwMode="gray">
                <a:xfrm>
                  <a:off x="5925025" y="3555396"/>
                  <a:ext cx="107156" cy="14287"/>
                </a:xfrm>
                <a:custGeom>
                  <a:avLst/>
                  <a:gdLst>
                    <a:gd name="connsiteX0" fmla="*/ 100012 w 107156"/>
                    <a:gd name="connsiteY0" fmla="*/ 14288 h 14287"/>
                    <a:gd name="connsiteX1" fmla="*/ 7144 w 107156"/>
                    <a:gd name="connsiteY1" fmla="*/ 14288 h 14287"/>
                    <a:gd name="connsiteX2" fmla="*/ 0 w 107156"/>
                    <a:gd name="connsiteY2" fmla="*/ 7144 h 14287"/>
                    <a:gd name="connsiteX3" fmla="*/ 7144 w 107156"/>
                    <a:gd name="connsiteY3" fmla="*/ 0 h 14287"/>
                    <a:gd name="connsiteX4" fmla="*/ 100012 w 107156"/>
                    <a:gd name="connsiteY4" fmla="*/ 0 h 14287"/>
                    <a:gd name="connsiteX5" fmla="*/ 107156 w 107156"/>
                    <a:gd name="connsiteY5" fmla="*/ 7144 h 14287"/>
                    <a:gd name="connsiteX6" fmla="*/ 100012 w 10715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7156" h="14287">
                      <a:moveTo>
                        <a:pt x="10001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0012" y="0"/>
                      </a:lnTo>
                      <a:cubicBezTo>
                        <a:pt x="103918" y="0"/>
                        <a:pt x="107156" y="3239"/>
                        <a:pt x="107156" y="7144"/>
                      </a:cubicBezTo>
                      <a:cubicBezTo>
                        <a:pt x="107156" y="11049"/>
                        <a:pt x="104013" y="14288"/>
                        <a:pt x="10001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7" name="Grafik 3842">
                  <a:extLst>
                    <a:ext uri="{FF2B5EF4-FFF2-40B4-BE49-F238E27FC236}">
                      <a16:creationId xmlns:a16="http://schemas.microsoft.com/office/drawing/2014/main" id="{38577713-D537-FCC5-E7C6-B1929AD86365}"/>
                    </a:ext>
                  </a:extLst>
                </p:cNvPr>
                <p:cNvSpPr/>
                <p:nvPr/>
              </p:nvSpPr>
              <p:spPr bwMode="gray">
                <a:xfrm>
                  <a:off x="6023285" y="3525068"/>
                  <a:ext cx="172003" cy="43567"/>
                </a:xfrm>
                <a:custGeom>
                  <a:avLst/>
                  <a:gdLst>
                    <a:gd name="connsiteX0" fmla="*/ 7182 w 172003"/>
                    <a:gd name="connsiteY0" fmla="*/ 43568 h 43567"/>
                    <a:gd name="connsiteX1" fmla="*/ 134 w 172003"/>
                    <a:gd name="connsiteY1" fmla="*/ 37758 h 43567"/>
                    <a:gd name="connsiteX2" fmla="*/ 5849 w 172003"/>
                    <a:gd name="connsiteY2" fmla="*/ 29471 h 43567"/>
                    <a:gd name="connsiteX3" fmla="*/ 163583 w 172003"/>
                    <a:gd name="connsiteY3" fmla="*/ 134 h 43567"/>
                    <a:gd name="connsiteX4" fmla="*/ 171870 w 172003"/>
                    <a:gd name="connsiteY4" fmla="*/ 5849 h 43567"/>
                    <a:gd name="connsiteX5" fmla="*/ 166155 w 172003"/>
                    <a:gd name="connsiteY5" fmla="*/ 14136 h 43567"/>
                    <a:gd name="connsiteX6" fmla="*/ 8421 w 172003"/>
                    <a:gd name="connsiteY6" fmla="*/ 43473 h 43567"/>
                    <a:gd name="connsiteX7" fmla="*/ 7182 w 172003"/>
                    <a:gd name="connsiteY7" fmla="*/ 43568 h 435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72003" h="43567">
                      <a:moveTo>
                        <a:pt x="7182" y="43568"/>
                      </a:moveTo>
                      <a:cubicBezTo>
                        <a:pt x="3849" y="43568"/>
                        <a:pt x="801" y="41187"/>
                        <a:pt x="134" y="37758"/>
                      </a:cubicBezTo>
                      <a:cubicBezTo>
                        <a:pt x="-628" y="33852"/>
                        <a:pt x="1944" y="30138"/>
                        <a:pt x="5849" y="29471"/>
                      </a:cubicBezTo>
                      <a:lnTo>
                        <a:pt x="163583" y="134"/>
                      </a:lnTo>
                      <a:cubicBezTo>
                        <a:pt x="167393" y="-628"/>
                        <a:pt x="171203" y="1944"/>
                        <a:pt x="171870" y="5849"/>
                      </a:cubicBezTo>
                      <a:cubicBezTo>
                        <a:pt x="172632" y="9754"/>
                        <a:pt x="170060" y="13469"/>
                        <a:pt x="166155" y="14136"/>
                      </a:cubicBezTo>
                      <a:lnTo>
                        <a:pt x="8421" y="43473"/>
                      </a:lnTo>
                      <a:cubicBezTo>
                        <a:pt x="8135" y="43473"/>
                        <a:pt x="7659" y="43568"/>
                        <a:pt x="7182" y="4356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8" name="Grafik 3842">
                  <a:extLst>
                    <a:ext uri="{FF2B5EF4-FFF2-40B4-BE49-F238E27FC236}">
                      <a16:creationId xmlns:a16="http://schemas.microsoft.com/office/drawing/2014/main" id="{22619B68-BC4A-3C15-0558-65DE56F32CFE}"/>
                    </a:ext>
                  </a:extLst>
                </p:cNvPr>
                <p:cNvSpPr/>
                <p:nvPr/>
              </p:nvSpPr>
              <p:spPr bwMode="gray">
                <a:xfrm>
                  <a:off x="6167554" y="3520175"/>
                  <a:ext cx="30055" cy="49031"/>
                </a:xfrm>
                <a:custGeom>
                  <a:avLst/>
                  <a:gdLst>
                    <a:gd name="connsiteX0" fmla="*/ 7122 w 30055"/>
                    <a:gd name="connsiteY0" fmla="*/ 49032 h 49031"/>
                    <a:gd name="connsiteX1" fmla="*/ 4169 w 30055"/>
                    <a:gd name="connsiteY1" fmla="*/ 48365 h 49031"/>
                    <a:gd name="connsiteX2" fmla="*/ 645 w 30055"/>
                    <a:gd name="connsiteY2" fmla="*/ 38935 h 49031"/>
                    <a:gd name="connsiteX3" fmla="*/ 16456 w 30055"/>
                    <a:gd name="connsiteY3" fmla="*/ 4169 h 49031"/>
                    <a:gd name="connsiteX4" fmla="*/ 25886 w 30055"/>
                    <a:gd name="connsiteY4" fmla="*/ 645 h 49031"/>
                    <a:gd name="connsiteX5" fmla="*/ 29410 w 30055"/>
                    <a:gd name="connsiteY5" fmla="*/ 10075 h 49031"/>
                    <a:gd name="connsiteX6" fmla="*/ 13599 w 30055"/>
                    <a:gd name="connsiteY6" fmla="*/ 44841 h 49031"/>
                    <a:gd name="connsiteX7" fmla="*/ 7122 w 30055"/>
                    <a:gd name="connsiteY7" fmla="*/ 49032 h 490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0055" h="49031">
                      <a:moveTo>
                        <a:pt x="7122" y="49032"/>
                      </a:moveTo>
                      <a:cubicBezTo>
                        <a:pt x="6169" y="49032"/>
                        <a:pt x="5122" y="48841"/>
                        <a:pt x="4169" y="48365"/>
                      </a:cubicBezTo>
                      <a:cubicBezTo>
                        <a:pt x="550" y="46746"/>
                        <a:pt x="-974" y="42460"/>
                        <a:pt x="645" y="38935"/>
                      </a:cubicBezTo>
                      <a:lnTo>
                        <a:pt x="16456" y="4169"/>
                      </a:lnTo>
                      <a:cubicBezTo>
                        <a:pt x="18076" y="550"/>
                        <a:pt x="22362" y="-974"/>
                        <a:pt x="25886" y="645"/>
                      </a:cubicBezTo>
                      <a:cubicBezTo>
                        <a:pt x="29506" y="2264"/>
                        <a:pt x="31030" y="6550"/>
                        <a:pt x="29410" y="10075"/>
                      </a:cubicBezTo>
                      <a:lnTo>
                        <a:pt x="13599" y="44841"/>
                      </a:lnTo>
                      <a:cubicBezTo>
                        <a:pt x="12361" y="47413"/>
                        <a:pt x="9789" y="49032"/>
                        <a:pt x="7122" y="490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9" name="Grafik 3842">
                  <a:extLst>
                    <a:ext uri="{FF2B5EF4-FFF2-40B4-BE49-F238E27FC236}">
                      <a16:creationId xmlns:a16="http://schemas.microsoft.com/office/drawing/2014/main" id="{FA21AA9F-6F88-6D65-29DD-5B53EE665C81}"/>
                    </a:ext>
                  </a:extLst>
                </p:cNvPr>
                <p:cNvSpPr/>
                <p:nvPr/>
              </p:nvSpPr>
              <p:spPr bwMode="gray">
                <a:xfrm>
                  <a:off x="6151369" y="3502943"/>
                  <a:ext cx="46326" cy="31497"/>
                </a:xfrm>
                <a:custGeom>
                  <a:avLst/>
                  <a:gdLst>
                    <a:gd name="connsiteX0" fmla="*/ 39118 w 46326"/>
                    <a:gd name="connsiteY0" fmla="*/ 31498 h 31497"/>
                    <a:gd name="connsiteX1" fmla="*/ 35784 w 46326"/>
                    <a:gd name="connsiteY1" fmla="*/ 30640 h 31497"/>
                    <a:gd name="connsiteX2" fmla="*/ 3780 w 46326"/>
                    <a:gd name="connsiteY2" fmla="*/ 13495 h 31497"/>
                    <a:gd name="connsiteX3" fmla="*/ 827 w 46326"/>
                    <a:gd name="connsiteY3" fmla="*/ 3780 h 31497"/>
                    <a:gd name="connsiteX4" fmla="*/ 10543 w 46326"/>
                    <a:gd name="connsiteY4" fmla="*/ 827 h 31497"/>
                    <a:gd name="connsiteX5" fmla="*/ 42547 w 46326"/>
                    <a:gd name="connsiteY5" fmla="*/ 17972 h 31497"/>
                    <a:gd name="connsiteX6" fmla="*/ 45499 w 46326"/>
                    <a:gd name="connsiteY6" fmla="*/ 27688 h 31497"/>
                    <a:gd name="connsiteX7" fmla="*/ 39118 w 46326"/>
                    <a:gd name="connsiteY7" fmla="*/ 31498 h 314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6326" h="31497">
                      <a:moveTo>
                        <a:pt x="39118" y="31498"/>
                      </a:moveTo>
                      <a:cubicBezTo>
                        <a:pt x="37975" y="31498"/>
                        <a:pt x="36832" y="31212"/>
                        <a:pt x="35784" y="30640"/>
                      </a:cubicBezTo>
                      <a:lnTo>
                        <a:pt x="3780" y="13495"/>
                      </a:lnTo>
                      <a:cubicBezTo>
                        <a:pt x="256" y="11590"/>
                        <a:pt x="-983" y="7304"/>
                        <a:pt x="827" y="3780"/>
                      </a:cubicBezTo>
                      <a:cubicBezTo>
                        <a:pt x="2732" y="256"/>
                        <a:pt x="7018" y="-983"/>
                        <a:pt x="10543" y="827"/>
                      </a:cubicBezTo>
                      <a:lnTo>
                        <a:pt x="42547" y="17972"/>
                      </a:lnTo>
                      <a:cubicBezTo>
                        <a:pt x="46071" y="19877"/>
                        <a:pt x="47309" y="24163"/>
                        <a:pt x="45499" y="27688"/>
                      </a:cubicBezTo>
                      <a:cubicBezTo>
                        <a:pt x="44166" y="30164"/>
                        <a:pt x="41689" y="31498"/>
                        <a:pt x="39118" y="3149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grpSp>
          <p:nvGrpSpPr>
            <p:cNvPr id="697" name="Grafik 3842">
              <a:extLst>
                <a:ext uri="{FF2B5EF4-FFF2-40B4-BE49-F238E27FC236}">
                  <a16:creationId xmlns:a16="http://schemas.microsoft.com/office/drawing/2014/main" id="{5F5DC3C5-0937-ED7A-23B2-1E0368F3866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698" name="Grafik 3842">
                <a:extLst>
                  <a:ext uri="{FF2B5EF4-FFF2-40B4-BE49-F238E27FC236}">
                    <a16:creationId xmlns:a16="http://schemas.microsoft.com/office/drawing/2014/main" id="{28739F52-31CB-D2BC-902D-E823081AC9DA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99" name="Grafik 3842">
                <a:extLst>
                  <a:ext uri="{FF2B5EF4-FFF2-40B4-BE49-F238E27FC236}">
                    <a16:creationId xmlns:a16="http://schemas.microsoft.com/office/drawing/2014/main" id="{3AEE9B97-772A-430C-767A-2F082E1AA962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00" name="Grafik 3842">
                <a:extLst>
                  <a:ext uri="{FF2B5EF4-FFF2-40B4-BE49-F238E27FC236}">
                    <a16:creationId xmlns:a16="http://schemas.microsoft.com/office/drawing/2014/main" id="{C17E0FB7-3AB2-A71A-7413-44099DD78861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01" name="Grafik 3842">
                <a:extLst>
                  <a:ext uri="{FF2B5EF4-FFF2-40B4-BE49-F238E27FC236}">
                    <a16:creationId xmlns:a16="http://schemas.microsoft.com/office/drawing/2014/main" id="{E4445A45-D3CC-2E38-C4DD-419DBC84B2E6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02" name="Grafik 3842">
                <a:extLst>
                  <a:ext uri="{FF2B5EF4-FFF2-40B4-BE49-F238E27FC236}">
                    <a16:creationId xmlns:a16="http://schemas.microsoft.com/office/drawing/2014/main" id="{E5959647-7830-1237-BDCC-0EFC6033C0BB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sp>
        <p:nvSpPr>
          <p:cNvPr id="717" name="Rectangle 716">
            <a:extLst>
              <a:ext uri="{FF2B5EF4-FFF2-40B4-BE49-F238E27FC236}">
                <a16:creationId xmlns:a16="http://schemas.microsoft.com/office/drawing/2014/main" id="{D9CE1CE8-2F1C-743C-7673-904063A91F4E}"/>
              </a:ext>
            </a:extLst>
          </p:cNvPr>
          <p:cNvSpPr/>
          <p:nvPr/>
        </p:nvSpPr>
        <p:spPr>
          <a:xfrm>
            <a:off x="9942167" y="850740"/>
            <a:ext cx="1975315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Converged Service Delivery Platform</a:t>
            </a:r>
          </a:p>
        </p:txBody>
      </p:sp>
      <p:sp>
        <p:nvSpPr>
          <p:cNvPr id="718" name="Text Box 55">
            <a:extLst>
              <a:ext uri="{FF2B5EF4-FFF2-40B4-BE49-F238E27FC236}">
                <a16:creationId xmlns:a16="http://schemas.microsoft.com/office/drawing/2014/main" id="{A6C7BBEB-1330-5871-3DCD-5D694BAFCE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1366838"/>
            <a:ext cx="105637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Content Engine</a:t>
            </a:r>
          </a:p>
        </p:txBody>
      </p:sp>
      <p:sp>
        <p:nvSpPr>
          <p:cNvPr id="719" name="Text Box 56">
            <a:extLst>
              <a:ext uri="{FF2B5EF4-FFF2-40B4-BE49-F238E27FC236}">
                <a16:creationId xmlns:a16="http://schemas.microsoft.com/office/drawing/2014/main" id="{E32CF504-24D8-3B25-8E2A-0056CC03B1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1912938"/>
            <a:ext cx="103233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Content Server</a:t>
            </a:r>
          </a:p>
        </p:txBody>
      </p:sp>
      <p:sp>
        <p:nvSpPr>
          <p:cNvPr id="720" name="Text Box 57">
            <a:extLst>
              <a:ext uri="{FF2B5EF4-FFF2-40B4-BE49-F238E27FC236}">
                <a16:creationId xmlns:a16="http://schemas.microsoft.com/office/drawing/2014/main" id="{08E8B7A9-7C82-8334-E3EA-3E6146DACBB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2459038"/>
            <a:ext cx="88370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Video Server</a:t>
            </a:r>
          </a:p>
        </p:txBody>
      </p:sp>
      <p:sp>
        <p:nvSpPr>
          <p:cNvPr id="721" name="Text Box 58">
            <a:extLst>
              <a:ext uri="{FF2B5EF4-FFF2-40B4-BE49-F238E27FC236}">
                <a16:creationId xmlns:a16="http://schemas.microsoft.com/office/drawing/2014/main" id="{18146DB7-6290-7BA0-F87D-444B8EEF770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3005138"/>
            <a:ext cx="89607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Music Server</a:t>
            </a:r>
          </a:p>
        </p:txBody>
      </p:sp>
      <p:sp>
        <p:nvSpPr>
          <p:cNvPr id="722" name="Text Box 59">
            <a:extLst>
              <a:ext uri="{FF2B5EF4-FFF2-40B4-BE49-F238E27FC236}">
                <a16:creationId xmlns:a16="http://schemas.microsoft.com/office/drawing/2014/main" id="{E053BA0F-1B0B-FD63-792F-699EA8B7187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3551238"/>
            <a:ext cx="132889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Application Control </a:t>
            </a:r>
            <a:br>
              <a:rPr lang="en-US" altLang="en-US" sz="1200" dirty="0"/>
            </a:br>
            <a:r>
              <a:rPr lang="en-US" altLang="en-US" sz="1200" dirty="0"/>
              <a:t>Engine</a:t>
            </a:r>
          </a:p>
        </p:txBody>
      </p:sp>
      <p:sp>
        <p:nvSpPr>
          <p:cNvPr id="723" name="Text Box 60">
            <a:extLst>
              <a:ext uri="{FF2B5EF4-FFF2-40B4-BE49-F238E27FC236}">
                <a16:creationId xmlns:a16="http://schemas.microsoft.com/office/drawing/2014/main" id="{BDB6E7B8-7116-BFC2-302B-528867749EC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4097338"/>
            <a:ext cx="100989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IP/TV Content </a:t>
            </a:r>
            <a:br>
              <a:rPr lang="en-US" altLang="en-US" sz="1200" dirty="0"/>
            </a:br>
            <a:r>
              <a:rPr lang="en-US" altLang="en-US" sz="1200" dirty="0"/>
              <a:t>Manager</a:t>
            </a:r>
          </a:p>
        </p:txBody>
      </p:sp>
      <p:grpSp>
        <p:nvGrpSpPr>
          <p:cNvPr id="724" name="Grafik 11">
            <a:extLst>
              <a:ext uri="{FF2B5EF4-FFF2-40B4-BE49-F238E27FC236}">
                <a16:creationId xmlns:a16="http://schemas.microsoft.com/office/drawing/2014/main" id="{AA1D691B-ECD1-1D39-A676-E804AD1076C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942167" y="133320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725" name="Grafik 11">
              <a:extLst>
                <a:ext uri="{FF2B5EF4-FFF2-40B4-BE49-F238E27FC236}">
                  <a16:creationId xmlns:a16="http://schemas.microsoft.com/office/drawing/2014/main" id="{A5941B32-7550-78D0-C8B6-932375F78996}"/>
                </a:ext>
              </a:extLst>
            </p:cNvPr>
            <p:cNvGrpSpPr/>
            <p:nvPr/>
          </p:nvGrpSpPr>
          <p:grpSpPr bwMode="gray">
            <a:xfrm>
              <a:off x="6167556" y="3424451"/>
              <a:ext cx="79128" cy="69318"/>
              <a:chOff x="6167556" y="3424451"/>
              <a:chExt cx="79128" cy="69318"/>
            </a:xfrm>
            <a:grpFill/>
          </p:grpSpPr>
          <p:sp>
            <p:nvSpPr>
              <p:cNvPr id="747" name="Grafik 11">
                <a:extLst>
                  <a:ext uri="{FF2B5EF4-FFF2-40B4-BE49-F238E27FC236}">
                    <a16:creationId xmlns:a16="http://schemas.microsoft.com/office/drawing/2014/main" id="{3CA6B989-8FA1-1CFD-C88A-48539883E740}"/>
                  </a:ext>
                </a:extLst>
              </p:cNvPr>
              <p:cNvSpPr/>
              <p:nvPr/>
            </p:nvSpPr>
            <p:spPr bwMode="gray">
              <a:xfrm>
                <a:off x="6167627" y="3451954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7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7" y="3239"/>
                      <a:pt x="79057" y="7144"/>
                    </a:cubicBezTo>
                    <a:cubicBezTo>
                      <a:pt x="79057" y="11049"/>
                      <a:pt x="75819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48" name="Grafik 11">
                <a:extLst>
                  <a:ext uri="{FF2B5EF4-FFF2-40B4-BE49-F238E27FC236}">
                    <a16:creationId xmlns:a16="http://schemas.microsoft.com/office/drawing/2014/main" id="{44D0FE38-789C-A6AD-62CB-468A304B753B}"/>
                  </a:ext>
                </a:extLst>
              </p:cNvPr>
              <p:cNvSpPr/>
              <p:nvPr/>
            </p:nvSpPr>
            <p:spPr bwMode="gray">
              <a:xfrm>
                <a:off x="6167556" y="3451978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362" y="41124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49" name="Grafik 11">
                <a:extLst>
                  <a:ext uri="{FF2B5EF4-FFF2-40B4-BE49-F238E27FC236}">
                    <a16:creationId xmlns:a16="http://schemas.microsoft.com/office/drawing/2014/main" id="{C93CD450-AC29-CF63-A443-B88BA3A0E63E}"/>
                  </a:ext>
                </a:extLst>
              </p:cNvPr>
              <p:cNvSpPr/>
              <p:nvPr/>
            </p:nvSpPr>
            <p:spPr bwMode="gray">
              <a:xfrm>
                <a:off x="6167651" y="3424451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739" y="41124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726" name="Grafik 11">
              <a:extLst>
                <a:ext uri="{FF2B5EF4-FFF2-40B4-BE49-F238E27FC236}">
                  <a16:creationId xmlns:a16="http://schemas.microsoft.com/office/drawing/2014/main" id="{4D3E30B4-90E6-0FD5-4D21-D07EF12AC2E3}"/>
                </a:ext>
              </a:extLst>
            </p:cNvPr>
            <p:cNvGrpSpPr/>
            <p:nvPr/>
          </p:nvGrpSpPr>
          <p:grpSpPr bwMode="gray">
            <a:xfrm>
              <a:off x="5876067" y="3307865"/>
              <a:ext cx="79057" cy="302490"/>
              <a:chOff x="5876067" y="3307865"/>
              <a:chExt cx="79057" cy="302490"/>
            </a:xfrm>
            <a:grpFill/>
          </p:grpSpPr>
          <p:grpSp>
            <p:nvGrpSpPr>
              <p:cNvPr id="735" name="Grafik 11">
                <a:extLst>
                  <a:ext uri="{FF2B5EF4-FFF2-40B4-BE49-F238E27FC236}">
                    <a16:creationId xmlns:a16="http://schemas.microsoft.com/office/drawing/2014/main" id="{AAEECC0A-90BA-6521-3A48-F3051E1E2ADC}"/>
                  </a:ext>
                </a:extLst>
              </p:cNvPr>
              <p:cNvGrpSpPr/>
              <p:nvPr/>
            </p:nvGrpSpPr>
            <p:grpSpPr bwMode="gray">
              <a:xfrm>
                <a:off x="5876067" y="3424451"/>
                <a:ext cx="79057" cy="69318"/>
                <a:chOff x="5876067" y="3424451"/>
                <a:chExt cx="79057" cy="69318"/>
              </a:xfrm>
              <a:grpFill/>
            </p:grpSpPr>
            <p:sp>
              <p:nvSpPr>
                <p:cNvPr id="744" name="Grafik 11">
                  <a:extLst>
                    <a:ext uri="{FF2B5EF4-FFF2-40B4-BE49-F238E27FC236}">
                      <a16:creationId xmlns:a16="http://schemas.microsoft.com/office/drawing/2014/main" id="{F6250FFA-E0CF-4226-3CE0-73DD795E7E72}"/>
                    </a:ext>
                  </a:extLst>
                </p:cNvPr>
                <p:cNvSpPr/>
                <p:nvPr/>
              </p:nvSpPr>
              <p:spPr bwMode="gray">
                <a:xfrm>
                  <a:off x="5876067" y="3451954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45" name="Grafik 11">
                  <a:extLst>
                    <a:ext uri="{FF2B5EF4-FFF2-40B4-BE49-F238E27FC236}">
                      <a16:creationId xmlns:a16="http://schemas.microsoft.com/office/drawing/2014/main" id="{70D65C69-E872-31EF-5A8D-E57F62A105C2}"/>
                    </a:ext>
                  </a:extLst>
                </p:cNvPr>
                <p:cNvSpPr/>
                <p:nvPr/>
              </p:nvSpPr>
              <p:spPr bwMode="gray">
                <a:xfrm>
                  <a:off x="5913333" y="3451978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739" y="41124"/>
                        <a:pt x="8930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46" name="Grafik 11">
                  <a:extLst>
                    <a:ext uri="{FF2B5EF4-FFF2-40B4-BE49-F238E27FC236}">
                      <a16:creationId xmlns:a16="http://schemas.microsoft.com/office/drawing/2014/main" id="{06CCA707-4B4A-2016-155F-FBBB0DF4F958}"/>
                    </a:ext>
                  </a:extLst>
                </p:cNvPr>
                <p:cNvSpPr/>
                <p:nvPr/>
              </p:nvSpPr>
              <p:spPr bwMode="gray">
                <a:xfrm>
                  <a:off x="5913333" y="3424451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267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736" name="Grafik 11">
                <a:extLst>
                  <a:ext uri="{FF2B5EF4-FFF2-40B4-BE49-F238E27FC236}">
                    <a16:creationId xmlns:a16="http://schemas.microsoft.com/office/drawing/2014/main" id="{E57C992E-A79B-9AFE-E6DA-4843EE5E3A14}"/>
                  </a:ext>
                </a:extLst>
              </p:cNvPr>
              <p:cNvGrpSpPr/>
              <p:nvPr/>
            </p:nvGrpSpPr>
            <p:grpSpPr bwMode="gray">
              <a:xfrm>
                <a:off x="5876067" y="3541132"/>
                <a:ext cx="79057" cy="69222"/>
                <a:chOff x="5876067" y="3541132"/>
                <a:chExt cx="79057" cy="69222"/>
              </a:xfrm>
              <a:grpFill/>
            </p:grpSpPr>
            <p:sp>
              <p:nvSpPr>
                <p:cNvPr id="741" name="Grafik 11">
                  <a:extLst>
                    <a:ext uri="{FF2B5EF4-FFF2-40B4-BE49-F238E27FC236}">
                      <a16:creationId xmlns:a16="http://schemas.microsoft.com/office/drawing/2014/main" id="{CF078D22-1AF3-3AB3-5941-C0D099E1ED07}"/>
                    </a:ext>
                  </a:extLst>
                </p:cNvPr>
                <p:cNvSpPr/>
                <p:nvPr/>
              </p:nvSpPr>
              <p:spPr bwMode="gray">
                <a:xfrm>
                  <a:off x="5876067" y="3568635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42" name="Grafik 11">
                  <a:extLst>
                    <a:ext uri="{FF2B5EF4-FFF2-40B4-BE49-F238E27FC236}">
                      <a16:creationId xmlns:a16="http://schemas.microsoft.com/office/drawing/2014/main" id="{5BC9040F-D8AC-D83B-E360-FCCE0C13BE80}"/>
                    </a:ext>
                  </a:extLst>
                </p:cNvPr>
                <p:cNvSpPr/>
                <p:nvPr/>
              </p:nvSpPr>
              <p:spPr bwMode="gray">
                <a:xfrm>
                  <a:off x="5913333" y="3568564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739" y="41124"/>
                        <a:pt x="8930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43" name="Grafik 11">
                  <a:extLst>
                    <a:ext uri="{FF2B5EF4-FFF2-40B4-BE49-F238E27FC236}">
                      <a16:creationId xmlns:a16="http://schemas.microsoft.com/office/drawing/2014/main" id="{BCB40BD3-EEA9-B5F0-F2AB-8AC21C93B9AC}"/>
                    </a:ext>
                  </a:extLst>
                </p:cNvPr>
                <p:cNvSpPr/>
                <p:nvPr/>
              </p:nvSpPr>
              <p:spPr bwMode="gray">
                <a:xfrm>
                  <a:off x="5913333" y="3541132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267" y="41029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737" name="Grafik 11">
                <a:extLst>
                  <a:ext uri="{FF2B5EF4-FFF2-40B4-BE49-F238E27FC236}">
                    <a16:creationId xmlns:a16="http://schemas.microsoft.com/office/drawing/2014/main" id="{C88B6C4C-898F-6305-DE90-71CD7D4B5371}"/>
                  </a:ext>
                </a:extLst>
              </p:cNvPr>
              <p:cNvGrpSpPr/>
              <p:nvPr/>
            </p:nvGrpSpPr>
            <p:grpSpPr bwMode="gray">
              <a:xfrm>
                <a:off x="5876067" y="3307865"/>
                <a:ext cx="79057" cy="69318"/>
                <a:chOff x="5876067" y="3307865"/>
                <a:chExt cx="79057" cy="69318"/>
              </a:xfrm>
              <a:grpFill/>
            </p:grpSpPr>
            <p:sp>
              <p:nvSpPr>
                <p:cNvPr id="738" name="Grafik 11">
                  <a:extLst>
                    <a:ext uri="{FF2B5EF4-FFF2-40B4-BE49-F238E27FC236}">
                      <a16:creationId xmlns:a16="http://schemas.microsoft.com/office/drawing/2014/main" id="{DBDCC9EE-32D1-F410-0058-B2519C51A2C0}"/>
                    </a:ext>
                  </a:extLst>
                </p:cNvPr>
                <p:cNvSpPr/>
                <p:nvPr/>
              </p:nvSpPr>
              <p:spPr bwMode="gray">
                <a:xfrm>
                  <a:off x="5876067" y="333536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39" name="Grafik 11">
                  <a:extLst>
                    <a:ext uri="{FF2B5EF4-FFF2-40B4-BE49-F238E27FC236}">
                      <a16:creationId xmlns:a16="http://schemas.microsoft.com/office/drawing/2014/main" id="{D615D34F-82BD-E7EA-1047-F527DAAF57A5}"/>
                    </a:ext>
                  </a:extLst>
                </p:cNvPr>
                <p:cNvSpPr/>
                <p:nvPr/>
              </p:nvSpPr>
              <p:spPr bwMode="gray">
                <a:xfrm>
                  <a:off x="5913333" y="3335392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739" y="41029"/>
                        <a:pt x="8930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40" name="Grafik 11">
                  <a:extLst>
                    <a:ext uri="{FF2B5EF4-FFF2-40B4-BE49-F238E27FC236}">
                      <a16:creationId xmlns:a16="http://schemas.microsoft.com/office/drawing/2014/main" id="{608647F4-C59B-AD87-C302-589082E8B64C}"/>
                    </a:ext>
                  </a:extLst>
                </p:cNvPr>
                <p:cNvSpPr/>
                <p:nvPr/>
              </p:nvSpPr>
              <p:spPr bwMode="gray">
                <a:xfrm>
                  <a:off x="5913333" y="3307865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267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727" name="Grafik 11">
              <a:extLst>
                <a:ext uri="{FF2B5EF4-FFF2-40B4-BE49-F238E27FC236}">
                  <a16:creationId xmlns:a16="http://schemas.microsoft.com/office/drawing/2014/main" id="{6BA74FFF-B35A-8615-3CC5-B48BE836BBC2}"/>
                </a:ext>
              </a:extLst>
            </p:cNvPr>
            <p:cNvGrpSpPr/>
            <p:nvPr/>
          </p:nvGrpSpPr>
          <p:grpSpPr bwMode="gray">
            <a:xfrm>
              <a:off x="5989414" y="3387184"/>
              <a:ext cx="143827" cy="143922"/>
              <a:chOff x="5989414" y="3387184"/>
              <a:chExt cx="143827" cy="143922"/>
            </a:xfrm>
            <a:grpFill/>
          </p:grpSpPr>
          <p:sp>
            <p:nvSpPr>
              <p:cNvPr id="733" name="Grafik 11">
                <a:extLst>
                  <a:ext uri="{FF2B5EF4-FFF2-40B4-BE49-F238E27FC236}">
                    <a16:creationId xmlns:a16="http://schemas.microsoft.com/office/drawing/2014/main" id="{B3E1B0CD-38A0-7D32-F36E-9BE9BBD0E2C0}"/>
                  </a:ext>
                </a:extLst>
              </p:cNvPr>
              <p:cNvSpPr/>
              <p:nvPr/>
            </p:nvSpPr>
            <p:spPr bwMode="gray">
              <a:xfrm>
                <a:off x="5989414" y="3387184"/>
                <a:ext cx="143827" cy="79057"/>
              </a:xfrm>
              <a:custGeom>
                <a:avLst/>
                <a:gdLst>
                  <a:gd name="connsiteX0" fmla="*/ 71914 w 143827"/>
                  <a:gd name="connsiteY0" fmla="*/ 79057 h 79057"/>
                  <a:gd name="connsiteX1" fmla="*/ 0 w 143827"/>
                  <a:gd name="connsiteY1" fmla="*/ 39529 h 79057"/>
                  <a:gd name="connsiteX2" fmla="*/ 71914 w 143827"/>
                  <a:gd name="connsiteY2" fmla="*/ 0 h 79057"/>
                  <a:gd name="connsiteX3" fmla="*/ 143828 w 143827"/>
                  <a:gd name="connsiteY3" fmla="*/ 39529 h 79057"/>
                  <a:gd name="connsiteX4" fmla="*/ 71914 w 143827"/>
                  <a:gd name="connsiteY4" fmla="*/ 79057 h 79057"/>
                  <a:gd name="connsiteX5" fmla="*/ 71914 w 143827"/>
                  <a:gd name="connsiteY5" fmla="*/ 14288 h 79057"/>
                  <a:gd name="connsiteX6" fmla="*/ 14287 w 143827"/>
                  <a:gd name="connsiteY6" fmla="*/ 39529 h 79057"/>
                  <a:gd name="connsiteX7" fmla="*/ 71914 w 143827"/>
                  <a:gd name="connsiteY7" fmla="*/ 64770 h 79057"/>
                  <a:gd name="connsiteX8" fmla="*/ 129540 w 143827"/>
                  <a:gd name="connsiteY8" fmla="*/ 39529 h 79057"/>
                  <a:gd name="connsiteX9" fmla="*/ 71914 w 143827"/>
                  <a:gd name="connsiteY9" fmla="*/ 14288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3827" h="79057">
                    <a:moveTo>
                      <a:pt x="71914" y="79057"/>
                    </a:moveTo>
                    <a:cubicBezTo>
                      <a:pt x="31528" y="79057"/>
                      <a:pt x="0" y="61722"/>
                      <a:pt x="0" y="39529"/>
                    </a:cubicBezTo>
                    <a:cubicBezTo>
                      <a:pt x="0" y="17335"/>
                      <a:pt x="31623" y="0"/>
                      <a:pt x="71914" y="0"/>
                    </a:cubicBezTo>
                    <a:cubicBezTo>
                      <a:pt x="112205" y="0"/>
                      <a:pt x="143828" y="17335"/>
                      <a:pt x="143828" y="39529"/>
                    </a:cubicBezTo>
                    <a:cubicBezTo>
                      <a:pt x="143828" y="61722"/>
                      <a:pt x="112205" y="79057"/>
                      <a:pt x="71914" y="79057"/>
                    </a:cubicBezTo>
                    <a:close/>
                    <a:moveTo>
                      <a:pt x="71914" y="14288"/>
                    </a:moveTo>
                    <a:cubicBezTo>
                      <a:pt x="37910" y="14288"/>
                      <a:pt x="14287" y="27622"/>
                      <a:pt x="14287" y="39529"/>
                    </a:cubicBezTo>
                    <a:cubicBezTo>
                      <a:pt x="14287" y="51435"/>
                      <a:pt x="38005" y="64770"/>
                      <a:pt x="71914" y="64770"/>
                    </a:cubicBezTo>
                    <a:cubicBezTo>
                      <a:pt x="105823" y="64770"/>
                      <a:pt x="129540" y="51435"/>
                      <a:pt x="129540" y="39529"/>
                    </a:cubicBezTo>
                    <a:cubicBezTo>
                      <a:pt x="129540" y="27622"/>
                      <a:pt x="105918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34" name="Grafik 11">
                <a:extLst>
                  <a:ext uri="{FF2B5EF4-FFF2-40B4-BE49-F238E27FC236}">
                    <a16:creationId xmlns:a16="http://schemas.microsoft.com/office/drawing/2014/main" id="{A46E45DF-BCF4-1211-9FC4-89C422971351}"/>
                  </a:ext>
                </a:extLst>
              </p:cNvPr>
              <p:cNvSpPr/>
              <p:nvPr/>
            </p:nvSpPr>
            <p:spPr bwMode="gray">
              <a:xfrm>
                <a:off x="5989414" y="3419665"/>
                <a:ext cx="143827" cy="111442"/>
              </a:xfrm>
              <a:custGeom>
                <a:avLst/>
                <a:gdLst>
                  <a:gd name="connsiteX0" fmla="*/ 71914 w 143827"/>
                  <a:gd name="connsiteY0" fmla="*/ 111443 h 111442"/>
                  <a:gd name="connsiteX1" fmla="*/ 0 w 143827"/>
                  <a:gd name="connsiteY1" fmla="*/ 71914 h 111442"/>
                  <a:gd name="connsiteX2" fmla="*/ 0 w 143827"/>
                  <a:gd name="connsiteY2" fmla="*/ 7144 h 111442"/>
                  <a:gd name="connsiteX3" fmla="*/ 7144 w 143827"/>
                  <a:gd name="connsiteY3" fmla="*/ 0 h 111442"/>
                  <a:gd name="connsiteX4" fmla="*/ 14287 w 143827"/>
                  <a:gd name="connsiteY4" fmla="*/ 7144 h 111442"/>
                  <a:gd name="connsiteX5" fmla="*/ 14287 w 143827"/>
                  <a:gd name="connsiteY5" fmla="*/ 71914 h 111442"/>
                  <a:gd name="connsiteX6" fmla="*/ 71914 w 143827"/>
                  <a:gd name="connsiteY6" fmla="*/ 97155 h 111442"/>
                  <a:gd name="connsiteX7" fmla="*/ 129540 w 143827"/>
                  <a:gd name="connsiteY7" fmla="*/ 71914 h 111442"/>
                  <a:gd name="connsiteX8" fmla="*/ 129540 w 143827"/>
                  <a:gd name="connsiteY8" fmla="*/ 7144 h 111442"/>
                  <a:gd name="connsiteX9" fmla="*/ 136684 w 143827"/>
                  <a:gd name="connsiteY9" fmla="*/ 0 h 111442"/>
                  <a:gd name="connsiteX10" fmla="*/ 143828 w 143827"/>
                  <a:gd name="connsiteY10" fmla="*/ 7144 h 111442"/>
                  <a:gd name="connsiteX11" fmla="*/ 143828 w 143827"/>
                  <a:gd name="connsiteY11" fmla="*/ 71914 h 111442"/>
                  <a:gd name="connsiteX12" fmla="*/ 71914 w 143827"/>
                  <a:gd name="connsiteY12" fmla="*/ 111443 h 111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43827" h="111442">
                    <a:moveTo>
                      <a:pt x="71914" y="111443"/>
                    </a:moveTo>
                    <a:cubicBezTo>
                      <a:pt x="31528" y="111443"/>
                      <a:pt x="0" y="94107"/>
                      <a:pt x="0" y="71914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cubicBezTo>
                      <a:pt x="11049" y="0"/>
                      <a:pt x="14287" y="3239"/>
                      <a:pt x="14287" y="7144"/>
                    </a:cubicBezTo>
                    <a:lnTo>
                      <a:pt x="14287" y="71914"/>
                    </a:lnTo>
                    <a:cubicBezTo>
                      <a:pt x="14287" y="83820"/>
                      <a:pt x="38005" y="97155"/>
                      <a:pt x="71914" y="97155"/>
                    </a:cubicBezTo>
                    <a:cubicBezTo>
                      <a:pt x="105823" y="97155"/>
                      <a:pt x="129540" y="83820"/>
                      <a:pt x="129540" y="71914"/>
                    </a:cubicBezTo>
                    <a:lnTo>
                      <a:pt x="129540" y="7144"/>
                    </a:lnTo>
                    <a:cubicBezTo>
                      <a:pt x="129540" y="3239"/>
                      <a:pt x="132779" y="0"/>
                      <a:pt x="136684" y="0"/>
                    </a:cubicBezTo>
                    <a:cubicBezTo>
                      <a:pt x="140589" y="0"/>
                      <a:pt x="143828" y="3239"/>
                      <a:pt x="143828" y="7144"/>
                    </a:cubicBezTo>
                    <a:lnTo>
                      <a:pt x="143828" y="71914"/>
                    </a:lnTo>
                    <a:cubicBezTo>
                      <a:pt x="143828" y="94012"/>
                      <a:pt x="112205" y="111443"/>
                      <a:pt x="71914" y="11144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728" name="Grafik 11">
              <a:extLst>
                <a:ext uri="{FF2B5EF4-FFF2-40B4-BE49-F238E27FC236}">
                  <a16:creationId xmlns:a16="http://schemas.microsoft.com/office/drawing/2014/main" id="{E853D196-D149-B557-3C5E-7BEC9FFBDE26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29" name="Grafik 11">
              <a:extLst>
                <a:ext uri="{FF2B5EF4-FFF2-40B4-BE49-F238E27FC236}">
                  <a16:creationId xmlns:a16="http://schemas.microsoft.com/office/drawing/2014/main" id="{994F10B0-9402-4C81-1800-268414515B14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30" name="Grafik 11">
              <a:extLst>
                <a:ext uri="{FF2B5EF4-FFF2-40B4-BE49-F238E27FC236}">
                  <a16:creationId xmlns:a16="http://schemas.microsoft.com/office/drawing/2014/main" id="{7A903807-5FFE-3033-8FF7-9D7E5116D39D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31" name="Grafik 11">
              <a:extLst>
                <a:ext uri="{FF2B5EF4-FFF2-40B4-BE49-F238E27FC236}">
                  <a16:creationId xmlns:a16="http://schemas.microsoft.com/office/drawing/2014/main" id="{2AEBA144-84D1-C4F3-2864-F303D67A3F9F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32" name="Grafik 11">
              <a:extLst>
                <a:ext uri="{FF2B5EF4-FFF2-40B4-BE49-F238E27FC236}">
                  <a16:creationId xmlns:a16="http://schemas.microsoft.com/office/drawing/2014/main" id="{9A66F981-3251-8DF1-A7D4-ED86D6D9B667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</p:grpSp>
      <p:grpSp>
        <p:nvGrpSpPr>
          <p:cNvPr id="750" name="Grafik 5">
            <a:extLst>
              <a:ext uri="{FF2B5EF4-FFF2-40B4-BE49-F238E27FC236}">
                <a16:creationId xmlns:a16="http://schemas.microsoft.com/office/drawing/2014/main" id="{2E169C90-C55D-7A9B-B889-651791D7479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942167" y="294209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751" name="Grafik 5">
              <a:extLst>
                <a:ext uri="{FF2B5EF4-FFF2-40B4-BE49-F238E27FC236}">
                  <a16:creationId xmlns:a16="http://schemas.microsoft.com/office/drawing/2014/main" id="{40FD1587-A835-2614-576A-69B8D0FE41F7}"/>
                </a:ext>
              </a:extLst>
            </p:cNvPr>
            <p:cNvSpPr/>
            <p:nvPr/>
          </p:nvSpPr>
          <p:spPr bwMode="gray">
            <a:xfrm>
              <a:off x="6001797" y="3354954"/>
              <a:ext cx="118871" cy="208537"/>
            </a:xfrm>
            <a:custGeom>
              <a:avLst/>
              <a:gdLst>
                <a:gd name="connsiteX0" fmla="*/ 25813 w 118871"/>
                <a:gd name="connsiteY0" fmla="*/ 208538 h 208537"/>
                <a:gd name="connsiteX1" fmla="*/ 10858 w 118871"/>
                <a:gd name="connsiteY1" fmla="*/ 203680 h 208537"/>
                <a:gd name="connsiteX2" fmla="*/ 0 w 118871"/>
                <a:gd name="connsiteY2" fmla="*/ 182535 h 208537"/>
                <a:gd name="connsiteX3" fmla="*/ 15716 w 118871"/>
                <a:gd name="connsiteY3" fmla="*/ 160532 h 208537"/>
                <a:gd name="connsiteX4" fmla="*/ 39529 w 118871"/>
                <a:gd name="connsiteY4" fmla="*/ 152531 h 208537"/>
                <a:gd name="connsiteX5" fmla="*/ 44863 w 118871"/>
                <a:gd name="connsiteY5" fmla="*/ 145101 h 208537"/>
                <a:gd name="connsiteX6" fmla="*/ 44863 w 118871"/>
                <a:gd name="connsiteY6" fmla="*/ 145006 h 208537"/>
                <a:gd name="connsiteX7" fmla="*/ 44863 w 118871"/>
                <a:gd name="connsiteY7" fmla="*/ 145006 h 208537"/>
                <a:gd name="connsiteX8" fmla="*/ 44863 w 118871"/>
                <a:gd name="connsiteY8" fmla="*/ 88047 h 208537"/>
                <a:gd name="connsiteX9" fmla="*/ 44863 w 118871"/>
                <a:gd name="connsiteY9" fmla="*/ 88047 h 208537"/>
                <a:gd name="connsiteX10" fmla="*/ 44863 w 118871"/>
                <a:gd name="connsiteY10" fmla="*/ 69663 h 208537"/>
                <a:gd name="connsiteX11" fmla="*/ 44863 w 118871"/>
                <a:gd name="connsiteY11" fmla="*/ 69568 h 208537"/>
                <a:gd name="connsiteX12" fmla="*/ 44863 w 118871"/>
                <a:gd name="connsiteY12" fmla="*/ 27658 h 208537"/>
                <a:gd name="connsiteX13" fmla="*/ 55816 w 118871"/>
                <a:gd name="connsiteY13" fmla="*/ 13466 h 208537"/>
                <a:gd name="connsiteX14" fmla="*/ 106490 w 118871"/>
                <a:gd name="connsiteY14" fmla="*/ 321 h 208537"/>
                <a:gd name="connsiteX15" fmla="*/ 114014 w 118871"/>
                <a:gd name="connsiteY15" fmla="*/ 1369 h 208537"/>
                <a:gd name="connsiteX16" fmla="*/ 118586 w 118871"/>
                <a:gd name="connsiteY16" fmla="*/ 7465 h 208537"/>
                <a:gd name="connsiteX17" fmla="*/ 118872 w 118871"/>
                <a:gd name="connsiteY17" fmla="*/ 9942 h 208537"/>
                <a:gd name="connsiteX18" fmla="*/ 118872 w 118871"/>
                <a:gd name="connsiteY18" fmla="*/ 36897 h 208537"/>
                <a:gd name="connsiteX19" fmla="*/ 107823 w 118871"/>
                <a:gd name="connsiteY19" fmla="*/ 51185 h 208537"/>
                <a:gd name="connsiteX20" fmla="*/ 64960 w 118871"/>
                <a:gd name="connsiteY20" fmla="*/ 62043 h 208537"/>
                <a:gd name="connsiteX21" fmla="*/ 59245 w 118871"/>
                <a:gd name="connsiteY21" fmla="*/ 68044 h 208537"/>
                <a:gd name="connsiteX22" fmla="*/ 59055 w 118871"/>
                <a:gd name="connsiteY22" fmla="*/ 145197 h 208537"/>
                <a:gd name="connsiteX23" fmla="*/ 59055 w 118871"/>
                <a:gd name="connsiteY23" fmla="*/ 145292 h 208537"/>
                <a:gd name="connsiteX24" fmla="*/ 59055 w 118871"/>
                <a:gd name="connsiteY24" fmla="*/ 182916 h 208537"/>
                <a:gd name="connsiteX25" fmla="*/ 44005 w 118871"/>
                <a:gd name="connsiteY25" fmla="*/ 203966 h 208537"/>
                <a:gd name="connsiteX26" fmla="*/ 34004 w 118871"/>
                <a:gd name="connsiteY26" fmla="*/ 207395 h 208537"/>
                <a:gd name="connsiteX27" fmla="*/ 25813 w 118871"/>
                <a:gd name="connsiteY27" fmla="*/ 208538 h 208537"/>
                <a:gd name="connsiteX28" fmla="*/ 44958 w 118871"/>
                <a:gd name="connsiteY28" fmla="*/ 165771 h 208537"/>
                <a:gd name="connsiteX29" fmla="*/ 44196 w 118871"/>
                <a:gd name="connsiteY29" fmla="*/ 166056 h 208537"/>
                <a:gd name="connsiteX30" fmla="*/ 20383 w 118871"/>
                <a:gd name="connsiteY30" fmla="*/ 174057 h 208537"/>
                <a:gd name="connsiteX31" fmla="*/ 14383 w 118871"/>
                <a:gd name="connsiteY31" fmla="*/ 182439 h 208537"/>
                <a:gd name="connsiteX32" fmla="*/ 19240 w 118871"/>
                <a:gd name="connsiteY32" fmla="*/ 192060 h 208537"/>
                <a:gd name="connsiteX33" fmla="*/ 29527 w 118871"/>
                <a:gd name="connsiteY33" fmla="*/ 193584 h 208537"/>
                <a:gd name="connsiteX34" fmla="*/ 39529 w 118871"/>
                <a:gd name="connsiteY34" fmla="*/ 190155 h 208537"/>
                <a:gd name="connsiteX35" fmla="*/ 44863 w 118871"/>
                <a:gd name="connsiteY35" fmla="*/ 182630 h 208537"/>
                <a:gd name="connsiteX36" fmla="*/ 44863 w 118871"/>
                <a:gd name="connsiteY36" fmla="*/ 165771 h 208537"/>
                <a:gd name="connsiteX37" fmla="*/ 104680 w 118871"/>
                <a:gd name="connsiteY37" fmla="*/ 15371 h 208537"/>
                <a:gd name="connsiteX38" fmla="*/ 59531 w 118871"/>
                <a:gd name="connsiteY38" fmla="*/ 27087 h 208537"/>
                <a:gd name="connsiteX39" fmla="*/ 59436 w 118871"/>
                <a:gd name="connsiteY39" fmla="*/ 48613 h 208537"/>
                <a:gd name="connsiteX40" fmla="*/ 61627 w 118871"/>
                <a:gd name="connsiteY40" fmla="*/ 47946 h 208537"/>
                <a:gd name="connsiteX41" fmla="*/ 104489 w 118871"/>
                <a:gd name="connsiteY41" fmla="*/ 37088 h 208537"/>
                <a:gd name="connsiteX42" fmla="*/ 104680 w 118871"/>
                <a:gd name="connsiteY42" fmla="*/ 15371 h 208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18871" h="208537">
                  <a:moveTo>
                    <a:pt x="25813" y="208538"/>
                  </a:moveTo>
                  <a:cubicBezTo>
                    <a:pt x="20574" y="208538"/>
                    <a:pt x="15335" y="206919"/>
                    <a:pt x="10858" y="203680"/>
                  </a:cubicBezTo>
                  <a:cubicBezTo>
                    <a:pt x="4001" y="198727"/>
                    <a:pt x="0" y="191012"/>
                    <a:pt x="0" y="182535"/>
                  </a:cubicBezTo>
                  <a:cubicBezTo>
                    <a:pt x="0" y="172629"/>
                    <a:pt x="6286" y="163770"/>
                    <a:pt x="15716" y="160532"/>
                  </a:cubicBezTo>
                  <a:lnTo>
                    <a:pt x="39529" y="152531"/>
                  </a:lnTo>
                  <a:cubicBezTo>
                    <a:pt x="42672" y="151483"/>
                    <a:pt x="44863" y="148435"/>
                    <a:pt x="44863" y="145101"/>
                  </a:cubicBezTo>
                  <a:lnTo>
                    <a:pt x="44863" y="145006"/>
                  </a:lnTo>
                  <a:cubicBezTo>
                    <a:pt x="44863" y="145006"/>
                    <a:pt x="44863" y="145006"/>
                    <a:pt x="44863" y="145006"/>
                  </a:cubicBezTo>
                  <a:lnTo>
                    <a:pt x="44863" y="88047"/>
                  </a:lnTo>
                  <a:cubicBezTo>
                    <a:pt x="44863" y="88047"/>
                    <a:pt x="44863" y="88047"/>
                    <a:pt x="44863" y="88047"/>
                  </a:cubicBezTo>
                  <a:lnTo>
                    <a:pt x="44863" y="69663"/>
                  </a:lnTo>
                  <a:cubicBezTo>
                    <a:pt x="44863" y="69663"/>
                    <a:pt x="44863" y="69568"/>
                    <a:pt x="44863" y="69568"/>
                  </a:cubicBezTo>
                  <a:lnTo>
                    <a:pt x="44863" y="27658"/>
                  </a:lnTo>
                  <a:cubicBezTo>
                    <a:pt x="44863" y="20991"/>
                    <a:pt x="49340" y="15180"/>
                    <a:pt x="55816" y="13466"/>
                  </a:cubicBezTo>
                  <a:lnTo>
                    <a:pt x="106490" y="321"/>
                  </a:lnTo>
                  <a:cubicBezTo>
                    <a:pt x="109061" y="-345"/>
                    <a:pt x="111728" y="36"/>
                    <a:pt x="114014" y="1369"/>
                  </a:cubicBezTo>
                  <a:cubicBezTo>
                    <a:pt x="116300" y="2703"/>
                    <a:pt x="117919" y="4893"/>
                    <a:pt x="118586" y="7465"/>
                  </a:cubicBezTo>
                  <a:cubicBezTo>
                    <a:pt x="118777" y="8037"/>
                    <a:pt x="118872" y="9370"/>
                    <a:pt x="118872" y="9942"/>
                  </a:cubicBezTo>
                  <a:lnTo>
                    <a:pt x="118872" y="36897"/>
                  </a:lnTo>
                  <a:cubicBezTo>
                    <a:pt x="118872" y="43565"/>
                    <a:pt x="114395" y="49470"/>
                    <a:pt x="107823" y="51185"/>
                  </a:cubicBezTo>
                  <a:lnTo>
                    <a:pt x="64960" y="62043"/>
                  </a:lnTo>
                  <a:cubicBezTo>
                    <a:pt x="62008" y="62805"/>
                    <a:pt x="59817" y="65091"/>
                    <a:pt x="59245" y="68044"/>
                  </a:cubicBezTo>
                  <a:lnTo>
                    <a:pt x="59055" y="145197"/>
                  </a:lnTo>
                  <a:cubicBezTo>
                    <a:pt x="59055" y="145197"/>
                    <a:pt x="59055" y="145292"/>
                    <a:pt x="59055" y="145292"/>
                  </a:cubicBezTo>
                  <a:lnTo>
                    <a:pt x="59055" y="182916"/>
                  </a:lnTo>
                  <a:cubicBezTo>
                    <a:pt x="59055" y="192441"/>
                    <a:pt x="53054" y="200918"/>
                    <a:pt x="44005" y="203966"/>
                  </a:cubicBezTo>
                  <a:lnTo>
                    <a:pt x="34004" y="207395"/>
                  </a:lnTo>
                  <a:cubicBezTo>
                    <a:pt x="31337" y="208062"/>
                    <a:pt x="28575" y="208538"/>
                    <a:pt x="25813" y="208538"/>
                  </a:cubicBezTo>
                  <a:close/>
                  <a:moveTo>
                    <a:pt x="44958" y="165771"/>
                  </a:moveTo>
                  <a:cubicBezTo>
                    <a:pt x="44672" y="165866"/>
                    <a:pt x="44482" y="165961"/>
                    <a:pt x="44196" y="166056"/>
                  </a:cubicBezTo>
                  <a:lnTo>
                    <a:pt x="20383" y="174057"/>
                  </a:lnTo>
                  <a:cubicBezTo>
                    <a:pt x="16764" y="175296"/>
                    <a:pt x="14383" y="178629"/>
                    <a:pt x="14383" y="182439"/>
                  </a:cubicBezTo>
                  <a:cubicBezTo>
                    <a:pt x="14383" y="186345"/>
                    <a:pt x="16192" y="189774"/>
                    <a:pt x="19240" y="192060"/>
                  </a:cubicBezTo>
                  <a:cubicBezTo>
                    <a:pt x="22289" y="194250"/>
                    <a:pt x="26003" y="194822"/>
                    <a:pt x="29527" y="193584"/>
                  </a:cubicBezTo>
                  <a:lnTo>
                    <a:pt x="39529" y="190155"/>
                  </a:lnTo>
                  <a:cubicBezTo>
                    <a:pt x="42767" y="189107"/>
                    <a:pt x="44863" y="186059"/>
                    <a:pt x="44863" y="182630"/>
                  </a:cubicBezTo>
                  <a:lnTo>
                    <a:pt x="44863" y="165771"/>
                  </a:lnTo>
                  <a:close/>
                  <a:moveTo>
                    <a:pt x="104680" y="15371"/>
                  </a:moveTo>
                  <a:lnTo>
                    <a:pt x="59531" y="27087"/>
                  </a:lnTo>
                  <a:lnTo>
                    <a:pt x="59436" y="48613"/>
                  </a:lnTo>
                  <a:cubicBezTo>
                    <a:pt x="60103" y="48327"/>
                    <a:pt x="60865" y="48137"/>
                    <a:pt x="61627" y="47946"/>
                  </a:cubicBezTo>
                  <a:lnTo>
                    <a:pt x="104489" y="37088"/>
                  </a:lnTo>
                  <a:lnTo>
                    <a:pt x="104680" y="153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52" name="Grafik 5">
              <a:extLst>
                <a:ext uri="{FF2B5EF4-FFF2-40B4-BE49-F238E27FC236}">
                  <a16:creationId xmlns:a16="http://schemas.microsoft.com/office/drawing/2014/main" id="{CAC81985-CBEE-9EE0-7AD2-056A0E8FA4A8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53" name="Grafik 5">
              <a:extLst>
                <a:ext uri="{FF2B5EF4-FFF2-40B4-BE49-F238E27FC236}">
                  <a16:creationId xmlns:a16="http://schemas.microsoft.com/office/drawing/2014/main" id="{61AA094B-039A-EC29-167A-841EA00AF963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54" name="Grafik 5">
              <a:extLst>
                <a:ext uri="{FF2B5EF4-FFF2-40B4-BE49-F238E27FC236}">
                  <a16:creationId xmlns:a16="http://schemas.microsoft.com/office/drawing/2014/main" id="{D898B47F-7C66-D5C4-6D5B-661BC387A490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55" name="Grafik 5">
              <a:extLst>
                <a:ext uri="{FF2B5EF4-FFF2-40B4-BE49-F238E27FC236}">
                  <a16:creationId xmlns:a16="http://schemas.microsoft.com/office/drawing/2014/main" id="{F238E532-C890-2235-961C-F089E5A85142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56" name="Grafik 5">
              <a:extLst>
                <a:ext uri="{FF2B5EF4-FFF2-40B4-BE49-F238E27FC236}">
                  <a16:creationId xmlns:a16="http://schemas.microsoft.com/office/drawing/2014/main" id="{BADEC1DB-75A4-D7D2-F5FA-8928F5B4A655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757" name="Grafik 5">
              <a:extLst>
                <a:ext uri="{FF2B5EF4-FFF2-40B4-BE49-F238E27FC236}">
                  <a16:creationId xmlns:a16="http://schemas.microsoft.com/office/drawing/2014/main" id="{AAB6857F-C9BC-E25E-4AA1-5FB81104FA9B}"/>
                </a:ext>
              </a:extLst>
            </p:cNvPr>
            <p:cNvGrpSpPr/>
            <p:nvPr/>
          </p:nvGrpSpPr>
          <p:grpSpPr bwMode="gray">
            <a:xfrm>
              <a:off x="6167627" y="3307865"/>
              <a:ext cx="79057" cy="302490"/>
              <a:chOff x="6167627" y="3307865"/>
              <a:chExt cx="79057" cy="302490"/>
            </a:xfrm>
            <a:grpFill/>
          </p:grpSpPr>
          <p:grpSp>
            <p:nvGrpSpPr>
              <p:cNvPr id="762" name="Grafik 5">
                <a:extLst>
                  <a:ext uri="{FF2B5EF4-FFF2-40B4-BE49-F238E27FC236}">
                    <a16:creationId xmlns:a16="http://schemas.microsoft.com/office/drawing/2014/main" id="{E19A1B03-265F-C3A9-FB9B-D4437B756661}"/>
                  </a:ext>
                </a:extLst>
              </p:cNvPr>
              <p:cNvGrpSpPr/>
              <p:nvPr/>
            </p:nvGrpSpPr>
            <p:grpSpPr bwMode="gray">
              <a:xfrm>
                <a:off x="6167627" y="3424451"/>
                <a:ext cx="79057" cy="69318"/>
                <a:chOff x="6167627" y="3424451"/>
                <a:chExt cx="79057" cy="69318"/>
              </a:xfrm>
              <a:grpFill/>
            </p:grpSpPr>
            <p:sp>
              <p:nvSpPr>
                <p:cNvPr id="771" name="Grafik 5">
                  <a:extLst>
                    <a:ext uri="{FF2B5EF4-FFF2-40B4-BE49-F238E27FC236}">
                      <a16:creationId xmlns:a16="http://schemas.microsoft.com/office/drawing/2014/main" id="{CF309667-1077-48CE-D2A5-188F3C6FEC6E}"/>
                    </a:ext>
                  </a:extLst>
                </p:cNvPr>
                <p:cNvSpPr/>
                <p:nvPr/>
              </p:nvSpPr>
              <p:spPr bwMode="gray">
                <a:xfrm>
                  <a:off x="6167627" y="3451954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72" name="Grafik 5">
                  <a:extLst>
                    <a:ext uri="{FF2B5EF4-FFF2-40B4-BE49-F238E27FC236}">
                      <a16:creationId xmlns:a16="http://schemas.microsoft.com/office/drawing/2014/main" id="{91A81D47-8DDA-6084-FC04-37D48F08331F}"/>
                    </a:ext>
                  </a:extLst>
                </p:cNvPr>
                <p:cNvSpPr/>
                <p:nvPr/>
              </p:nvSpPr>
              <p:spPr bwMode="gray">
                <a:xfrm>
                  <a:off x="6204894" y="3424451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73" name="Grafik 5">
                  <a:extLst>
                    <a:ext uri="{FF2B5EF4-FFF2-40B4-BE49-F238E27FC236}">
                      <a16:creationId xmlns:a16="http://schemas.microsoft.com/office/drawing/2014/main" id="{0B39CA6C-70E9-288D-0CEA-D0A4ABD28376}"/>
                    </a:ext>
                  </a:extLst>
                </p:cNvPr>
                <p:cNvSpPr/>
                <p:nvPr/>
              </p:nvSpPr>
              <p:spPr bwMode="gray">
                <a:xfrm>
                  <a:off x="6204894" y="3451978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763" name="Grafik 5">
                <a:extLst>
                  <a:ext uri="{FF2B5EF4-FFF2-40B4-BE49-F238E27FC236}">
                    <a16:creationId xmlns:a16="http://schemas.microsoft.com/office/drawing/2014/main" id="{65DCABE2-6D3F-BE04-F550-8F9DD3038C35}"/>
                  </a:ext>
                </a:extLst>
              </p:cNvPr>
              <p:cNvGrpSpPr/>
              <p:nvPr/>
            </p:nvGrpSpPr>
            <p:grpSpPr bwMode="gray">
              <a:xfrm>
                <a:off x="6167627" y="3307865"/>
                <a:ext cx="79057" cy="69318"/>
                <a:chOff x="6167627" y="3307865"/>
                <a:chExt cx="79057" cy="69318"/>
              </a:xfrm>
              <a:grpFill/>
            </p:grpSpPr>
            <p:sp>
              <p:nvSpPr>
                <p:cNvPr id="768" name="Grafik 5">
                  <a:extLst>
                    <a:ext uri="{FF2B5EF4-FFF2-40B4-BE49-F238E27FC236}">
                      <a16:creationId xmlns:a16="http://schemas.microsoft.com/office/drawing/2014/main" id="{6D214566-7552-BCA6-D1A0-3A22E1DA15B0}"/>
                    </a:ext>
                  </a:extLst>
                </p:cNvPr>
                <p:cNvSpPr/>
                <p:nvPr/>
              </p:nvSpPr>
              <p:spPr bwMode="gray">
                <a:xfrm>
                  <a:off x="6167627" y="333536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69" name="Grafik 5">
                  <a:extLst>
                    <a:ext uri="{FF2B5EF4-FFF2-40B4-BE49-F238E27FC236}">
                      <a16:creationId xmlns:a16="http://schemas.microsoft.com/office/drawing/2014/main" id="{50084776-FC21-950E-45B1-01352AFE7DDF}"/>
                    </a:ext>
                  </a:extLst>
                </p:cNvPr>
                <p:cNvSpPr/>
                <p:nvPr/>
              </p:nvSpPr>
              <p:spPr bwMode="gray">
                <a:xfrm>
                  <a:off x="6204894" y="3307865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70" name="Grafik 5">
                  <a:extLst>
                    <a:ext uri="{FF2B5EF4-FFF2-40B4-BE49-F238E27FC236}">
                      <a16:creationId xmlns:a16="http://schemas.microsoft.com/office/drawing/2014/main" id="{68BE4835-D5A0-5931-4328-A7F900FFF8AB}"/>
                    </a:ext>
                  </a:extLst>
                </p:cNvPr>
                <p:cNvSpPr/>
                <p:nvPr/>
              </p:nvSpPr>
              <p:spPr bwMode="gray">
                <a:xfrm>
                  <a:off x="6204894" y="3335392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029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764" name="Grafik 5">
                <a:extLst>
                  <a:ext uri="{FF2B5EF4-FFF2-40B4-BE49-F238E27FC236}">
                    <a16:creationId xmlns:a16="http://schemas.microsoft.com/office/drawing/2014/main" id="{F1CCEB1D-A56F-05A1-4863-AF3C8939ECF3}"/>
                  </a:ext>
                </a:extLst>
              </p:cNvPr>
              <p:cNvGrpSpPr/>
              <p:nvPr/>
            </p:nvGrpSpPr>
            <p:grpSpPr bwMode="gray">
              <a:xfrm>
                <a:off x="6167627" y="3541132"/>
                <a:ext cx="79057" cy="69222"/>
                <a:chOff x="6167627" y="3541132"/>
                <a:chExt cx="79057" cy="69222"/>
              </a:xfrm>
              <a:grpFill/>
            </p:grpSpPr>
            <p:sp>
              <p:nvSpPr>
                <p:cNvPr id="765" name="Grafik 5">
                  <a:extLst>
                    <a:ext uri="{FF2B5EF4-FFF2-40B4-BE49-F238E27FC236}">
                      <a16:creationId xmlns:a16="http://schemas.microsoft.com/office/drawing/2014/main" id="{79F6316A-64F6-8EC8-58C5-681CFF68549F}"/>
                    </a:ext>
                  </a:extLst>
                </p:cNvPr>
                <p:cNvSpPr/>
                <p:nvPr/>
              </p:nvSpPr>
              <p:spPr bwMode="gray">
                <a:xfrm>
                  <a:off x="6167627" y="3568635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66" name="Grafik 5">
                  <a:extLst>
                    <a:ext uri="{FF2B5EF4-FFF2-40B4-BE49-F238E27FC236}">
                      <a16:creationId xmlns:a16="http://schemas.microsoft.com/office/drawing/2014/main" id="{7CB5FF48-F999-7618-1705-926CD0C03F2A}"/>
                    </a:ext>
                  </a:extLst>
                </p:cNvPr>
                <p:cNvSpPr/>
                <p:nvPr/>
              </p:nvSpPr>
              <p:spPr bwMode="gray">
                <a:xfrm>
                  <a:off x="6204894" y="3541132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029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67" name="Grafik 5">
                  <a:extLst>
                    <a:ext uri="{FF2B5EF4-FFF2-40B4-BE49-F238E27FC236}">
                      <a16:creationId xmlns:a16="http://schemas.microsoft.com/office/drawing/2014/main" id="{F08D7002-B8DD-74C2-E84E-4F68147B68D3}"/>
                    </a:ext>
                  </a:extLst>
                </p:cNvPr>
                <p:cNvSpPr/>
                <p:nvPr/>
              </p:nvSpPr>
              <p:spPr bwMode="gray">
                <a:xfrm>
                  <a:off x="6204894" y="3568564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758" name="Grafik 5">
              <a:extLst>
                <a:ext uri="{FF2B5EF4-FFF2-40B4-BE49-F238E27FC236}">
                  <a16:creationId xmlns:a16="http://schemas.microsoft.com/office/drawing/2014/main" id="{2967B3E4-F26F-1723-85A9-6D033D5E7543}"/>
                </a:ext>
              </a:extLst>
            </p:cNvPr>
            <p:cNvGrpSpPr/>
            <p:nvPr/>
          </p:nvGrpSpPr>
          <p:grpSpPr bwMode="gray">
            <a:xfrm>
              <a:off x="5875972" y="3424451"/>
              <a:ext cx="79128" cy="69318"/>
              <a:chOff x="5875972" y="3424451"/>
              <a:chExt cx="79128" cy="69318"/>
            </a:xfrm>
            <a:grpFill/>
          </p:grpSpPr>
          <p:sp>
            <p:nvSpPr>
              <p:cNvPr id="759" name="Grafik 5">
                <a:extLst>
                  <a:ext uri="{FF2B5EF4-FFF2-40B4-BE49-F238E27FC236}">
                    <a16:creationId xmlns:a16="http://schemas.microsoft.com/office/drawing/2014/main" id="{2C9D8515-B472-B430-9EA5-CC8B1E616444}"/>
                  </a:ext>
                </a:extLst>
              </p:cNvPr>
              <p:cNvSpPr/>
              <p:nvPr/>
            </p:nvSpPr>
            <p:spPr bwMode="gray">
              <a:xfrm>
                <a:off x="5875972" y="3451954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8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8" y="3239"/>
                      <a:pt x="79058" y="7144"/>
                    </a:cubicBezTo>
                    <a:cubicBezTo>
                      <a:pt x="79058" y="11049"/>
                      <a:pt x="75914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60" name="Grafik 5">
                <a:extLst>
                  <a:ext uri="{FF2B5EF4-FFF2-40B4-BE49-F238E27FC236}">
                    <a16:creationId xmlns:a16="http://schemas.microsoft.com/office/drawing/2014/main" id="{D8B132E5-01B6-C81D-54EC-FBE1CD712EC5}"/>
                  </a:ext>
                </a:extLst>
              </p:cNvPr>
              <p:cNvSpPr/>
              <p:nvPr/>
            </p:nvSpPr>
            <p:spPr bwMode="gray">
              <a:xfrm>
                <a:off x="5913238" y="3424451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362" y="41124"/>
                      <a:pt x="36552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61" name="Grafik 5">
                <a:extLst>
                  <a:ext uri="{FF2B5EF4-FFF2-40B4-BE49-F238E27FC236}">
                    <a16:creationId xmlns:a16="http://schemas.microsoft.com/office/drawing/2014/main" id="{6722BEED-E6AA-050E-B2D2-3295C5719A25}"/>
                  </a:ext>
                </a:extLst>
              </p:cNvPr>
              <p:cNvSpPr/>
              <p:nvPr/>
            </p:nvSpPr>
            <p:spPr bwMode="gray">
              <a:xfrm>
                <a:off x="5913333" y="3451978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739" y="41124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774" name="Grafik 7">
            <a:extLst>
              <a:ext uri="{FF2B5EF4-FFF2-40B4-BE49-F238E27FC236}">
                <a16:creationId xmlns:a16="http://schemas.microsoft.com/office/drawing/2014/main" id="{5A5F94A7-3E3A-84E2-7986-38B2EE3E26B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942167" y="2405800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775" name="Grafik 7">
              <a:extLst>
                <a:ext uri="{FF2B5EF4-FFF2-40B4-BE49-F238E27FC236}">
                  <a16:creationId xmlns:a16="http://schemas.microsoft.com/office/drawing/2014/main" id="{A27E46FD-CC12-5A00-F90C-0348D06C8A4F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776" name="Grafik 7">
              <a:extLst>
                <a:ext uri="{FF2B5EF4-FFF2-40B4-BE49-F238E27FC236}">
                  <a16:creationId xmlns:a16="http://schemas.microsoft.com/office/drawing/2014/main" id="{F6775E45-06D2-01FC-96F6-0B8F5DEBEEC2}"/>
                </a:ext>
              </a:extLst>
            </p:cNvPr>
            <p:cNvGrpSpPr/>
            <p:nvPr/>
          </p:nvGrpSpPr>
          <p:grpSpPr bwMode="gray">
            <a:xfrm>
              <a:off x="5990652" y="3370992"/>
              <a:ext cx="141446" cy="176307"/>
              <a:chOff x="5990652" y="3370992"/>
              <a:chExt cx="141446" cy="176307"/>
            </a:xfrm>
            <a:grpFill/>
          </p:grpSpPr>
          <p:sp>
            <p:nvSpPr>
              <p:cNvPr id="798" name="Grafik 7">
                <a:extLst>
                  <a:ext uri="{FF2B5EF4-FFF2-40B4-BE49-F238E27FC236}">
                    <a16:creationId xmlns:a16="http://schemas.microsoft.com/office/drawing/2014/main" id="{09F6D6D4-92B0-42FF-FDC8-1A6E5ECCA2E1}"/>
                  </a:ext>
                </a:extLst>
              </p:cNvPr>
              <p:cNvSpPr/>
              <p:nvPr/>
            </p:nvSpPr>
            <p:spPr bwMode="gray">
              <a:xfrm>
                <a:off x="5998082" y="3430809"/>
                <a:ext cx="104013" cy="74104"/>
              </a:xfrm>
              <a:custGeom>
                <a:avLst/>
                <a:gdLst>
                  <a:gd name="connsiteX0" fmla="*/ 96869 w 104013"/>
                  <a:gd name="connsiteY0" fmla="*/ 74105 h 74104"/>
                  <a:gd name="connsiteX1" fmla="*/ 7144 w 104013"/>
                  <a:gd name="connsiteY1" fmla="*/ 74105 h 74104"/>
                  <a:gd name="connsiteX2" fmla="*/ 0 w 104013"/>
                  <a:gd name="connsiteY2" fmla="*/ 66961 h 74104"/>
                  <a:gd name="connsiteX3" fmla="*/ 0 w 104013"/>
                  <a:gd name="connsiteY3" fmla="*/ 7144 h 74104"/>
                  <a:gd name="connsiteX4" fmla="*/ 7144 w 104013"/>
                  <a:gd name="connsiteY4" fmla="*/ 0 h 74104"/>
                  <a:gd name="connsiteX5" fmla="*/ 96869 w 104013"/>
                  <a:gd name="connsiteY5" fmla="*/ 0 h 74104"/>
                  <a:gd name="connsiteX6" fmla="*/ 104013 w 104013"/>
                  <a:gd name="connsiteY6" fmla="*/ 7144 h 74104"/>
                  <a:gd name="connsiteX7" fmla="*/ 104013 w 104013"/>
                  <a:gd name="connsiteY7" fmla="*/ 66961 h 74104"/>
                  <a:gd name="connsiteX8" fmla="*/ 96869 w 104013"/>
                  <a:gd name="connsiteY8" fmla="*/ 74105 h 74104"/>
                  <a:gd name="connsiteX9" fmla="*/ 14288 w 104013"/>
                  <a:gd name="connsiteY9" fmla="*/ 59817 h 74104"/>
                  <a:gd name="connsiteX10" fmla="*/ 89726 w 104013"/>
                  <a:gd name="connsiteY10" fmla="*/ 59817 h 74104"/>
                  <a:gd name="connsiteX11" fmla="*/ 89726 w 104013"/>
                  <a:gd name="connsiteY11" fmla="*/ 14288 h 74104"/>
                  <a:gd name="connsiteX12" fmla="*/ 14288 w 104013"/>
                  <a:gd name="connsiteY12" fmla="*/ 14288 h 74104"/>
                  <a:gd name="connsiteX13" fmla="*/ 14288 w 104013"/>
                  <a:gd name="connsiteY13" fmla="*/ 59817 h 74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04013" h="74104">
                    <a:moveTo>
                      <a:pt x="96869" y="74105"/>
                    </a:moveTo>
                    <a:lnTo>
                      <a:pt x="7144" y="74105"/>
                    </a:lnTo>
                    <a:cubicBezTo>
                      <a:pt x="3239" y="74105"/>
                      <a:pt x="0" y="70866"/>
                      <a:pt x="0" y="66961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96869" y="0"/>
                    </a:lnTo>
                    <a:cubicBezTo>
                      <a:pt x="100775" y="0"/>
                      <a:pt x="104013" y="3239"/>
                      <a:pt x="104013" y="7144"/>
                    </a:cubicBezTo>
                    <a:lnTo>
                      <a:pt x="104013" y="66961"/>
                    </a:lnTo>
                    <a:cubicBezTo>
                      <a:pt x="104013" y="70961"/>
                      <a:pt x="100870" y="74105"/>
                      <a:pt x="96869" y="74105"/>
                    </a:cubicBezTo>
                    <a:close/>
                    <a:moveTo>
                      <a:pt x="14288" y="59817"/>
                    </a:moveTo>
                    <a:lnTo>
                      <a:pt x="89726" y="59817"/>
                    </a:lnTo>
                    <a:lnTo>
                      <a:pt x="89726" y="14288"/>
                    </a:lnTo>
                    <a:lnTo>
                      <a:pt x="14288" y="14288"/>
                    </a:lnTo>
                    <a:lnTo>
                      <a:pt x="14288" y="5981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99" name="Grafik 7">
                <a:extLst>
                  <a:ext uri="{FF2B5EF4-FFF2-40B4-BE49-F238E27FC236}">
                    <a16:creationId xmlns:a16="http://schemas.microsoft.com/office/drawing/2014/main" id="{B3117D0A-DD97-CD60-F367-DAB3C3E46925}"/>
                  </a:ext>
                </a:extLst>
              </p:cNvPr>
              <p:cNvSpPr/>
              <p:nvPr/>
            </p:nvSpPr>
            <p:spPr bwMode="gray">
              <a:xfrm>
                <a:off x="5990652" y="3370992"/>
                <a:ext cx="119062" cy="74104"/>
              </a:xfrm>
              <a:custGeom>
                <a:avLst/>
                <a:gdLst>
                  <a:gd name="connsiteX0" fmla="*/ 81915 w 119062"/>
                  <a:gd name="connsiteY0" fmla="*/ 74105 h 74104"/>
                  <a:gd name="connsiteX1" fmla="*/ 37052 w 119062"/>
                  <a:gd name="connsiteY1" fmla="*/ 74105 h 74104"/>
                  <a:gd name="connsiteX2" fmla="*/ 0 w 119062"/>
                  <a:gd name="connsiteY2" fmla="*/ 37052 h 74104"/>
                  <a:gd name="connsiteX3" fmla="*/ 37052 w 119062"/>
                  <a:gd name="connsiteY3" fmla="*/ 0 h 74104"/>
                  <a:gd name="connsiteX4" fmla="*/ 59531 w 119062"/>
                  <a:gd name="connsiteY4" fmla="*/ 7715 h 74104"/>
                  <a:gd name="connsiteX5" fmla="*/ 82010 w 119062"/>
                  <a:gd name="connsiteY5" fmla="*/ 0 h 74104"/>
                  <a:gd name="connsiteX6" fmla="*/ 119063 w 119062"/>
                  <a:gd name="connsiteY6" fmla="*/ 37052 h 74104"/>
                  <a:gd name="connsiteX7" fmla="*/ 81915 w 119062"/>
                  <a:gd name="connsiteY7" fmla="*/ 74105 h 74104"/>
                  <a:gd name="connsiteX8" fmla="*/ 37052 w 119062"/>
                  <a:gd name="connsiteY8" fmla="*/ 14288 h 74104"/>
                  <a:gd name="connsiteX9" fmla="*/ 14288 w 119062"/>
                  <a:gd name="connsiteY9" fmla="*/ 37052 h 74104"/>
                  <a:gd name="connsiteX10" fmla="*/ 37052 w 119062"/>
                  <a:gd name="connsiteY10" fmla="*/ 59817 h 74104"/>
                  <a:gd name="connsiteX11" fmla="*/ 81915 w 119062"/>
                  <a:gd name="connsiteY11" fmla="*/ 59817 h 74104"/>
                  <a:gd name="connsiteX12" fmla="*/ 104680 w 119062"/>
                  <a:gd name="connsiteY12" fmla="*/ 37052 h 74104"/>
                  <a:gd name="connsiteX13" fmla="*/ 81915 w 119062"/>
                  <a:gd name="connsiteY13" fmla="*/ 14288 h 74104"/>
                  <a:gd name="connsiteX14" fmla="*/ 64865 w 119062"/>
                  <a:gd name="connsiteY14" fmla="*/ 22193 h 74104"/>
                  <a:gd name="connsiteX15" fmla="*/ 59531 w 119062"/>
                  <a:gd name="connsiteY15" fmla="*/ 24670 h 74104"/>
                  <a:gd name="connsiteX16" fmla="*/ 59531 w 119062"/>
                  <a:gd name="connsiteY16" fmla="*/ 24670 h 74104"/>
                  <a:gd name="connsiteX17" fmla="*/ 54197 w 119062"/>
                  <a:gd name="connsiteY17" fmla="*/ 22193 h 74104"/>
                  <a:gd name="connsiteX18" fmla="*/ 37052 w 119062"/>
                  <a:gd name="connsiteY18" fmla="*/ 14288 h 74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19062" h="74104">
                    <a:moveTo>
                      <a:pt x="81915" y="74105"/>
                    </a:moveTo>
                    <a:lnTo>
                      <a:pt x="37052" y="74105"/>
                    </a:lnTo>
                    <a:cubicBezTo>
                      <a:pt x="16574" y="74105"/>
                      <a:pt x="0" y="57436"/>
                      <a:pt x="0" y="37052"/>
                    </a:cubicBezTo>
                    <a:cubicBezTo>
                      <a:pt x="0" y="16669"/>
                      <a:pt x="16669" y="0"/>
                      <a:pt x="37052" y="0"/>
                    </a:cubicBezTo>
                    <a:cubicBezTo>
                      <a:pt x="45149" y="0"/>
                      <a:pt x="53054" y="2762"/>
                      <a:pt x="59531" y="7715"/>
                    </a:cubicBezTo>
                    <a:cubicBezTo>
                      <a:pt x="65913" y="2762"/>
                      <a:pt x="73819" y="0"/>
                      <a:pt x="82010" y="0"/>
                    </a:cubicBezTo>
                    <a:cubicBezTo>
                      <a:pt x="102489" y="0"/>
                      <a:pt x="119063" y="16669"/>
                      <a:pt x="119063" y="37052"/>
                    </a:cubicBezTo>
                    <a:cubicBezTo>
                      <a:pt x="119063" y="57436"/>
                      <a:pt x="102299" y="74105"/>
                      <a:pt x="81915" y="74105"/>
                    </a:cubicBezTo>
                    <a:close/>
                    <a:moveTo>
                      <a:pt x="37052" y="14288"/>
                    </a:moveTo>
                    <a:cubicBezTo>
                      <a:pt x="24479" y="14288"/>
                      <a:pt x="14288" y="24479"/>
                      <a:pt x="14288" y="37052"/>
                    </a:cubicBezTo>
                    <a:cubicBezTo>
                      <a:pt x="14288" y="49625"/>
                      <a:pt x="24479" y="59817"/>
                      <a:pt x="37052" y="59817"/>
                    </a:cubicBezTo>
                    <a:lnTo>
                      <a:pt x="81915" y="59817"/>
                    </a:lnTo>
                    <a:cubicBezTo>
                      <a:pt x="94488" y="59817"/>
                      <a:pt x="104680" y="49625"/>
                      <a:pt x="104680" y="37052"/>
                    </a:cubicBezTo>
                    <a:cubicBezTo>
                      <a:pt x="104680" y="24479"/>
                      <a:pt x="94488" y="14288"/>
                      <a:pt x="81915" y="14288"/>
                    </a:cubicBezTo>
                    <a:cubicBezTo>
                      <a:pt x="75438" y="14288"/>
                      <a:pt x="69247" y="17145"/>
                      <a:pt x="64865" y="22193"/>
                    </a:cubicBezTo>
                    <a:cubicBezTo>
                      <a:pt x="63532" y="23717"/>
                      <a:pt x="61532" y="24670"/>
                      <a:pt x="59531" y="24670"/>
                    </a:cubicBezTo>
                    <a:lnTo>
                      <a:pt x="59531" y="24670"/>
                    </a:lnTo>
                    <a:cubicBezTo>
                      <a:pt x="57436" y="24670"/>
                      <a:pt x="55531" y="23813"/>
                      <a:pt x="54197" y="22193"/>
                    </a:cubicBezTo>
                    <a:cubicBezTo>
                      <a:pt x="49625" y="17050"/>
                      <a:pt x="43625" y="14288"/>
                      <a:pt x="37052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00" name="Grafik 7">
                <a:extLst>
                  <a:ext uri="{FF2B5EF4-FFF2-40B4-BE49-F238E27FC236}">
                    <a16:creationId xmlns:a16="http://schemas.microsoft.com/office/drawing/2014/main" id="{0DFA1AE4-A2F8-0060-BC0E-DA83F95AC68C}"/>
                  </a:ext>
                </a:extLst>
              </p:cNvPr>
              <p:cNvSpPr/>
              <p:nvPr/>
            </p:nvSpPr>
            <p:spPr bwMode="gray">
              <a:xfrm>
                <a:off x="6087903" y="3430679"/>
                <a:ext cx="44196" cy="74234"/>
              </a:xfrm>
              <a:custGeom>
                <a:avLst/>
                <a:gdLst>
                  <a:gd name="connsiteX0" fmla="*/ 37052 w 44196"/>
                  <a:gd name="connsiteY0" fmla="*/ 74234 h 74234"/>
                  <a:gd name="connsiteX1" fmla="*/ 34671 w 44196"/>
                  <a:gd name="connsiteY1" fmla="*/ 73853 h 74234"/>
                  <a:gd name="connsiteX2" fmla="*/ 4763 w 44196"/>
                  <a:gd name="connsiteY2" fmla="*/ 63281 h 74234"/>
                  <a:gd name="connsiteX3" fmla="*/ 0 w 44196"/>
                  <a:gd name="connsiteY3" fmla="*/ 56518 h 74234"/>
                  <a:gd name="connsiteX4" fmla="*/ 0 w 44196"/>
                  <a:gd name="connsiteY4" fmla="*/ 17751 h 74234"/>
                  <a:gd name="connsiteX5" fmla="*/ 4763 w 44196"/>
                  <a:gd name="connsiteY5" fmla="*/ 10988 h 74234"/>
                  <a:gd name="connsiteX6" fmla="*/ 34671 w 44196"/>
                  <a:gd name="connsiteY6" fmla="*/ 416 h 74234"/>
                  <a:gd name="connsiteX7" fmla="*/ 41148 w 44196"/>
                  <a:gd name="connsiteY7" fmla="*/ 1273 h 74234"/>
                  <a:gd name="connsiteX8" fmla="*/ 44196 w 44196"/>
                  <a:gd name="connsiteY8" fmla="*/ 7083 h 74234"/>
                  <a:gd name="connsiteX9" fmla="*/ 44196 w 44196"/>
                  <a:gd name="connsiteY9" fmla="*/ 66900 h 74234"/>
                  <a:gd name="connsiteX10" fmla="*/ 41148 w 44196"/>
                  <a:gd name="connsiteY10" fmla="*/ 72710 h 74234"/>
                  <a:gd name="connsiteX11" fmla="*/ 37052 w 44196"/>
                  <a:gd name="connsiteY11" fmla="*/ 74234 h 74234"/>
                  <a:gd name="connsiteX12" fmla="*/ 14192 w 44196"/>
                  <a:gd name="connsiteY12" fmla="*/ 51565 h 74234"/>
                  <a:gd name="connsiteX13" fmla="*/ 29813 w 44196"/>
                  <a:gd name="connsiteY13" fmla="*/ 57089 h 74234"/>
                  <a:gd name="connsiteX14" fmla="*/ 29813 w 44196"/>
                  <a:gd name="connsiteY14" fmla="*/ 17370 h 74234"/>
                  <a:gd name="connsiteX15" fmla="*/ 14192 w 44196"/>
                  <a:gd name="connsiteY15" fmla="*/ 22895 h 74234"/>
                  <a:gd name="connsiteX16" fmla="*/ 14192 w 44196"/>
                  <a:gd name="connsiteY16" fmla="*/ 51565 h 74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4196" h="74234">
                    <a:moveTo>
                      <a:pt x="37052" y="74234"/>
                    </a:moveTo>
                    <a:cubicBezTo>
                      <a:pt x="36290" y="74234"/>
                      <a:pt x="35433" y="74139"/>
                      <a:pt x="34671" y="73853"/>
                    </a:cubicBezTo>
                    <a:lnTo>
                      <a:pt x="4763" y="63281"/>
                    </a:lnTo>
                    <a:cubicBezTo>
                      <a:pt x="1905" y="62233"/>
                      <a:pt x="0" y="59566"/>
                      <a:pt x="0" y="56518"/>
                    </a:cubicBezTo>
                    <a:lnTo>
                      <a:pt x="0" y="17751"/>
                    </a:lnTo>
                    <a:cubicBezTo>
                      <a:pt x="0" y="14703"/>
                      <a:pt x="1905" y="12036"/>
                      <a:pt x="4763" y="10988"/>
                    </a:cubicBezTo>
                    <a:lnTo>
                      <a:pt x="34671" y="416"/>
                    </a:lnTo>
                    <a:cubicBezTo>
                      <a:pt x="36862" y="-346"/>
                      <a:pt x="39243" y="-61"/>
                      <a:pt x="41148" y="1273"/>
                    </a:cubicBezTo>
                    <a:cubicBezTo>
                      <a:pt x="43053" y="2606"/>
                      <a:pt x="44196" y="4797"/>
                      <a:pt x="44196" y="7083"/>
                    </a:cubicBezTo>
                    <a:lnTo>
                      <a:pt x="44196" y="66900"/>
                    </a:lnTo>
                    <a:cubicBezTo>
                      <a:pt x="44196" y="69186"/>
                      <a:pt x="43053" y="71377"/>
                      <a:pt x="41148" y="72710"/>
                    </a:cubicBezTo>
                    <a:cubicBezTo>
                      <a:pt x="39910" y="73853"/>
                      <a:pt x="38481" y="74234"/>
                      <a:pt x="37052" y="74234"/>
                    </a:cubicBezTo>
                    <a:close/>
                    <a:moveTo>
                      <a:pt x="14192" y="51565"/>
                    </a:moveTo>
                    <a:lnTo>
                      <a:pt x="29813" y="57089"/>
                    </a:lnTo>
                    <a:lnTo>
                      <a:pt x="29813" y="17370"/>
                    </a:lnTo>
                    <a:lnTo>
                      <a:pt x="14192" y="22895"/>
                    </a:lnTo>
                    <a:lnTo>
                      <a:pt x="14192" y="5156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01" name="Grafik 7">
                <a:extLst>
                  <a:ext uri="{FF2B5EF4-FFF2-40B4-BE49-F238E27FC236}">
                    <a16:creationId xmlns:a16="http://schemas.microsoft.com/office/drawing/2014/main" id="{702ADB45-B80B-6C53-9813-51E67954CF09}"/>
                  </a:ext>
                </a:extLst>
              </p:cNvPr>
              <p:cNvSpPr/>
              <p:nvPr/>
            </p:nvSpPr>
            <p:spPr bwMode="gray">
              <a:xfrm>
                <a:off x="6000678" y="3490816"/>
                <a:ext cx="98821" cy="56483"/>
              </a:xfrm>
              <a:custGeom>
                <a:avLst/>
                <a:gdLst>
                  <a:gd name="connsiteX0" fmla="*/ 91702 w 98821"/>
                  <a:gd name="connsiteY0" fmla="*/ 56483 h 56483"/>
                  <a:gd name="connsiteX1" fmla="*/ 86654 w 98821"/>
                  <a:gd name="connsiteY1" fmla="*/ 54388 h 56483"/>
                  <a:gd name="connsiteX2" fmla="*/ 49411 w 98821"/>
                  <a:gd name="connsiteY2" fmla="*/ 17145 h 56483"/>
                  <a:gd name="connsiteX3" fmla="*/ 12168 w 98821"/>
                  <a:gd name="connsiteY3" fmla="*/ 54388 h 56483"/>
                  <a:gd name="connsiteX4" fmla="*/ 2072 w 98821"/>
                  <a:gd name="connsiteY4" fmla="*/ 54388 h 56483"/>
                  <a:gd name="connsiteX5" fmla="*/ 2072 w 98821"/>
                  <a:gd name="connsiteY5" fmla="*/ 44291 h 56483"/>
                  <a:gd name="connsiteX6" fmla="*/ 44363 w 98821"/>
                  <a:gd name="connsiteY6" fmla="*/ 2000 h 56483"/>
                  <a:gd name="connsiteX7" fmla="*/ 54459 w 98821"/>
                  <a:gd name="connsiteY7" fmla="*/ 2000 h 56483"/>
                  <a:gd name="connsiteX8" fmla="*/ 96750 w 98821"/>
                  <a:gd name="connsiteY8" fmla="*/ 44291 h 56483"/>
                  <a:gd name="connsiteX9" fmla="*/ 96750 w 98821"/>
                  <a:gd name="connsiteY9" fmla="*/ 54388 h 56483"/>
                  <a:gd name="connsiteX10" fmla="*/ 91702 w 98821"/>
                  <a:gd name="connsiteY10" fmla="*/ 56483 h 56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98821" h="56483">
                    <a:moveTo>
                      <a:pt x="91702" y="56483"/>
                    </a:moveTo>
                    <a:cubicBezTo>
                      <a:pt x="89892" y="56483"/>
                      <a:pt x="88082" y="55816"/>
                      <a:pt x="86654" y="54388"/>
                    </a:cubicBezTo>
                    <a:lnTo>
                      <a:pt x="49411" y="17145"/>
                    </a:lnTo>
                    <a:lnTo>
                      <a:pt x="12168" y="54388"/>
                    </a:lnTo>
                    <a:cubicBezTo>
                      <a:pt x="9406" y="57150"/>
                      <a:pt x="4834" y="57150"/>
                      <a:pt x="2072" y="54388"/>
                    </a:cubicBezTo>
                    <a:cubicBezTo>
                      <a:pt x="-691" y="51626"/>
                      <a:pt x="-691" y="47054"/>
                      <a:pt x="2072" y="44291"/>
                    </a:cubicBezTo>
                    <a:lnTo>
                      <a:pt x="44363" y="2000"/>
                    </a:lnTo>
                    <a:cubicBezTo>
                      <a:pt x="47030" y="-667"/>
                      <a:pt x="51792" y="-667"/>
                      <a:pt x="54459" y="2000"/>
                    </a:cubicBezTo>
                    <a:lnTo>
                      <a:pt x="96750" y="44291"/>
                    </a:lnTo>
                    <a:cubicBezTo>
                      <a:pt x="99512" y="47054"/>
                      <a:pt x="99512" y="51626"/>
                      <a:pt x="96750" y="54388"/>
                    </a:cubicBezTo>
                    <a:cubicBezTo>
                      <a:pt x="95417" y="55721"/>
                      <a:pt x="93607" y="56483"/>
                      <a:pt x="91702" y="56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777" name="Grafik 7">
              <a:extLst>
                <a:ext uri="{FF2B5EF4-FFF2-40B4-BE49-F238E27FC236}">
                  <a16:creationId xmlns:a16="http://schemas.microsoft.com/office/drawing/2014/main" id="{07B6F81E-208D-5DF3-17FF-BB547C721EE2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78" name="Grafik 7">
              <a:extLst>
                <a:ext uri="{FF2B5EF4-FFF2-40B4-BE49-F238E27FC236}">
                  <a16:creationId xmlns:a16="http://schemas.microsoft.com/office/drawing/2014/main" id="{DA1841A9-5FC3-AE95-2DBB-234F9C4DF95F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79" name="Grafik 7">
              <a:extLst>
                <a:ext uri="{FF2B5EF4-FFF2-40B4-BE49-F238E27FC236}">
                  <a16:creationId xmlns:a16="http://schemas.microsoft.com/office/drawing/2014/main" id="{48045222-C450-8EE3-53A5-3A8FA495EC13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80" name="Grafik 7">
              <a:extLst>
                <a:ext uri="{FF2B5EF4-FFF2-40B4-BE49-F238E27FC236}">
                  <a16:creationId xmlns:a16="http://schemas.microsoft.com/office/drawing/2014/main" id="{9DA76A58-5F68-57C5-4B3B-0506F96C0911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781" name="Grafik 7">
              <a:extLst>
                <a:ext uri="{FF2B5EF4-FFF2-40B4-BE49-F238E27FC236}">
                  <a16:creationId xmlns:a16="http://schemas.microsoft.com/office/drawing/2014/main" id="{AC0AE9D7-2D0A-ACCB-4D16-24BF0AD69196}"/>
                </a:ext>
              </a:extLst>
            </p:cNvPr>
            <p:cNvGrpSpPr/>
            <p:nvPr/>
          </p:nvGrpSpPr>
          <p:grpSpPr bwMode="gray">
            <a:xfrm>
              <a:off x="6167627" y="3307865"/>
              <a:ext cx="79057" cy="302490"/>
              <a:chOff x="6167627" y="3307865"/>
              <a:chExt cx="79057" cy="302490"/>
            </a:xfrm>
            <a:grpFill/>
          </p:grpSpPr>
          <p:grpSp>
            <p:nvGrpSpPr>
              <p:cNvPr id="786" name="Grafik 7">
                <a:extLst>
                  <a:ext uri="{FF2B5EF4-FFF2-40B4-BE49-F238E27FC236}">
                    <a16:creationId xmlns:a16="http://schemas.microsoft.com/office/drawing/2014/main" id="{712AEC3C-5F46-D465-5A58-F7A372D7B1DF}"/>
                  </a:ext>
                </a:extLst>
              </p:cNvPr>
              <p:cNvGrpSpPr/>
              <p:nvPr/>
            </p:nvGrpSpPr>
            <p:grpSpPr bwMode="gray">
              <a:xfrm>
                <a:off x="6167627" y="3424451"/>
                <a:ext cx="79057" cy="69318"/>
                <a:chOff x="6167627" y="3424451"/>
                <a:chExt cx="79057" cy="69318"/>
              </a:xfrm>
              <a:grpFill/>
            </p:grpSpPr>
            <p:sp>
              <p:nvSpPr>
                <p:cNvPr id="795" name="Grafik 7">
                  <a:extLst>
                    <a:ext uri="{FF2B5EF4-FFF2-40B4-BE49-F238E27FC236}">
                      <a16:creationId xmlns:a16="http://schemas.microsoft.com/office/drawing/2014/main" id="{CA0681B3-75B9-31BF-E954-2308E3BC9196}"/>
                    </a:ext>
                  </a:extLst>
                </p:cNvPr>
                <p:cNvSpPr/>
                <p:nvPr/>
              </p:nvSpPr>
              <p:spPr bwMode="gray">
                <a:xfrm>
                  <a:off x="6167627" y="3451954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96" name="Grafik 7">
                  <a:extLst>
                    <a:ext uri="{FF2B5EF4-FFF2-40B4-BE49-F238E27FC236}">
                      <a16:creationId xmlns:a16="http://schemas.microsoft.com/office/drawing/2014/main" id="{E8B0DB14-38AF-AA1A-9733-A91563288190}"/>
                    </a:ext>
                  </a:extLst>
                </p:cNvPr>
                <p:cNvSpPr/>
                <p:nvPr/>
              </p:nvSpPr>
              <p:spPr bwMode="gray">
                <a:xfrm>
                  <a:off x="6204894" y="3424451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97" name="Grafik 7">
                  <a:extLst>
                    <a:ext uri="{FF2B5EF4-FFF2-40B4-BE49-F238E27FC236}">
                      <a16:creationId xmlns:a16="http://schemas.microsoft.com/office/drawing/2014/main" id="{CB5C6B53-DE5E-EDA4-1454-5B7B96C910AD}"/>
                    </a:ext>
                  </a:extLst>
                </p:cNvPr>
                <p:cNvSpPr/>
                <p:nvPr/>
              </p:nvSpPr>
              <p:spPr bwMode="gray">
                <a:xfrm>
                  <a:off x="6204894" y="3451978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787" name="Grafik 7">
                <a:extLst>
                  <a:ext uri="{FF2B5EF4-FFF2-40B4-BE49-F238E27FC236}">
                    <a16:creationId xmlns:a16="http://schemas.microsoft.com/office/drawing/2014/main" id="{AFC7815D-4244-18E3-17E2-13F33FCFEEBE}"/>
                  </a:ext>
                </a:extLst>
              </p:cNvPr>
              <p:cNvGrpSpPr/>
              <p:nvPr/>
            </p:nvGrpSpPr>
            <p:grpSpPr bwMode="gray">
              <a:xfrm>
                <a:off x="6167627" y="3307865"/>
                <a:ext cx="79057" cy="69318"/>
                <a:chOff x="6167627" y="3307865"/>
                <a:chExt cx="79057" cy="69318"/>
              </a:xfrm>
              <a:grpFill/>
            </p:grpSpPr>
            <p:sp>
              <p:nvSpPr>
                <p:cNvPr id="792" name="Grafik 7">
                  <a:extLst>
                    <a:ext uri="{FF2B5EF4-FFF2-40B4-BE49-F238E27FC236}">
                      <a16:creationId xmlns:a16="http://schemas.microsoft.com/office/drawing/2014/main" id="{93BA9475-7D0F-46CB-CF0E-479283B46F97}"/>
                    </a:ext>
                  </a:extLst>
                </p:cNvPr>
                <p:cNvSpPr/>
                <p:nvPr/>
              </p:nvSpPr>
              <p:spPr bwMode="gray">
                <a:xfrm>
                  <a:off x="6167627" y="333536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93" name="Grafik 7">
                  <a:extLst>
                    <a:ext uri="{FF2B5EF4-FFF2-40B4-BE49-F238E27FC236}">
                      <a16:creationId xmlns:a16="http://schemas.microsoft.com/office/drawing/2014/main" id="{85B0B0B0-9CFA-6EA6-EA45-9E7DA5FBD100}"/>
                    </a:ext>
                  </a:extLst>
                </p:cNvPr>
                <p:cNvSpPr/>
                <p:nvPr/>
              </p:nvSpPr>
              <p:spPr bwMode="gray">
                <a:xfrm>
                  <a:off x="6204894" y="3307865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94" name="Grafik 7">
                  <a:extLst>
                    <a:ext uri="{FF2B5EF4-FFF2-40B4-BE49-F238E27FC236}">
                      <a16:creationId xmlns:a16="http://schemas.microsoft.com/office/drawing/2014/main" id="{0BA5283C-0C15-3800-F51C-79BF59A2EC04}"/>
                    </a:ext>
                  </a:extLst>
                </p:cNvPr>
                <p:cNvSpPr/>
                <p:nvPr/>
              </p:nvSpPr>
              <p:spPr bwMode="gray">
                <a:xfrm>
                  <a:off x="6204894" y="3335392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029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788" name="Grafik 7">
                <a:extLst>
                  <a:ext uri="{FF2B5EF4-FFF2-40B4-BE49-F238E27FC236}">
                    <a16:creationId xmlns:a16="http://schemas.microsoft.com/office/drawing/2014/main" id="{0CEEF9E3-CCFD-FE6B-7EE6-3E60774B90AF}"/>
                  </a:ext>
                </a:extLst>
              </p:cNvPr>
              <p:cNvGrpSpPr/>
              <p:nvPr/>
            </p:nvGrpSpPr>
            <p:grpSpPr bwMode="gray">
              <a:xfrm>
                <a:off x="6167627" y="3541132"/>
                <a:ext cx="79057" cy="69222"/>
                <a:chOff x="6167627" y="3541132"/>
                <a:chExt cx="79057" cy="69222"/>
              </a:xfrm>
              <a:grpFill/>
            </p:grpSpPr>
            <p:sp>
              <p:nvSpPr>
                <p:cNvPr id="789" name="Grafik 7">
                  <a:extLst>
                    <a:ext uri="{FF2B5EF4-FFF2-40B4-BE49-F238E27FC236}">
                      <a16:creationId xmlns:a16="http://schemas.microsoft.com/office/drawing/2014/main" id="{35EAD4FC-705F-DAC3-DCE8-174D23474EB5}"/>
                    </a:ext>
                  </a:extLst>
                </p:cNvPr>
                <p:cNvSpPr/>
                <p:nvPr/>
              </p:nvSpPr>
              <p:spPr bwMode="gray">
                <a:xfrm>
                  <a:off x="6167627" y="3568635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90" name="Grafik 7">
                  <a:extLst>
                    <a:ext uri="{FF2B5EF4-FFF2-40B4-BE49-F238E27FC236}">
                      <a16:creationId xmlns:a16="http://schemas.microsoft.com/office/drawing/2014/main" id="{822A29B3-023E-7EBA-136C-DDD3DCD24542}"/>
                    </a:ext>
                  </a:extLst>
                </p:cNvPr>
                <p:cNvSpPr/>
                <p:nvPr/>
              </p:nvSpPr>
              <p:spPr bwMode="gray">
                <a:xfrm>
                  <a:off x="6204894" y="3541132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029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91" name="Grafik 7">
                  <a:extLst>
                    <a:ext uri="{FF2B5EF4-FFF2-40B4-BE49-F238E27FC236}">
                      <a16:creationId xmlns:a16="http://schemas.microsoft.com/office/drawing/2014/main" id="{1FDA2E27-655F-C1D7-3D0A-C2247F7E7FE8}"/>
                    </a:ext>
                  </a:extLst>
                </p:cNvPr>
                <p:cNvSpPr/>
                <p:nvPr/>
              </p:nvSpPr>
              <p:spPr bwMode="gray">
                <a:xfrm>
                  <a:off x="6204894" y="3568564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782" name="Grafik 7">
              <a:extLst>
                <a:ext uri="{FF2B5EF4-FFF2-40B4-BE49-F238E27FC236}">
                  <a16:creationId xmlns:a16="http://schemas.microsoft.com/office/drawing/2014/main" id="{F7B60524-D3E8-C797-45FB-2D1BB55B7B12}"/>
                </a:ext>
              </a:extLst>
            </p:cNvPr>
            <p:cNvGrpSpPr/>
            <p:nvPr/>
          </p:nvGrpSpPr>
          <p:grpSpPr bwMode="gray">
            <a:xfrm>
              <a:off x="5875972" y="3424451"/>
              <a:ext cx="79128" cy="69318"/>
              <a:chOff x="5875972" y="3424451"/>
              <a:chExt cx="79128" cy="69318"/>
            </a:xfrm>
            <a:grpFill/>
          </p:grpSpPr>
          <p:sp>
            <p:nvSpPr>
              <p:cNvPr id="783" name="Grafik 7">
                <a:extLst>
                  <a:ext uri="{FF2B5EF4-FFF2-40B4-BE49-F238E27FC236}">
                    <a16:creationId xmlns:a16="http://schemas.microsoft.com/office/drawing/2014/main" id="{5C2EC948-9200-C2F1-A7F1-5A434566267B}"/>
                  </a:ext>
                </a:extLst>
              </p:cNvPr>
              <p:cNvSpPr/>
              <p:nvPr/>
            </p:nvSpPr>
            <p:spPr bwMode="gray">
              <a:xfrm>
                <a:off x="5875972" y="3451954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8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8" y="3239"/>
                      <a:pt x="79058" y="7144"/>
                    </a:cubicBezTo>
                    <a:cubicBezTo>
                      <a:pt x="79058" y="11049"/>
                      <a:pt x="75914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84" name="Grafik 7">
                <a:extLst>
                  <a:ext uri="{FF2B5EF4-FFF2-40B4-BE49-F238E27FC236}">
                    <a16:creationId xmlns:a16="http://schemas.microsoft.com/office/drawing/2014/main" id="{212EC64B-5B23-7272-7F52-63B3484C9D68}"/>
                  </a:ext>
                </a:extLst>
              </p:cNvPr>
              <p:cNvSpPr/>
              <p:nvPr/>
            </p:nvSpPr>
            <p:spPr bwMode="gray">
              <a:xfrm>
                <a:off x="5913238" y="3424451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362" y="41124"/>
                      <a:pt x="36552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85" name="Grafik 7">
                <a:extLst>
                  <a:ext uri="{FF2B5EF4-FFF2-40B4-BE49-F238E27FC236}">
                    <a16:creationId xmlns:a16="http://schemas.microsoft.com/office/drawing/2014/main" id="{51B47EBB-606D-C934-F193-1B31532FC16D}"/>
                  </a:ext>
                </a:extLst>
              </p:cNvPr>
              <p:cNvSpPr/>
              <p:nvPr/>
            </p:nvSpPr>
            <p:spPr bwMode="gray">
              <a:xfrm>
                <a:off x="5913333" y="3451978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739" y="41124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802" name="Grafik 9">
            <a:extLst>
              <a:ext uri="{FF2B5EF4-FFF2-40B4-BE49-F238E27FC236}">
                <a16:creationId xmlns:a16="http://schemas.microsoft.com/office/drawing/2014/main" id="{8B429BB6-BF03-6253-1C8E-56B406B3B612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942167" y="186950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803" name="Grafik 9">
              <a:extLst>
                <a:ext uri="{FF2B5EF4-FFF2-40B4-BE49-F238E27FC236}">
                  <a16:creationId xmlns:a16="http://schemas.microsoft.com/office/drawing/2014/main" id="{B9C20477-9E7B-6DD2-2337-21A65DF33D96}"/>
                </a:ext>
              </a:extLst>
            </p:cNvPr>
            <p:cNvGrpSpPr/>
            <p:nvPr/>
          </p:nvGrpSpPr>
          <p:grpSpPr bwMode="gray">
            <a:xfrm>
              <a:off x="5916548" y="3387184"/>
              <a:ext cx="176212" cy="176307"/>
              <a:chOff x="5916548" y="3387184"/>
              <a:chExt cx="176212" cy="176307"/>
            </a:xfrm>
            <a:grpFill/>
          </p:grpSpPr>
          <p:sp>
            <p:nvSpPr>
              <p:cNvPr id="835" name="Grafik 9">
                <a:extLst>
                  <a:ext uri="{FF2B5EF4-FFF2-40B4-BE49-F238E27FC236}">
                    <a16:creationId xmlns:a16="http://schemas.microsoft.com/office/drawing/2014/main" id="{70B9CDE1-9BC9-FB8D-0B0F-6B1BA9150430}"/>
                  </a:ext>
                </a:extLst>
              </p:cNvPr>
              <p:cNvSpPr/>
              <p:nvPr/>
            </p:nvSpPr>
            <p:spPr bwMode="gray">
              <a:xfrm>
                <a:off x="5916548" y="3387184"/>
                <a:ext cx="176212" cy="95250"/>
              </a:xfrm>
              <a:custGeom>
                <a:avLst/>
                <a:gdLst>
                  <a:gd name="connsiteX0" fmla="*/ 88106 w 176212"/>
                  <a:gd name="connsiteY0" fmla="*/ 95250 h 95250"/>
                  <a:gd name="connsiteX1" fmla="*/ 0 w 176212"/>
                  <a:gd name="connsiteY1" fmla="*/ 47625 h 95250"/>
                  <a:gd name="connsiteX2" fmla="*/ 88106 w 176212"/>
                  <a:gd name="connsiteY2" fmla="*/ 0 h 95250"/>
                  <a:gd name="connsiteX3" fmla="*/ 176213 w 176212"/>
                  <a:gd name="connsiteY3" fmla="*/ 47625 h 95250"/>
                  <a:gd name="connsiteX4" fmla="*/ 88106 w 176212"/>
                  <a:gd name="connsiteY4" fmla="*/ 95250 h 95250"/>
                  <a:gd name="connsiteX5" fmla="*/ 88106 w 176212"/>
                  <a:gd name="connsiteY5" fmla="*/ 14288 h 95250"/>
                  <a:gd name="connsiteX6" fmla="*/ 14288 w 176212"/>
                  <a:gd name="connsiteY6" fmla="*/ 47625 h 95250"/>
                  <a:gd name="connsiteX7" fmla="*/ 88106 w 176212"/>
                  <a:gd name="connsiteY7" fmla="*/ 80963 h 95250"/>
                  <a:gd name="connsiteX8" fmla="*/ 161925 w 176212"/>
                  <a:gd name="connsiteY8" fmla="*/ 47625 h 95250"/>
                  <a:gd name="connsiteX9" fmla="*/ 88106 w 176212"/>
                  <a:gd name="connsiteY9" fmla="*/ 14288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6212" h="95250">
                    <a:moveTo>
                      <a:pt x="88106" y="95250"/>
                    </a:moveTo>
                    <a:cubicBezTo>
                      <a:pt x="38672" y="95250"/>
                      <a:pt x="0" y="74295"/>
                      <a:pt x="0" y="47625"/>
                    </a:cubicBezTo>
                    <a:cubicBezTo>
                      <a:pt x="0" y="20955"/>
                      <a:pt x="38672" y="0"/>
                      <a:pt x="88106" y="0"/>
                    </a:cubicBezTo>
                    <a:cubicBezTo>
                      <a:pt x="137541" y="0"/>
                      <a:pt x="176213" y="20955"/>
                      <a:pt x="176213" y="47625"/>
                    </a:cubicBezTo>
                    <a:cubicBezTo>
                      <a:pt x="176213" y="74295"/>
                      <a:pt x="137541" y="95250"/>
                      <a:pt x="88106" y="95250"/>
                    </a:cubicBezTo>
                    <a:close/>
                    <a:moveTo>
                      <a:pt x="88106" y="14288"/>
                    </a:moveTo>
                    <a:cubicBezTo>
                      <a:pt x="44577" y="14288"/>
                      <a:pt x="14288" y="31909"/>
                      <a:pt x="14288" y="47625"/>
                    </a:cubicBezTo>
                    <a:cubicBezTo>
                      <a:pt x="14288" y="63341"/>
                      <a:pt x="44577" y="80963"/>
                      <a:pt x="88106" y="80963"/>
                    </a:cubicBezTo>
                    <a:cubicBezTo>
                      <a:pt x="131636" y="80963"/>
                      <a:pt x="161925" y="63341"/>
                      <a:pt x="161925" y="47625"/>
                    </a:cubicBezTo>
                    <a:cubicBezTo>
                      <a:pt x="161925" y="31909"/>
                      <a:pt x="131636" y="14288"/>
                      <a:pt x="8810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36" name="Grafik 9">
                <a:extLst>
                  <a:ext uri="{FF2B5EF4-FFF2-40B4-BE49-F238E27FC236}">
                    <a16:creationId xmlns:a16="http://schemas.microsoft.com/office/drawing/2014/main" id="{349CAC85-F165-78F3-1D23-CD609B9549B8}"/>
                  </a:ext>
                </a:extLst>
              </p:cNvPr>
              <p:cNvSpPr/>
              <p:nvPr/>
            </p:nvSpPr>
            <p:spPr bwMode="gray">
              <a:xfrm>
                <a:off x="5916548" y="3427761"/>
                <a:ext cx="176212" cy="135731"/>
              </a:xfrm>
              <a:custGeom>
                <a:avLst/>
                <a:gdLst>
                  <a:gd name="connsiteX0" fmla="*/ 88106 w 176212"/>
                  <a:gd name="connsiteY0" fmla="*/ 135731 h 135731"/>
                  <a:gd name="connsiteX1" fmla="*/ 0 w 176212"/>
                  <a:gd name="connsiteY1" fmla="*/ 88106 h 135731"/>
                  <a:gd name="connsiteX2" fmla="*/ 0 w 176212"/>
                  <a:gd name="connsiteY2" fmla="*/ 7144 h 135731"/>
                  <a:gd name="connsiteX3" fmla="*/ 7144 w 176212"/>
                  <a:gd name="connsiteY3" fmla="*/ 0 h 135731"/>
                  <a:gd name="connsiteX4" fmla="*/ 14288 w 176212"/>
                  <a:gd name="connsiteY4" fmla="*/ 7144 h 135731"/>
                  <a:gd name="connsiteX5" fmla="*/ 14288 w 176212"/>
                  <a:gd name="connsiteY5" fmla="*/ 88106 h 135731"/>
                  <a:gd name="connsiteX6" fmla="*/ 88106 w 176212"/>
                  <a:gd name="connsiteY6" fmla="*/ 121444 h 135731"/>
                  <a:gd name="connsiteX7" fmla="*/ 161925 w 176212"/>
                  <a:gd name="connsiteY7" fmla="*/ 88106 h 135731"/>
                  <a:gd name="connsiteX8" fmla="*/ 161925 w 176212"/>
                  <a:gd name="connsiteY8" fmla="*/ 7144 h 135731"/>
                  <a:gd name="connsiteX9" fmla="*/ 169069 w 176212"/>
                  <a:gd name="connsiteY9" fmla="*/ 0 h 135731"/>
                  <a:gd name="connsiteX10" fmla="*/ 176213 w 176212"/>
                  <a:gd name="connsiteY10" fmla="*/ 7144 h 135731"/>
                  <a:gd name="connsiteX11" fmla="*/ 176213 w 176212"/>
                  <a:gd name="connsiteY11" fmla="*/ 88106 h 135731"/>
                  <a:gd name="connsiteX12" fmla="*/ 88106 w 176212"/>
                  <a:gd name="connsiteY12" fmla="*/ 135731 h 135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6212" h="135731">
                    <a:moveTo>
                      <a:pt x="88106" y="135731"/>
                    </a:moveTo>
                    <a:cubicBezTo>
                      <a:pt x="38672" y="135731"/>
                      <a:pt x="0" y="114776"/>
                      <a:pt x="0" y="88106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cubicBezTo>
                      <a:pt x="11049" y="0"/>
                      <a:pt x="14288" y="3238"/>
                      <a:pt x="14288" y="7144"/>
                    </a:cubicBezTo>
                    <a:lnTo>
                      <a:pt x="14288" y="88106"/>
                    </a:lnTo>
                    <a:cubicBezTo>
                      <a:pt x="14288" y="103918"/>
                      <a:pt x="44577" y="121444"/>
                      <a:pt x="88106" y="121444"/>
                    </a:cubicBezTo>
                    <a:cubicBezTo>
                      <a:pt x="131636" y="121444"/>
                      <a:pt x="161925" y="103823"/>
                      <a:pt x="161925" y="88106"/>
                    </a:cubicBezTo>
                    <a:lnTo>
                      <a:pt x="161925" y="7144"/>
                    </a:lnTo>
                    <a:cubicBezTo>
                      <a:pt x="161925" y="3238"/>
                      <a:pt x="165164" y="0"/>
                      <a:pt x="169069" y="0"/>
                    </a:cubicBezTo>
                    <a:cubicBezTo>
                      <a:pt x="172974" y="0"/>
                      <a:pt x="176213" y="3238"/>
                      <a:pt x="176213" y="7144"/>
                    </a:cubicBezTo>
                    <a:lnTo>
                      <a:pt x="176213" y="88106"/>
                    </a:lnTo>
                    <a:cubicBezTo>
                      <a:pt x="176213" y="114776"/>
                      <a:pt x="137541" y="135731"/>
                      <a:pt x="88106" y="13573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804" name="Grafik 9">
              <a:extLst>
                <a:ext uri="{FF2B5EF4-FFF2-40B4-BE49-F238E27FC236}">
                  <a16:creationId xmlns:a16="http://schemas.microsoft.com/office/drawing/2014/main" id="{6BF192D9-9AF1-D422-5F47-6FFA9A84C6AC}"/>
                </a:ext>
              </a:extLst>
            </p:cNvPr>
            <p:cNvGrpSpPr/>
            <p:nvPr/>
          </p:nvGrpSpPr>
          <p:grpSpPr bwMode="gray">
            <a:xfrm>
              <a:off x="6167627" y="3307865"/>
              <a:ext cx="79057" cy="302490"/>
              <a:chOff x="6167627" y="3307865"/>
              <a:chExt cx="79057" cy="302490"/>
            </a:xfrm>
            <a:grpFill/>
          </p:grpSpPr>
          <p:grpSp>
            <p:nvGrpSpPr>
              <p:cNvPr id="823" name="Grafik 9">
                <a:extLst>
                  <a:ext uri="{FF2B5EF4-FFF2-40B4-BE49-F238E27FC236}">
                    <a16:creationId xmlns:a16="http://schemas.microsoft.com/office/drawing/2014/main" id="{CEF9B81D-3FE2-3609-C81B-2746D69F70A5}"/>
                  </a:ext>
                </a:extLst>
              </p:cNvPr>
              <p:cNvGrpSpPr/>
              <p:nvPr/>
            </p:nvGrpSpPr>
            <p:grpSpPr bwMode="gray">
              <a:xfrm>
                <a:off x="6167627" y="3424451"/>
                <a:ext cx="79057" cy="69318"/>
                <a:chOff x="6167627" y="3424451"/>
                <a:chExt cx="79057" cy="69318"/>
              </a:xfrm>
              <a:grpFill/>
            </p:grpSpPr>
            <p:sp>
              <p:nvSpPr>
                <p:cNvPr id="832" name="Grafik 9">
                  <a:extLst>
                    <a:ext uri="{FF2B5EF4-FFF2-40B4-BE49-F238E27FC236}">
                      <a16:creationId xmlns:a16="http://schemas.microsoft.com/office/drawing/2014/main" id="{BBC8858A-E6AF-7E75-B521-3C07050C5E69}"/>
                    </a:ext>
                  </a:extLst>
                </p:cNvPr>
                <p:cNvSpPr/>
                <p:nvPr/>
              </p:nvSpPr>
              <p:spPr bwMode="gray">
                <a:xfrm>
                  <a:off x="6167627" y="3451954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33" name="Grafik 9">
                  <a:extLst>
                    <a:ext uri="{FF2B5EF4-FFF2-40B4-BE49-F238E27FC236}">
                      <a16:creationId xmlns:a16="http://schemas.microsoft.com/office/drawing/2014/main" id="{B619314F-645A-B5A5-8752-F965E95795F0}"/>
                    </a:ext>
                  </a:extLst>
                </p:cNvPr>
                <p:cNvSpPr/>
                <p:nvPr/>
              </p:nvSpPr>
              <p:spPr bwMode="gray">
                <a:xfrm>
                  <a:off x="6204894" y="3424451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34" name="Grafik 9">
                  <a:extLst>
                    <a:ext uri="{FF2B5EF4-FFF2-40B4-BE49-F238E27FC236}">
                      <a16:creationId xmlns:a16="http://schemas.microsoft.com/office/drawing/2014/main" id="{90D9DD6F-F160-DB68-3999-642F9503C8E6}"/>
                    </a:ext>
                  </a:extLst>
                </p:cNvPr>
                <p:cNvSpPr/>
                <p:nvPr/>
              </p:nvSpPr>
              <p:spPr bwMode="gray">
                <a:xfrm>
                  <a:off x="6204894" y="3451978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824" name="Grafik 9">
                <a:extLst>
                  <a:ext uri="{FF2B5EF4-FFF2-40B4-BE49-F238E27FC236}">
                    <a16:creationId xmlns:a16="http://schemas.microsoft.com/office/drawing/2014/main" id="{101F09BC-8697-53E9-B5DE-8AFC2439B561}"/>
                  </a:ext>
                </a:extLst>
              </p:cNvPr>
              <p:cNvGrpSpPr/>
              <p:nvPr/>
            </p:nvGrpSpPr>
            <p:grpSpPr bwMode="gray">
              <a:xfrm>
                <a:off x="6167627" y="3307865"/>
                <a:ext cx="79057" cy="69318"/>
                <a:chOff x="6167627" y="3307865"/>
                <a:chExt cx="79057" cy="69318"/>
              </a:xfrm>
              <a:grpFill/>
            </p:grpSpPr>
            <p:sp>
              <p:nvSpPr>
                <p:cNvPr id="829" name="Grafik 9">
                  <a:extLst>
                    <a:ext uri="{FF2B5EF4-FFF2-40B4-BE49-F238E27FC236}">
                      <a16:creationId xmlns:a16="http://schemas.microsoft.com/office/drawing/2014/main" id="{EB7C7BDA-03F4-AAAC-ABF9-9BBF9D6F7C82}"/>
                    </a:ext>
                  </a:extLst>
                </p:cNvPr>
                <p:cNvSpPr/>
                <p:nvPr/>
              </p:nvSpPr>
              <p:spPr bwMode="gray">
                <a:xfrm>
                  <a:off x="6167627" y="333536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30" name="Grafik 9">
                  <a:extLst>
                    <a:ext uri="{FF2B5EF4-FFF2-40B4-BE49-F238E27FC236}">
                      <a16:creationId xmlns:a16="http://schemas.microsoft.com/office/drawing/2014/main" id="{585A600F-3D9C-9D5C-B151-081C68C2BD12}"/>
                    </a:ext>
                  </a:extLst>
                </p:cNvPr>
                <p:cNvSpPr/>
                <p:nvPr/>
              </p:nvSpPr>
              <p:spPr bwMode="gray">
                <a:xfrm>
                  <a:off x="6204894" y="3307865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31" name="Grafik 9">
                  <a:extLst>
                    <a:ext uri="{FF2B5EF4-FFF2-40B4-BE49-F238E27FC236}">
                      <a16:creationId xmlns:a16="http://schemas.microsoft.com/office/drawing/2014/main" id="{30C608C3-F2FA-58FC-631C-55F34BF52D36}"/>
                    </a:ext>
                  </a:extLst>
                </p:cNvPr>
                <p:cNvSpPr/>
                <p:nvPr/>
              </p:nvSpPr>
              <p:spPr bwMode="gray">
                <a:xfrm>
                  <a:off x="6204894" y="3335392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029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825" name="Grafik 9">
                <a:extLst>
                  <a:ext uri="{FF2B5EF4-FFF2-40B4-BE49-F238E27FC236}">
                    <a16:creationId xmlns:a16="http://schemas.microsoft.com/office/drawing/2014/main" id="{27E7192C-46A0-124A-3566-98C64885AA2F}"/>
                  </a:ext>
                </a:extLst>
              </p:cNvPr>
              <p:cNvGrpSpPr/>
              <p:nvPr/>
            </p:nvGrpSpPr>
            <p:grpSpPr bwMode="gray">
              <a:xfrm>
                <a:off x="6167627" y="3541132"/>
                <a:ext cx="79057" cy="69222"/>
                <a:chOff x="6167627" y="3541132"/>
                <a:chExt cx="79057" cy="69222"/>
              </a:xfrm>
              <a:grpFill/>
            </p:grpSpPr>
            <p:sp>
              <p:nvSpPr>
                <p:cNvPr id="826" name="Grafik 9">
                  <a:extLst>
                    <a:ext uri="{FF2B5EF4-FFF2-40B4-BE49-F238E27FC236}">
                      <a16:creationId xmlns:a16="http://schemas.microsoft.com/office/drawing/2014/main" id="{DD6E9BC8-0CFA-FD06-FBBC-7AA1A718FAF7}"/>
                    </a:ext>
                  </a:extLst>
                </p:cNvPr>
                <p:cNvSpPr/>
                <p:nvPr/>
              </p:nvSpPr>
              <p:spPr bwMode="gray">
                <a:xfrm>
                  <a:off x="6167627" y="3568635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27" name="Grafik 9">
                  <a:extLst>
                    <a:ext uri="{FF2B5EF4-FFF2-40B4-BE49-F238E27FC236}">
                      <a16:creationId xmlns:a16="http://schemas.microsoft.com/office/drawing/2014/main" id="{2EEC3443-0BC4-025F-1946-5A743C62CC96}"/>
                    </a:ext>
                  </a:extLst>
                </p:cNvPr>
                <p:cNvSpPr/>
                <p:nvPr/>
              </p:nvSpPr>
              <p:spPr bwMode="gray">
                <a:xfrm>
                  <a:off x="6204894" y="3541132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029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28" name="Grafik 9">
                  <a:extLst>
                    <a:ext uri="{FF2B5EF4-FFF2-40B4-BE49-F238E27FC236}">
                      <a16:creationId xmlns:a16="http://schemas.microsoft.com/office/drawing/2014/main" id="{0C3D34BC-45B2-1C66-12AF-E5259C12C71F}"/>
                    </a:ext>
                  </a:extLst>
                </p:cNvPr>
                <p:cNvSpPr/>
                <p:nvPr/>
              </p:nvSpPr>
              <p:spPr bwMode="gray">
                <a:xfrm>
                  <a:off x="6204894" y="3568564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805" name="Grafik 9">
              <a:extLst>
                <a:ext uri="{FF2B5EF4-FFF2-40B4-BE49-F238E27FC236}">
                  <a16:creationId xmlns:a16="http://schemas.microsoft.com/office/drawing/2014/main" id="{38B571CC-2790-0BA2-B3DD-7F2259D95861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06" name="Grafik 9">
              <a:extLst>
                <a:ext uri="{FF2B5EF4-FFF2-40B4-BE49-F238E27FC236}">
                  <a16:creationId xmlns:a16="http://schemas.microsoft.com/office/drawing/2014/main" id="{80561A8D-154E-E460-5E82-FBA7E188F46C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07" name="Grafik 9">
              <a:extLst>
                <a:ext uri="{FF2B5EF4-FFF2-40B4-BE49-F238E27FC236}">
                  <a16:creationId xmlns:a16="http://schemas.microsoft.com/office/drawing/2014/main" id="{9BEE6E80-F5E1-7F42-B620-B83E8240AD75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08" name="Grafik 9">
              <a:extLst>
                <a:ext uri="{FF2B5EF4-FFF2-40B4-BE49-F238E27FC236}">
                  <a16:creationId xmlns:a16="http://schemas.microsoft.com/office/drawing/2014/main" id="{A1514D12-D816-95A9-ADD8-BA46E075801C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09" name="Grafik 9">
              <a:extLst>
                <a:ext uri="{FF2B5EF4-FFF2-40B4-BE49-F238E27FC236}">
                  <a16:creationId xmlns:a16="http://schemas.microsoft.com/office/drawing/2014/main" id="{33ED7A20-3B0B-DE14-20BA-ADD5D42AD883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810" name="Grafik 9">
              <a:extLst>
                <a:ext uri="{FF2B5EF4-FFF2-40B4-BE49-F238E27FC236}">
                  <a16:creationId xmlns:a16="http://schemas.microsoft.com/office/drawing/2014/main" id="{1CD8AEC1-CED5-79CB-F4DB-B111121AD5E4}"/>
                </a:ext>
              </a:extLst>
            </p:cNvPr>
            <p:cNvGrpSpPr/>
            <p:nvPr/>
          </p:nvGrpSpPr>
          <p:grpSpPr bwMode="gray">
            <a:xfrm>
              <a:off x="6167627" y="3307865"/>
              <a:ext cx="79057" cy="302490"/>
              <a:chOff x="6167627" y="3307865"/>
              <a:chExt cx="79057" cy="302490"/>
            </a:xfrm>
            <a:grpFill/>
          </p:grpSpPr>
          <p:grpSp>
            <p:nvGrpSpPr>
              <p:cNvPr id="811" name="Grafik 9">
                <a:extLst>
                  <a:ext uri="{FF2B5EF4-FFF2-40B4-BE49-F238E27FC236}">
                    <a16:creationId xmlns:a16="http://schemas.microsoft.com/office/drawing/2014/main" id="{7107EF4C-2A62-FC56-8F1B-6E378BD0EF18}"/>
                  </a:ext>
                </a:extLst>
              </p:cNvPr>
              <p:cNvGrpSpPr/>
              <p:nvPr/>
            </p:nvGrpSpPr>
            <p:grpSpPr bwMode="gray">
              <a:xfrm>
                <a:off x="6167627" y="3424451"/>
                <a:ext cx="79057" cy="69318"/>
                <a:chOff x="6167627" y="3424451"/>
                <a:chExt cx="79057" cy="69318"/>
              </a:xfrm>
              <a:grpFill/>
            </p:grpSpPr>
            <p:sp>
              <p:nvSpPr>
                <p:cNvPr id="820" name="Grafik 9">
                  <a:extLst>
                    <a:ext uri="{FF2B5EF4-FFF2-40B4-BE49-F238E27FC236}">
                      <a16:creationId xmlns:a16="http://schemas.microsoft.com/office/drawing/2014/main" id="{D81F00E8-8418-2F4D-65F7-9E5E5142ABC3}"/>
                    </a:ext>
                  </a:extLst>
                </p:cNvPr>
                <p:cNvSpPr/>
                <p:nvPr/>
              </p:nvSpPr>
              <p:spPr bwMode="gray">
                <a:xfrm>
                  <a:off x="6167627" y="3451954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21" name="Grafik 9">
                  <a:extLst>
                    <a:ext uri="{FF2B5EF4-FFF2-40B4-BE49-F238E27FC236}">
                      <a16:creationId xmlns:a16="http://schemas.microsoft.com/office/drawing/2014/main" id="{63392F5C-94EF-5FED-709E-32653F628AFA}"/>
                    </a:ext>
                  </a:extLst>
                </p:cNvPr>
                <p:cNvSpPr/>
                <p:nvPr/>
              </p:nvSpPr>
              <p:spPr bwMode="gray">
                <a:xfrm>
                  <a:off x="6204894" y="3424451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22" name="Grafik 9">
                  <a:extLst>
                    <a:ext uri="{FF2B5EF4-FFF2-40B4-BE49-F238E27FC236}">
                      <a16:creationId xmlns:a16="http://schemas.microsoft.com/office/drawing/2014/main" id="{2D73A7EF-8307-DBAE-222A-40827827125F}"/>
                    </a:ext>
                  </a:extLst>
                </p:cNvPr>
                <p:cNvSpPr/>
                <p:nvPr/>
              </p:nvSpPr>
              <p:spPr bwMode="gray">
                <a:xfrm>
                  <a:off x="6204894" y="3451978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812" name="Grafik 9">
                <a:extLst>
                  <a:ext uri="{FF2B5EF4-FFF2-40B4-BE49-F238E27FC236}">
                    <a16:creationId xmlns:a16="http://schemas.microsoft.com/office/drawing/2014/main" id="{2A48FB92-2508-C7A7-ED29-DCD35851DD37}"/>
                  </a:ext>
                </a:extLst>
              </p:cNvPr>
              <p:cNvGrpSpPr/>
              <p:nvPr/>
            </p:nvGrpSpPr>
            <p:grpSpPr bwMode="gray">
              <a:xfrm>
                <a:off x="6167627" y="3307865"/>
                <a:ext cx="79057" cy="69318"/>
                <a:chOff x="6167627" y="3307865"/>
                <a:chExt cx="79057" cy="69318"/>
              </a:xfrm>
              <a:grpFill/>
            </p:grpSpPr>
            <p:sp>
              <p:nvSpPr>
                <p:cNvPr id="817" name="Grafik 9">
                  <a:extLst>
                    <a:ext uri="{FF2B5EF4-FFF2-40B4-BE49-F238E27FC236}">
                      <a16:creationId xmlns:a16="http://schemas.microsoft.com/office/drawing/2014/main" id="{9B0294CE-433F-60AE-D7C8-B94441DCEE37}"/>
                    </a:ext>
                  </a:extLst>
                </p:cNvPr>
                <p:cNvSpPr/>
                <p:nvPr/>
              </p:nvSpPr>
              <p:spPr bwMode="gray">
                <a:xfrm>
                  <a:off x="6167627" y="333536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18" name="Grafik 9">
                  <a:extLst>
                    <a:ext uri="{FF2B5EF4-FFF2-40B4-BE49-F238E27FC236}">
                      <a16:creationId xmlns:a16="http://schemas.microsoft.com/office/drawing/2014/main" id="{E216181B-F28B-1442-AA7A-BF7463BB550B}"/>
                    </a:ext>
                  </a:extLst>
                </p:cNvPr>
                <p:cNvSpPr/>
                <p:nvPr/>
              </p:nvSpPr>
              <p:spPr bwMode="gray">
                <a:xfrm>
                  <a:off x="6204894" y="3307865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19" name="Grafik 9">
                  <a:extLst>
                    <a:ext uri="{FF2B5EF4-FFF2-40B4-BE49-F238E27FC236}">
                      <a16:creationId xmlns:a16="http://schemas.microsoft.com/office/drawing/2014/main" id="{FC069F47-4224-5AF5-BD1E-B2841305DCDC}"/>
                    </a:ext>
                  </a:extLst>
                </p:cNvPr>
                <p:cNvSpPr/>
                <p:nvPr/>
              </p:nvSpPr>
              <p:spPr bwMode="gray">
                <a:xfrm>
                  <a:off x="6204894" y="3335392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029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813" name="Grafik 9">
                <a:extLst>
                  <a:ext uri="{FF2B5EF4-FFF2-40B4-BE49-F238E27FC236}">
                    <a16:creationId xmlns:a16="http://schemas.microsoft.com/office/drawing/2014/main" id="{3A00B347-044B-DD2D-FE04-803566F44BF4}"/>
                  </a:ext>
                </a:extLst>
              </p:cNvPr>
              <p:cNvGrpSpPr/>
              <p:nvPr/>
            </p:nvGrpSpPr>
            <p:grpSpPr bwMode="gray">
              <a:xfrm>
                <a:off x="6167627" y="3541132"/>
                <a:ext cx="79057" cy="69222"/>
                <a:chOff x="6167627" y="3541132"/>
                <a:chExt cx="79057" cy="69222"/>
              </a:xfrm>
              <a:grpFill/>
            </p:grpSpPr>
            <p:sp>
              <p:nvSpPr>
                <p:cNvPr id="814" name="Grafik 9">
                  <a:extLst>
                    <a:ext uri="{FF2B5EF4-FFF2-40B4-BE49-F238E27FC236}">
                      <a16:creationId xmlns:a16="http://schemas.microsoft.com/office/drawing/2014/main" id="{B5C75FF1-4B92-FDBA-D341-39F8AEE44C51}"/>
                    </a:ext>
                  </a:extLst>
                </p:cNvPr>
                <p:cNvSpPr/>
                <p:nvPr/>
              </p:nvSpPr>
              <p:spPr bwMode="gray">
                <a:xfrm>
                  <a:off x="6167627" y="3568635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15" name="Grafik 9">
                  <a:extLst>
                    <a:ext uri="{FF2B5EF4-FFF2-40B4-BE49-F238E27FC236}">
                      <a16:creationId xmlns:a16="http://schemas.microsoft.com/office/drawing/2014/main" id="{9DB8DF92-2CA6-B487-4ACC-3F23FD3E9D4C}"/>
                    </a:ext>
                  </a:extLst>
                </p:cNvPr>
                <p:cNvSpPr/>
                <p:nvPr/>
              </p:nvSpPr>
              <p:spPr bwMode="gray">
                <a:xfrm>
                  <a:off x="6204894" y="3541132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029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16" name="Grafik 9">
                  <a:extLst>
                    <a:ext uri="{FF2B5EF4-FFF2-40B4-BE49-F238E27FC236}">
                      <a16:creationId xmlns:a16="http://schemas.microsoft.com/office/drawing/2014/main" id="{248F1980-FA93-7114-6F87-24E3B3A71116}"/>
                    </a:ext>
                  </a:extLst>
                </p:cNvPr>
                <p:cNvSpPr/>
                <p:nvPr/>
              </p:nvSpPr>
              <p:spPr bwMode="gray">
                <a:xfrm>
                  <a:off x="6204894" y="3568564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837" name="Grafik 3844">
            <a:extLst>
              <a:ext uri="{FF2B5EF4-FFF2-40B4-BE49-F238E27FC236}">
                <a16:creationId xmlns:a16="http://schemas.microsoft.com/office/drawing/2014/main" id="{3D89B161-CF23-ACA8-D5C0-DB23AECBC88B}"/>
              </a:ext>
            </a:extLst>
          </p:cNvPr>
          <p:cNvGrpSpPr/>
          <p:nvPr/>
        </p:nvGrpSpPr>
        <p:grpSpPr bwMode="gray">
          <a:xfrm>
            <a:off x="9942167" y="3478392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838" name="Grafik 3844">
              <a:extLst>
                <a:ext uri="{FF2B5EF4-FFF2-40B4-BE49-F238E27FC236}">
                  <a16:creationId xmlns:a16="http://schemas.microsoft.com/office/drawing/2014/main" id="{9012948C-780A-907D-2A62-E81B8F9999C5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39" name="Grafik 3844">
              <a:extLst>
                <a:ext uri="{FF2B5EF4-FFF2-40B4-BE49-F238E27FC236}">
                  <a16:creationId xmlns:a16="http://schemas.microsoft.com/office/drawing/2014/main" id="{0572C9F8-3512-BE31-2380-F6BCB755855F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40" name="Grafik 3844">
              <a:extLst>
                <a:ext uri="{FF2B5EF4-FFF2-40B4-BE49-F238E27FC236}">
                  <a16:creationId xmlns:a16="http://schemas.microsoft.com/office/drawing/2014/main" id="{ABBFE01A-81D6-9E96-FD7B-8604B990A455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41" name="Grafik 3844">
              <a:extLst>
                <a:ext uri="{FF2B5EF4-FFF2-40B4-BE49-F238E27FC236}">
                  <a16:creationId xmlns:a16="http://schemas.microsoft.com/office/drawing/2014/main" id="{C88DE2C4-5F72-EB88-3C09-6D791D8F5950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42" name="Grafik 3844">
              <a:extLst>
                <a:ext uri="{FF2B5EF4-FFF2-40B4-BE49-F238E27FC236}">
                  <a16:creationId xmlns:a16="http://schemas.microsoft.com/office/drawing/2014/main" id="{221127BF-0E73-9614-FB9A-93B3F2F42A8A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843" name="Grafik 3844">
              <a:extLst>
                <a:ext uri="{FF2B5EF4-FFF2-40B4-BE49-F238E27FC236}">
                  <a16:creationId xmlns:a16="http://schemas.microsoft.com/office/drawing/2014/main" id="{0252F163-4AF7-0BC4-8A81-03D40BDE7271}"/>
                </a:ext>
              </a:extLst>
            </p:cNvPr>
            <p:cNvGrpSpPr/>
            <p:nvPr/>
          </p:nvGrpSpPr>
          <p:grpSpPr bwMode="gray">
            <a:xfrm>
              <a:off x="5906356" y="3358323"/>
              <a:ext cx="309919" cy="201644"/>
              <a:chOff x="5906356" y="3358323"/>
              <a:chExt cx="309919" cy="201644"/>
            </a:xfrm>
            <a:grpFill/>
          </p:grpSpPr>
          <p:grpSp>
            <p:nvGrpSpPr>
              <p:cNvPr id="844" name="Grafik 3844">
                <a:extLst>
                  <a:ext uri="{FF2B5EF4-FFF2-40B4-BE49-F238E27FC236}">
                    <a16:creationId xmlns:a16="http://schemas.microsoft.com/office/drawing/2014/main" id="{718AED7F-C149-C41B-B76B-80BD137AF76F}"/>
                  </a:ext>
                </a:extLst>
              </p:cNvPr>
              <p:cNvGrpSpPr/>
              <p:nvPr/>
            </p:nvGrpSpPr>
            <p:grpSpPr bwMode="gray">
              <a:xfrm>
                <a:off x="5906356" y="3432261"/>
                <a:ext cx="93035" cy="53792"/>
                <a:chOff x="5906356" y="3432261"/>
                <a:chExt cx="93035" cy="53792"/>
              </a:xfrm>
              <a:grpFill/>
            </p:grpSpPr>
            <p:sp>
              <p:nvSpPr>
                <p:cNvPr id="858" name="Grafik 3844">
                  <a:extLst>
                    <a:ext uri="{FF2B5EF4-FFF2-40B4-BE49-F238E27FC236}">
                      <a16:creationId xmlns:a16="http://schemas.microsoft.com/office/drawing/2014/main" id="{CA077298-6815-08C9-BCBD-FA4DFD815315}"/>
                    </a:ext>
                  </a:extLst>
                </p:cNvPr>
                <p:cNvSpPr/>
                <p:nvPr/>
              </p:nvSpPr>
              <p:spPr bwMode="gray">
                <a:xfrm>
                  <a:off x="5906356" y="3451954"/>
                  <a:ext cx="82105" cy="14287"/>
                </a:xfrm>
                <a:custGeom>
                  <a:avLst/>
                  <a:gdLst>
                    <a:gd name="connsiteX0" fmla="*/ 74962 w 82105"/>
                    <a:gd name="connsiteY0" fmla="*/ 14288 h 14287"/>
                    <a:gd name="connsiteX1" fmla="*/ 7144 w 82105"/>
                    <a:gd name="connsiteY1" fmla="*/ 14288 h 14287"/>
                    <a:gd name="connsiteX2" fmla="*/ 0 w 82105"/>
                    <a:gd name="connsiteY2" fmla="*/ 7144 h 14287"/>
                    <a:gd name="connsiteX3" fmla="*/ 7144 w 82105"/>
                    <a:gd name="connsiteY3" fmla="*/ 0 h 14287"/>
                    <a:gd name="connsiteX4" fmla="*/ 74962 w 82105"/>
                    <a:gd name="connsiteY4" fmla="*/ 0 h 14287"/>
                    <a:gd name="connsiteX5" fmla="*/ 82106 w 82105"/>
                    <a:gd name="connsiteY5" fmla="*/ 7144 h 14287"/>
                    <a:gd name="connsiteX6" fmla="*/ 74962 w 82105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2105" h="14287">
                      <a:moveTo>
                        <a:pt x="74962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4962" y="0"/>
                      </a:lnTo>
                      <a:cubicBezTo>
                        <a:pt x="78867" y="0"/>
                        <a:pt x="82106" y="3239"/>
                        <a:pt x="82106" y="7144"/>
                      </a:cubicBezTo>
                      <a:cubicBezTo>
                        <a:pt x="82106" y="11049"/>
                        <a:pt x="78962" y="14288"/>
                        <a:pt x="7496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59" name="Grafik 3844">
                  <a:extLst>
                    <a:ext uri="{FF2B5EF4-FFF2-40B4-BE49-F238E27FC236}">
                      <a16:creationId xmlns:a16="http://schemas.microsoft.com/office/drawing/2014/main" id="{97E7E092-C354-CB41-6412-F66820F92A93}"/>
                    </a:ext>
                  </a:extLst>
                </p:cNvPr>
                <p:cNvSpPr/>
                <p:nvPr/>
              </p:nvSpPr>
              <p:spPr bwMode="gray">
                <a:xfrm>
                  <a:off x="5965435" y="3432261"/>
                  <a:ext cx="33956" cy="33980"/>
                </a:xfrm>
                <a:custGeom>
                  <a:avLst/>
                  <a:gdLst>
                    <a:gd name="connsiteX0" fmla="*/ 26837 w 33956"/>
                    <a:gd name="connsiteY0" fmla="*/ 33980 h 33980"/>
                    <a:gd name="connsiteX1" fmla="*/ 21788 w 33956"/>
                    <a:gd name="connsiteY1" fmla="*/ 31885 h 33980"/>
                    <a:gd name="connsiteX2" fmla="*/ 2072 w 33956"/>
                    <a:gd name="connsiteY2" fmla="*/ 12168 h 33980"/>
                    <a:gd name="connsiteX3" fmla="*/ 2072 w 33956"/>
                    <a:gd name="connsiteY3" fmla="*/ 2072 h 33980"/>
                    <a:gd name="connsiteX4" fmla="*/ 12168 w 33956"/>
                    <a:gd name="connsiteY4" fmla="*/ 2072 h 33980"/>
                    <a:gd name="connsiteX5" fmla="*/ 31885 w 33956"/>
                    <a:gd name="connsiteY5" fmla="*/ 21788 h 33980"/>
                    <a:gd name="connsiteX6" fmla="*/ 31885 w 33956"/>
                    <a:gd name="connsiteY6" fmla="*/ 31885 h 33980"/>
                    <a:gd name="connsiteX7" fmla="*/ 26837 w 33956"/>
                    <a:gd name="connsiteY7" fmla="*/ 33980 h 33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56" h="33980">
                      <a:moveTo>
                        <a:pt x="26837" y="33980"/>
                      </a:moveTo>
                      <a:cubicBezTo>
                        <a:pt x="25027" y="33980"/>
                        <a:pt x="23217" y="33314"/>
                        <a:pt x="21788" y="3188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1885" y="21788"/>
                      </a:lnTo>
                      <a:cubicBezTo>
                        <a:pt x="34647" y="24551"/>
                        <a:pt x="34647" y="29123"/>
                        <a:pt x="31885" y="31885"/>
                      </a:cubicBezTo>
                      <a:cubicBezTo>
                        <a:pt x="30456" y="33314"/>
                        <a:pt x="28646" y="33980"/>
                        <a:pt x="26837" y="339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60" name="Grafik 3844">
                  <a:extLst>
                    <a:ext uri="{FF2B5EF4-FFF2-40B4-BE49-F238E27FC236}">
                      <a16:creationId xmlns:a16="http://schemas.microsoft.com/office/drawing/2014/main" id="{1041C509-A2EA-849F-0BFC-CCE02C611634}"/>
                    </a:ext>
                  </a:extLst>
                </p:cNvPr>
                <p:cNvSpPr/>
                <p:nvPr/>
              </p:nvSpPr>
              <p:spPr bwMode="gray">
                <a:xfrm>
                  <a:off x="5965435" y="3452073"/>
                  <a:ext cx="33956" cy="33980"/>
                </a:xfrm>
                <a:custGeom>
                  <a:avLst/>
                  <a:gdLst>
                    <a:gd name="connsiteX0" fmla="*/ 7120 w 33956"/>
                    <a:gd name="connsiteY0" fmla="*/ 33980 h 33980"/>
                    <a:gd name="connsiteX1" fmla="*/ 2072 w 33956"/>
                    <a:gd name="connsiteY1" fmla="*/ 31885 h 33980"/>
                    <a:gd name="connsiteX2" fmla="*/ 2072 w 33956"/>
                    <a:gd name="connsiteY2" fmla="*/ 21788 h 33980"/>
                    <a:gd name="connsiteX3" fmla="*/ 21788 w 33956"/>
                    <a:gd name="connsiteY3" fmla="*/ 2072 h 33980"/>
                    <a:gd name="connsiteX4" fmla="*/ 31885 w 33956"/>
                    <a:gd name="connsiteY4" fmla="*/ 2072 h 33980"/>
                    <a:gd name="connsiteX5" fmla="*/ 31885 w 33956"/>
                    <a:gd name="connsiteY5" fmla="*/ 12168 h 33980"/>
                    <a:gd name="connsiteX6" fmla="*/ 12168 w 33956"/>
                    <a:gd name="connsiteY6" fmla="*/ 31885 h 33980"/>
                    <a:gd name="connsiteX7" fmla="*/ 7120 w 33956"/>
                    <a:gd name="connsiteY7" fmla="*/ 33980 h 33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56" h="33980">
                      <a:moveTo>
                        <a:pt x="7120" y="33980"/>
                      </a:moveTo>
                      <a:cubicBezTo>
                        <a:pt x="5310" y="33980"/>
                        <a:pt x="3500" y="33314"/>
                        <a:pt x="2072" y="31885"/>
                      </a:cubicBezTo>
                      <a:cubicBezTo>
                        <a:pt x="-691" y="29123"/>
                        <a:pt x="-691" y="24551"/>
                        <a:pt x="2072" y="21788"/>
                      </a:cubicBezTo>
                      <a:lnTo>
                        <a:pt x="21788" y="2072"/>
                      </a:lnTo>
                      <a:cubicBezTo>
                        <a:pt x="24551" y="-691"/>
                        <a:pt x="29123" y="-691"/>
                        <a:pt x="31885" y="2072"/>
                      </a:cubicBezTo>
                      <a:cubicBezTo>
                        <a:pt x="34647" y="4834"/>
                        <a:pt x="34647" y="9406"/>
                        <a:pt x="31885" y="12168"/>
                      </a:cubicBezTo>
                      <a:lnTo>
                        <a:pt x="12168" y="31885"/>
                      </a:lnTo>
                      <a:cubicBezTo>
                        <a:pt x="10739" y="33218"/>
                        <a:pt x="8930" y="33980"/>
                        <a:pt x="7120" y="339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845" name="Grafik 3844">
                <a:extLst>
                  <a:ext uri="{FF2B5EF4-FFF2-40B4-BE49-F238E27FC236}">
                    <a16:creationId xmlns:a16="http://schemas.microsoft.com/office/drawing/2014/main" id="{1E44EC32-D6C4-830B-D5D6-9A54F14AB37E}"/>
                  </a:ext>
                </a:extLst>
              </p:cNvPr>
              <p:cNvGrpSpPr/>
              <p:nvPr/>
            </p:nvGrpSpPr>
            <p:grpSpPr bwMode="gray">
              <a:xfrm>
                <a:off x="6123241" y="3432261"/>
                <a:ext cx="93035" cy="53792"/>
                <a:chOff x="6123241" y="3432261"/>
                <a:chExt cx="93035" cy="53792"/>
              </a:xfrm>
              <a:grpFill/>
            </p:grpSpPr>
            <p:sp>
              <p:nvSpPr>
                <p:cNvPr id="855" name="Grafik 3844">
                  <a:extLst>
                    <a:ext uri="{FF2B5EF4-FFF2-40B4-BE49-F238E27FC236}">
                      <a16:creationId xmlns:a16="http://schemas.microsoft.com/office/drawing/2014/main" id="{20C46010-BEC6-4EEB-33C9-D65DAA20A714}"/>
                    </a:ext>
                  </a:extLst>
                </p:cNvPr>
                <p:cNvSpPr/>
                <p:nvPr/>
              </p:nvSpPr>
              <p:spPr bwMode="gray">
                <a:xfrm>
                  <a:off x="6123241" y="3451954"/>
                  <a:ext cx="82105" cy="14287"/>
                </a:xfrm>
                <a:custGeom>
                  <a:avLst/>
                  <a:gdLst>
                    <a:gd name="connsiteX0" fmla="*/ 74962 w 82105"/>
                    <a:gd name="connsiteY0" fmla="*/ 14288 h 14287"/>
                    <a:gd name="connsiteX1" fmla="*/ 7144 w 82105"/>
                    <a:gd name="connsiteY1" fmla="*/ 14288 h 14287"/>
                    <a:gd name="connsiteX2" fmla="*/ 0 w 82105"/>
                    <a:gd name="connsiteY2" fmla="*/ 7144 h 14287"/>
                    <a:gd name="connsiteX3" fmla="*/ 7144 w 82105"/>
                    <a:gd name="connsiteY3" fmla="*/ 0 h 14287"/>
                    <a:gd name="connsiteX4" fmla="*/ 74962 w 82105"/>
                    <a:gd name="connsiteY4" fmla="*/ 0 h 14287"/>
                    <a:gd name="connsiteX5" fmla="*/ 82105 w 82105"/>
                    <a:gd name="connsiteY5" fmla="*/ 7144 h 14287"/>
                    <a:gd name="connsiteX6" fmla="*/ 74962 w 82105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2105" h="14287">
                      <a:moveTo>
                        <a:pt x="7496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4962" y="0"/>
                      </a:lnTo>
                      <a:cubicBezTo>
                        <a:pt x="78867" y="0"/>
                        <a:pt x="82105" y="3239"/>
                        <a:pt x="82105" y="7144"/>
                      </a:cubicBezTo>
                      <a:cubicBezTo>
                        <a:pt x="82105" y="11049"/>
                        <a:pt x="78962" y="14288"/>
                        <a:pt x="7496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56" name="Grafik 3844">
                  <a:extLst>
                    <a:ext uri="{FF2B5EF4-FFF2-40B4-BE49-F238E27FC236}">
                      <a16:creationId xmlns:a16="http://schemas.microsoft.com/office/drawing/2014/main" id="{BC65478E-E70C-2052-AB5F-B751694BD166}"/>
                    </a:ext>
                  </a:extLst>
                </p:cNvPr>
                <p:cNvSpPr/>
                <p:nvPr/>
              </p:nvSpPr>
              <p:spPr bwMode="gray">
                <a:xfrm>
                  <a:off x="6182319" y="3432261"/>
                  <a:ext cx="33956" cy="33980"/>
                </a:xfrm>
                <a:custGeom>
                  <a:avLst/>
                  <a:gdLst>
                    <a:gd name="connsiteX0" fmla="*/ 26837 w 33956"/>
                    <a:gd name="connsiteY0" fmla="*/ 33980 h 33980"/>
                    <a:gd name="connsiteX1" fmla="*/ 21788 w 33956"/>
                    <a:gd name="connsiteY1" fmla="*/ 31885 h 33980"/>
                    <a:gd name="connsiteX2" fmla="*/ 2072 w 33956"/>
                    <a:gd name="connsiteY2" fmla="*/ 12168 h 33980"/>
                    <a:gd name="connsiteX3" fmla="*/ 2072 w 33956"/>
                    <a:gd name="connsiteY3" fmla="*/ 2072 h 33980"/>
                    <a:gd name="connsiteX4" fmla="*/ 12168 w 33956"/>
                    <a:gd name="connsiteY4" fmla="*/ 2072 h 33980"/>
                    <a:gd name="connsiteX5" fmla="*/ 31885 w 33956"/>
                    <a:gd name="connsiteY5" fmla="*/ 21788 h 33980"/>
                    <a:gd name="connsiteX6" fmla="*/ 31885 w 33956"/>
                    <a:gd name="connsiteY6" fmla="*/ 31885 h 33980"/>
                    <a:gd name="connsiteX7" fmla="*/ 26837 w 33956"/>
                    <a:gd name="connsiteY7" fmla="*/ 33980 h 33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56" h="33980">
                      <a:moveTo>
                        <a:pt x="26837" y="33980"/>
                      </a:moveTo>
                      <a:cubicBezTo>
                        <a:pt x="25027" y="33980"/>
                        <a:pt x="23217" y="33314"/>
                        <a:pt x="21788" y="3188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1885" y="21788"/>
                      </a:lnTo>
                      <a:cubicBezTo>
                        <a:pt x="34647" y="24551"/>
                        <a:pt x="34647" y="29123"/>
                        <a:pt x="31885" y="31885"/>
                      </a:cubicBezTo>
                      <a:cubicBezTo>
                        <a:pt x="30456" y="33314"/>
                        <a:pt x="28646" y="33980"/>
                        <a:pt x="26837" y="339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57" name="Grafik 3844">
                  <a:extLst>
                    <a:ext uri="{FF2B5EF4-FFF2-40B4-BE49-F238E27FC236}">
                      <a16:creationId xmlns:a16="http://schemas.microsoft.com/office/drawing/2014/main" id="{C136E251-6B48-73DE-9464-40A291CD310A}"/>
                    </a:ext>
                  </a:extLst>
                </p:cNvPr>
                <p:cNvSpPr/>
                <p:nvPr/>
              </p:nvSpPr>
              <p:spPr bwMode="gray">
                <a:xfrm>
                  <a:off x="6182319" y="3452073"/>
                  <a:ext cx="33956" cy="33980"/>
                </a:xfrm>
                <a:custGeom>
                  <a:avLst/>
                  <a:gdLst>
                    <a:gd name="connsiteX0" fmla="*/ 7120 w 33956"/>
                    <a:gd name="connsiteY0" fmla="*/ 33980 h 33980"/>
                    <a:gd name="connsiteX1" fmla="*/ 2072 w 33956"/>
                    <a:gd name="connsiteY1" fmla="*/ 31885 h 33980"/>
                    <a:gd name="connsiteX2" fmla="*/ 2072 w 33956"/>
                    <a:gd name="connsiteY2" fmla="*/ 21788 h 33980"/>
                    <a:gd name="connsiteX3" fmla="*/ 21788 w 33956"/>
                    <a:gd name="connsiteY3" fmla="*/ 2072 h 33980"/>
                    <a:gd name="connsiteX4" fmla="*/ 31885 w 33956"/>
                    <a:gd name="connsiteY4" fmla="*/ 2072 h 33980"/>
                    <a:gd name="connsiteX5" fmla="*/ 31885 w 33956"/>
                    <a:gd name="connsiteY5" fmla="*/ 12168 h 33980"/>
                    <a:gd name="connsiteX6" fmla="*/ 12168 w 33956"/>
                    <a:gd name="connsiteY6" fmla="*/ 31885 h 33980"/>
                    <a:gd name="connsiteX7" fmla="*/ 7120 w 33956"/>
                    <a:gd name="connsiteY7" fmla="*/ 33980 h 33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56" h="33980">
                      <a:moveTo>
                        <a:pt x="7120" y="33980"/>
                      </a:moveTo>
                      <a:cubicBezTo>
                        <a:pt x="5310" y="33980"/>
                        <a:pt x="3500" y="33314"/>
                        <a:pt x="2072" y="31885"/>
                      </a:cubicBezTo>
                      <a:cubicBezTo>
                        <a:pt x="-691" y="29123"/>
                        <a:pt x="-691" y="24551"/>
                        <a:pt x="2072" y="21788"/>
                      </a:cubicBezTo>
                      <a:lnTo>
                        <a:pt x="21788" y="2072"/>
                      </a:lnTo>
                      <a:cubicBezTo>
                        <a:pt x="24551" y="-691"/>
                        <a:pt x="29123" y="-691"/>
                        <a:pt x="31885" y="2072"/>
                      </a:cubicBezTo>
                      <a:cubicBezTo>
                        <a:pt x="34647" y="4834"/>
                        <a:pt x="34647" y="9406"/>
                        <a:pt x="31885" y="12168"/>
                      </a:cubicBezTo>
                      <a:lnTo>
                        <a:pt x="12168" y="31885"/>
                      </a:lnTo>
                      <a:cubicBezTo>
                        <a:pt x="10739" y="33218"/>
                        <a:pt x="8930" y="33980"/>
                        <a:pt x="7120" y="339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846" name="Grafik 3844">
                <a:extLst>
                  <a:ext uri="{FF2B5EF4-FFF2-40B4-BE49-F238E27FC236}">
                    <a16:creationId xmlns:a16="http://schemas.microsoft.com/office/drawing/2014/main" id="{5DDA211A-DE3A-B055-FE41-AFBE32788A1F}"/>
                  </a:ext>
                </a:extLst>
              </p:cNvPr>
              <p:cNvGrpSpPr/>
              <p:nvPr/>
            </p:nvGrpSpPr>
            <p:grpSpPr bwMode="gray">
              <a:xfrm>
                <a:off x="6123264" y="3358323"/>
                <a:ext cx="69984" cy="69913"/>
                <a:chOff x="6123264" y="3358323"/>
                <a:chExt cx="69984" cy="69913"/>
              </a:xfrm>
              <a:grpFill/>
            </p:grpSpPr>
            <p:sp>
              <p:nvSpPr>
                <p:cNvPr id="852" name="Grafik 3844">
                  <a:extLst>
                    <a:ext uri="{FF2B5EF4-FFF2-40B4-BE49-F238E27FC236}">
                      <a16:creationId xmlns:a16="http://schemas.microsoft.com/office/drawing/2014/main" id="{9C05AC70-B7DE-0FB9-9207-64A64C507C47}"/>
                    </a:ext>
                  </a:extLst>
                </p:cNvPr>
                <p:cNvSpPr/>
                <p:nvPr/>
              </p:nvSpPr>
              <p:spPr bwMode="gray">
                <a:xfrm>
                  <a:off x="6123264" y="3365967"/>
                  <a:ext cx="62245" cy="62269"/>
                </a:xfrm>
                <a:custGeom>
                  <a:avLst/>
                  <a:gdLst>
                    <a:gd name="connsiteX0" fmla="*/ 7120 w 62245"/>
                    <a:gd name="connsiteY0" fmla="*/ 62270 h 62269"/>
                    <a:gd name="connsiteX1" fmla="*/ 2072 w 62245"/>
                    <a:gd name="connsiteY1" fmla="*/ 60174 h 62269"/>
                    <a:gd name="connsiteX2" fmla="*/ 2072 w 62245"/>
                    <a:gd name="connsiteY2" fmla="*/ 50078 h 62269"/>
                    <a:gd name="connsiteX3" fmla="*/ 50078 w 62245"/>
                    <a:gd name="connsiteY3" fmla="*/ 2072 h 62269"/>
                    <a:gd name="connsiteX4" fmla="*/ 60174 w 62245"/>
                    <a:gd name="connsiteY4" fmla="*/ 2072 h 62269"/>
                    <a:gd name="connsiteX5" fmla="*/ 60174 w 62245"/>
                    <a:gd name="connsiteY5" fmla="*/ 12168 h 62269"/>
                    <a:gd name="connsiteX6" fmla="*/ 12168 w 62245"/>
                    <a:gd name="connsiteY6" fmla="*/ 60174 h 62269"/>
                    <a:gd name="connsiteX7" fmla="*/ 7120 w 62245"/>
                    <a:gd name="connsiteY7" fmla="*/ 62270 h 62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2245" h="62269">
                      <a:moveTo>
                        <a:pt x="7120" y="62270"/>
                      </a:moveTo>
                      <a:cubicBezTo>
                        <a:pt x="5310" y="62270"/>
                        <a:pt x="3500" y="61603"/>
                        <a:pt x="2072" y="60174"/>
                      </a:cubicBezTo>
                      <a:cubicBezTo>
                        <a:pt x="-691" y="57412"/>
                        <a:pt x="-691" y="52840"/>
                        <a:pt x="2072" y="50078"/>
                      </a:cubicBezTo>
                      <a:lnTo>
                        <a:pt x="50078" y="2072"/>
                      </a:lnTo>
                      <a:cubicBezTo>
                        <a:pt x="52840" y="-691"/>
                        <a:pt x="57412" y="-691"/>
                        <a:pt x="60174" y="2072"/>
                      </a:cubicBezTo>
                      <a:cubicBezTo>
                        <a:pt x="62936" y="4834"/>
                        <a:pt x="62936" y="9406"/>
                        <a:pt x="60174" y="12168"/>
                      </a:cubicBezTo>
                      <a:lnTo>
                        <a:pt x="12168" y="60174"/>
                      </a:lnTo>
                      <a:cubicBezTo>
                        <a:pt x="10739" y="61603"/>
                        <a:pt x="8930" y="62270"/>
                        <a:pt x="7120" y="6227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53" name="Grafik 3844">
                  <a:extLst>
                    <a:ext uri="{FF2B5EF4-FFF2-40B4-BE49-F238E27FC236}">
                      <a16:creationId xmlns:a16="http://schemas.microsoft.com/office/drawing/2014/main" id="{5E22C1BC-E1AA-2DAF-99D6-7510356BA412}"/>
                    </a:ext>
                  </a:extLst>
                </p:cNvPr>
                <p:cNvSpPr/>
                <p:nvPr/>
              </p:nvSpPr>
              <p:spPr bwMode="gray">
                <a:xfrm>
                  <a:off x="6151053" y="3358323"/>
                  <a:ext cx="42195" cy="14287"/>
                </a:xfrm>
                <a:custGeom>
                  <a:avLst/>
                  <a:gdLst>
                    <a:gd name="connsiteX0" fmla="*/ 35052 w 42195"/>
                    <a:gd name="connsiteY0" fmla="*/ 14288 h 14287"/>
                    <a:gd name="connsiteX1" fmla="*/ 7144 w 42195"/>
                    <a:gd name="connsiteY1" fmla="*/ 14288 h 14287"/>
                    <a:gd name="connsiteX2" fmla="*/ 0 w 42195"/>
                    <a:gd name="connsiteY2" fmla="*/ 7144 h 14287"/>
                    <a:gd name="connsiteX3" fmla="*/ 7144 w 42195"/>
                    <a:gd name="connsiteY3" fmla="*/ 0 h 14287"/>
                    <a:gd name="connsiteX4" fmla="*/ 35052 w 42195"/>
                    <a:gd name="connsiteY4" fmla="*/ 0 h 14287"/>
                    <a:gd name="connsiteX5" fmla="*/ 42196 w 42195"/>
                    <a:gd name="connsiteY5" fmla="*/ 7144 h 14287"/>
                    <a:gd name="connsiteX6" fmla="*/ 35052 w 42195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2195" h="14287">
                      <a:moveTo>
                        <a:pt x="3505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5052" y="0"/>
                      </a:lnTo>
                      <a:cubicBezTo>
                        <a:pt x="38957" y="0"/>
                        <a:pt x="42196" y="3239"/>
                        <a:pt x="42196" y="7144"/>
                      </a:cubicBezTo>
                      <a:cubicBezTo>
                        <a:pt x="42196" y="11049"/>
                        <a:pt x="38957" y="14288"/>
                        <a:pt x="3505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54" name="Grafik 3844">
                  <a:extLst>
                    <a:ext uri="{FF2B5EF4-FFF2-40B4-BE49-F238E27FC236}">
                      <a16:creationId xmlns:a16="http://schemas.microsoft.com/office/drawing/2014/main" id="{24A64AB4-7848-E18A-9CDB-9026456DC1D6}"/>
                    </a:ext>
                  </a:extLst>
                </p:cNvPr>
                <p:cNvSpPr/>
                <p:nvPr/>
              </p:nvSpPr>
              <p:spPr bwMode="gray">
                <a:xfrm>
                  <a:off x="6178962" y="3358323"/>
                  <a:ext cx="14287" cy="42195"/>
                </a:xfrm>
                <a:custGeom>
                  <a:avLst/>
                  <a:gdLst>
                    <a:gd name="connsiteX0" fmla="*/ 7144 w 14287"/>
                    <a:gd name="connsiteY0" fmla="*/ 42196 h 42195"/>
                    <a:gd name="connsiteX1" fmla="*/ 0 w 14287"/>
                    <a:gd name="connsiteY1" fmla="*/ 35052 h 42195"/>
                    <a:gd name="connsiteX2" fmla="*/ 0 w 14287"/>
                    <a:gd name="connsiteY2" fmla="*/ 7144 h 42195"/>
                    <a:gd name="connsiteX3" fmla="*/ 7144 w 14287"/>
                    <a:gd name="connsiteY3" fmla="*/ 0 h 42195"/>
                    <a:gd name="connsiteX4" fmla="*/ 14288 w 14287"/>
                    <a:gd name="connsiteY4" fmla="*/ 7144 h 42195"/>
                    <a:gd name="connsiteX5" fmla="*/ 14288 w 14287"/>
                    <a:gd name="connsiteY5" fmla="*/ 35052 h 42195"/>
                    <a:gd name="connsiteX6" fmla="*/ 7144 w 14287"/>
                    <a:gd name="connsiteY6" fmla="*/ 42196 h 42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2195">
                      <a:moveTo>
                        <a:pt x="7144" y="42196"/>
                      </a:moveTo>
                      <a:cubicBezTo>
                        <a:pt x="3239" y="42196"/>
                        <a:pt x="0" y="38957"/>
                        <a:pt x="0" y="35052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5052"/>
                      </a:lnTo>
                      <a:cubicBezTo>
                        <a:pt x="14288" y="38957"/>
                        <a:pt x="11049" y="42196"/>
                        <a:pt x="7144" y="4219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847" name="Grafik 3844">
                <a:extLst>
                  <a:ext uri="{FF2B5EF4-FFF2-40B4-BE49-F238E27FC236}">
                    <a16:creationId xmlns:a16="http://schemas.microsoft.com/office/drawing/2014/main" id="{02977FDD-EB6C-961A-2783-6ACE9270C734}"/>
                  </a:ext>
                </a:extLst>
              </p:cNvPr>
              <p:cNvGrpSpPr/>
              <p:nvPr/>
            </p:nvGrpSpPr>
            <p:grpSpPr bwMode="gray">
              <a:xfrm>
                <a:off x="6123264" y="3489983"/>
                <a:ext cx="69984" cy="69984"/>
                <a:chOff x="6123264" y="3489983"/>
                <a:chExt cx="69984" cy="69984"/>
              </a:xfrm>
              <a:grpFill/>
            </p:grpSpPr>
            <p:sp>
              <p:nvSpPr>
                <p:cNvPr id="849" name="Grafik 3844">
                  <a:extLst>
                    <a:ext uri="{FF2B5EF4-FFF2-40B4-BE49-F238E27FC236}">
                      <a16:creationId xmlns:a16="http://schemas.microsoft.com/office/drawing/2014/main" id="{DE4CCF1D-9B37-4216-3D64-2F2EFBEA06CA}"/>
                    </a:ext>
                  </a:extLst>
                </p:cNvPr>
                <p:cNvSpPr/>
                <p:nvPr/>
              </p:nvSpPr>
              <p:spPr bwMode="gray">
                <a:xfrm>
                  <a:off x="6123264" y="3489983"/>
                  <a:ext cx="62245" cy="62269"/>
                </a:xfrm>
                <a:custGeom>
                  <a:avLst/>
                  <a:gdLst>
                    <a:gd name="connsiteX0" fmla="*/ 55126 w 62245"/>
                    <a:gd name="connsiteY0" fmla="*/ 62270 h 62269"/>
                    <a:gd name="connsiteX1" fmla="*/ 50078 w 62245"/>
                    <a:gd name="connsiteY1" fmla="*/ 60174 h 62269"/>
                    <a:gd name="connsiteX2" fmla="*/ 2072 w 62245"/>
                    <a:gd name="connsiteY2" fmla="*/ 12168 h 62269"/>
                    <a:gd name="connsiteX3" fmla="*/ 2072 w 62245"/>
                    <a:gd name="connsiteY3" fmla="*/ 2072 h 62269"/>
                    <a:gd name="connsiteX4" fmla="*/ 12168 w 62245"/>
                    <a:gd name="connsiteY4" fmla="*/ 2072 h 62269"/>
                    <a:gd name="connsiteX5" fmla="*/ 60174 w 62245"/>
                    <a:gd name="connsiteY5" fmla="*/ 50078 h 62269"/>
                    <a:gd name="connsiteX6" fmla="*/ 60174 w 62245"/>
                    <a:gd name="connsiteY6" fmla="*/ 60174 h 62269"/>
                    <a:gd name="connsiteX7" fmla="*/ 55126 w 62245"/>
                    <a:gd name="connsiteY7" fmla="*/ 62270 h 62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2245" h="62269">
                      <a:moveTo>
                        <a:pt x="55126" y="62270"/>
                      </a:moveTo>
                      <a:cubicBezTo>
                        <a:pt x="53316" y="62270"/>
                        <a:pt x="51506" y="61603"/>
                        <a:pt x="50078" y="6017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60174" y="50078"/>
                      </a:lnTo>
                      <a:cubicBezTo>
                        <a:pt x="62936" y="52840"/>
                        <a:pt x="62936" y="57412"/>
                        <a:pt x="60174" y="60174"/>
                      </a:cubicBezTo>
                      <a:cubicBezTo>
                        <a:pt x="58745" y="61603"/>
                        <a:pt x="56936" y="62270"/>
                        <a:pt x="55126" y="6227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50" name="Grafik 3844">
                  <a:extLst>
                    <a:ext uri="{FF2B5EF4-FFF2-40B4-BE49-F238E27FC236}">
                      <a16:creationId xmlns:a16="http://schemas.microsoft.com/office/drawing/2014/main" id="{F9C753C4-D0DF-2666-B358-BC2B80AEBA42}"/>
                    </a:ext>
                  </a:extLst>
                </p:cNvPr>
                <p:cNvSpPr/>
                <p:nvPr/>
              </p:nvSpPr>
              <p:spPr bwMode="gray">
                <a:xfrm>
                  <a:off x="6151053" y="3545680"/>
                  <a:ext cx="42195" cy="14287"/>
                </a:xfrm>
                <a:custGeom>
                  <a:avLst/>
                  <a:gdLst>
                    <a:gd name="connsiteX0" fmla="*/ 35052 w 42195"/>
                    <a:gd name="connsiteY0" fmla="*/ 14288 h 14287"/>
                    <a:gd name="connsiteX1" fmla="*/ 7144 w 42195"/>
                    <a:gd name="connsiteY1" fmla="*/ 14288 h 14287"/>
                    <a:gd name="connsiteX2" fmla="*/ 0 w 42195"/>
                    <a:gd name="connsiteY2" fmla="*/ 7144 h 14287"/>
                    <a:gd name="connsiteX3" fmla="*/ 7144 w 42195"/>
                    <a:gd name="connsiteY3" fmla="*/ 0 h 14287"/>
                    <a:gd name="connsiteX4" fmla="*/ 35052 w 42195"/>
                    <a:gd name="connsiteY4" fmla="*/ 0 h 14287"/>
                    <a:gd name="connsiteX5" fmla="*/ 42196 w 42195"/>
                    <a:gd name="connsiteY5" fmla="*/ 7144 h 14287"/>
                    <a:gd name="connsiteX6" fmla="*/ 35052 w 42195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2195" h="14287">
                      <a:moveTo>
                        <a:pt x="3505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5052" y="0"/>
                      </a:lnTo>
                      <a:cubicBezTo>
                        <a:pt x="38957" y="0"/>
                        <a:pt x="42196" y="3239"/>
                        <a:pt x="42196" y="7144"/>
                      </a:cubicBezTo>
                      <a:cubicBezTo>
                        <a:pt x="42196" y="11049"/>
                        <a:pt x="38957" y="14288"/>
                        <a:pt x="3505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51" name="Grafik 3844">
                  <a:extLst>
                    <a:ext uri="{FF2B5EF4-FFF2-40B4-BE49-F238E27FC236}">
                      <a16:creationId xmlns:a16="http://schemas.microsoft.com/office/drawing/2014/main" id="{2FCF2B7E-6261-8719-D677-7AE3E0C2637A}"/>
                    </a:ext>
                  </a:extLst>
                </p:cNvPr>
                <p:cNvSpPr/>
                <p:nvPr/>
              </p:nvSpPr>
              <p:spPr bwMode="gray">
                <a:xfrm>
                  <a:off x="6178962" y="3517772"/>
                  <a:ext cx="14287" cy="42195"/>
                </a:xfrm>
                <a:custGeom>
                  <a:avLst/>
                  <a:gdLst>
                    <a:gd name="connsiteX0" fmla="*/ 7144 w 14287"/>
                    <a:gd name="connsiteY0" fmla="*/ 42196 h 42195"/>
                    <a:gd name="connsiteX1" fmla="*/ 0 w 14287"/>
                    <a:gd name="connsiteY1" fmla="*/ 35052 h 42195"/>
                    <a:gd name="connsiteX2" fmla="*/ 0 w 14287"/>
                    <a:gd name="connsiteY2" fmla="*/ 7144 h 42195"/>
                    <a:gd name="connsiteX3" fmla="*/ 7144 w 14287"/>
                    <a:gd name="connsiteY3" fmla="*/ 0 h 42195"/>
                    <a:gd name="connsiteX4" fmla="*/ 14288 w 14287"/>
                    <a:gd name="connsiteY4" fmla="*/ 7144 h 42195"/>
                    <a:gd name="connsiteX5" fmla="*/ 14288 w 14287"/>
                    <a:gd name="connsiteY5" fmla="*/ 35052 h 42195"/>
                    <a:gd name="connsiteX6" fmla="*/ 7144 w 14287"/>
                    <a:gd name="connsiteY6" fmla="*/ 42196 h 42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2195">
                      <a:moveTo>
                        <a:pt x="7144" y="42196"/>
                      </a:moveTo>
                      <a:cubicBezTo>
                        <a:pt x="3239" y="42196"/>
                        <a:pt x="0" y="38957"/>
                        <a:pt x="0" y="35052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5052"/>
                      </a:lnTo>
                      <a:cubicBezTo>
                        <a:pt x="14288" y="38957"/>
                        <a:pt x="11049" y="42196"/>
                        <a:pt x="7144" y="4219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848" name="Grafik 3844">
                <a:extLst>
                  <a:ext uri="{FF2B5EF4-FFF2-40B4-BE49-F238E27FC236}">
                    <a16:creationId xmlns:a16="http://schemas.microsoft.com/office/drawing/2014/main" id="{57272237-C648-4E39-82BD-CDF6D03A48ED}"/>
                  </a:ext>
                </a:extLst>
              </p:cNvPr>
              <p:cNvSpPr/>
              <p:nvPr/>
            </p:nvSpPr>
            <p:spPr bwMode="gray">
              <a:xfrm>
                <a:off x="6014370" y="3413950"/>
                <a:ext cx="90296" cy="90297"/>
              </a:xfrm>
              <a:custGeom>
                <a:avLst/>
                <a:gdLst>
                  <a:gd name="connsiteX0" fmla="*/ 45148 w 90296"/>
                  <a:gd name="connsiteY0" fmla="*/ 90297 h 90297"/>
                  <a:gd name="connsiteX1" fmla="*/ 0 w 90296"/>
                  <a:gd name="connsiteY1" fmla="*/ 45148 h 90297"/>
                  <a:gd name="connsiteX2" fmla="*/ 45148 w 90296"/>
                  <a:gd name="connsiteY2" fmla="*/ 0 h 90297"/>
                  <a:gd name="connsiteX3" fmla="*/ 90297 w 90296"/>
                  <a:gd name="connsiteY3" fmla="*/ 45148 h 90297"/>
                  <a:gd name="connsiteX4" fmla="*/ 45148 w 90296"/>
                  <a:gd name="connsiteY4" fmla="*/ 90297 h 90297"/>
                  <a:gd name="connsiteX5" fmla="*/ 45148 w 90296"/>
                  <a:gd name="connsiteY5" fmla="*/ 14288 h 90297"/>
                  <a:gd name="connsiteX6" fmla="*/ 14288 w 90296"/>
                  <a:gd name="connsiteY6" fmla="*/ 45148 h 90297"/>
                  <a:gd name="connsiteX7" fmla="*/ 45148 w 90296"/>
                  <a:gd name="connsiteY7" fmla="*/ 76010 h 90297"/>
                  <a:gd name="connsiteX8" fmla="*/ 76009 w 90296"/>
                  <a:gd name="connsiteY8" fmla="*/ 45148 h 90297"/>
                  <a:gd name="connsiteX9" fmla="*/ 45148 w 90296"/>
                  <a:gd name="connsiteY9" fmla="*/ 14288 h 902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0296" h="90297">
                    <a:moveTo>
                      <a:pt x="45148" y="90297"/>
                    </a:moveTo>
                    <a:cubicBezTo>
                      <a:pt x="20288" y="90297"/>
                      <a:pt x="0" y="70009"/>
                      <a:pt x="0" y="45148"/>
                    </a:cubicBezTo>
                    <a:cubicBezTo>
                      <a:pt x="0" y="20288"/>
                      <a:pt x="20288" y="0"/>
                      <a:pt x="45148" y="0"/>
                    </a:cubicBezTo>
                    <a:cubicBezTo>
                      <a:pt x="70009" y="0"/>
                      <a:pt x="90297" y="20288"/>
                      <a:pt x="90297" y="45148"/>
                    </a:cubicBezTo>
                    <a:cubicBezTo>
                      <a:pt x="90297" y="70104"/>
                      <a:pt x="70009" y="90297"/>
                      <a:pt x="45148" y="90297"/>
                    </a:cubicBezTo>
                    <a:close/>
                    <a:moveTo>
                      <a:pt x="45148" y="14288"/>
                    </a:moveTo>
                    <a:cubicBezTo>
                      <a:pt x="28099" y="14288"/>
                      <a:pt x="14288" y="28099"/>
                      <a:pt x="14288" y="45148"/>
                    </a:cubicBezTo>
                    <a:cubicBezTo>
                      <a:pt x="14288" y="62198"/>
                      <a:pt x="28099" y="76010"/>
                      <a:pt x="45148" y="76010"/>
                    </a:cubicBezTo>
                    <a:cubicBezTo>
                      <a:pt x="62198" y="76010"/>
                      <a:pt x="76009" y="62198"/>
                      <a:pt x="76009" y="45148"/>
                    </a:cubicBezTo>
                    <a:cubicBezTo>
                      <a:pt x="76009" y="28194"/>
                      <a:pt x="62103" y="14288"/>
                      <a:pt x="45148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861" name="Grafik 3846">
            <a:extLst>
              <a:ext uri="{FF2B5EF4-FFF2-40B4-BE49-F238E27FC236}">
                <a16:creationId xmlns:a16="http://schemas.microsoft.com/office/drawing/2014/main" id="{03ACEBB6-5495-4285-D809-055807AC6C42}"/>
              </a:ext>
            </a:extLst>
          </p:cNvPr>
          <p:cNvGrpSpPr/>
          <p:nvPr/>
        </p:nvGrpSpPr>
        <p:grpSpPr bwMode="gray">
          <a:xfrm>
            <a:off x="9942167" y="4014689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862" name="Grafik 3846">
              <a:extLst>
                <a:ext uri="{FF2B5EF4-FFF2-40B4-BE49-F238E27FC236}">
                  <a16:creationId xmlns:a16="http://schemas.microsoft.com/office/drawing/2014/main" id="{9A3B13A8-0C3A-DC1A-ABA5-816266323DC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876" name="Grafik 3846">
                <a:extLst>
                  <a:ext uri="{FF2B5EF4-FFF2-40B4-BE49-F238E27FC236}">
                    <a16:creationId xmlns:a16="http://schemas.microsoft.com/office/drawing/2014/main" id="{1B1C7C56-8DC2-968C-164E-60F500482975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77" name="Grafik 3846">
                <a:extLst>
                  <a:ext uri="{FF2B5EF4-FFF2-40B4-BE49-F238E27FC236}">
                    <a16:creationId xmlns:a16="http://schemas.microsoft.com/office/drawing/2014/main" id="{676589E2-3E67-4084-1857-277CCA12648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78" name="Grafik 3846">
                <a:extLst>
                  <a:ext uri="{FF2B5EF4-FFF2-40B4-BE49-F238E27FC236}">
                    <a16:creationId xmlns:a16="http://schemas.microsoft.com/office/drawing/2014/main" id="{FF9812E6-4E00-D40E-08FF-2DE17C1FCF85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79" name="Grafik 3846">
                <a:extLst>
                  <a:ext uri="{FF2B5EF4-FFF2-40B4-BE49-F238E27FC236}">
                    <a16:creationId xmlns:a16="http://schemas.microsoft.com/office/drawing/2014/main" id="{62FF64A9-6F0B-AA96-3F3D-93C15F608F33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80" name="Grafik 3846">
                <a:extLst>
                  <a:ext uri="{FF2B5EF4-FFF2-40B4-BE49-F238E27FC236}">
                    <a16:creationId xmlns:a16="http://schemas.microsoft.com/office/drawing/2014/main" id="{201EE8D0-A481-4D44-DFE1-80BC037E1E4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63" name="Grafik 3846">
              <a:extLst>
                <a:ext uri="{FF2B5EF4-FFF2-40B4-BE49-F238E27FC236}">
                  <a16:creationId xmlns:a16="http://schemas.microsoft.com/office/drawing/2014/main" id="{786E6AB2-4A3D-557E-ECA8-5A9A7CF3E075}"/>
                </a:ext>
              </a:extLst>
            </p:cNvPr>
            <p:cNvGrpSpPr/>
            <p:nvPr/>
          </p:nvGrpSpPr>
          <p:grpSpPr bwMode="gray">
            <a:xfrm>
              <a:off x="5890164" y="3339202"/>
              <a:ext cx="342304" cy="239910"/>
              <a:chOff x="5890164" y="3339202"/>
              <a:chExt cx="342304" cy="239910"/>
            </a:xfrm>
            <a:grpFill/>
          </p:grpSpPr>
          <p:grpSp>
            <p:nvGrpSpPr>
              <p:cNvPr id="864" name="Grafik 3846">
                <a:extLst>
                  <a:ext uri="{FF2B5EF4-FFF2-40B4-BE49-F238E27FC236}">
                    <a16:creationId xmlns:a16="http://schemas.microsoft.com/office/drawing/2014/main" id="{6B0C0619-B158-B83D-641F-B0DEAE0E7EFC}"/>
                  </a:ext>
                </a:extLst>
              </p:cNvPr>
              <p:cNvGrpSpPr/>
              <p:nvPr/>
            </p:nvGrpSpPr>
            <p:grpSpPr bwMode="gray">
              <a:xfrm>
                <a:off x="5890164" y="3339202"/>
                <a:ext cx="93035" cy="53697"/>
                <a:chOff x="5890164" y="3339202"/>
                <a:chExt cx="93035" cy="53697"/>
              </a:xfrm>
              <a:grpFill/>
            </p:grpSpPr>
            <p:sp>
              <p:nvSpPr>
                <p:cNvPr id="873" name="Grafik 3846">
                  <a:extLst>
                    <a:ext uri="{FF2B5EF4-FFF2-40B4-BE49-F238E27FC236}">
                      <a16:creationId xmlns:a16="http://schemas.microsoft.com/office/drawing/2014/main" id="{34AECBF9-74F7-0E59-C2CB-7E0B816E5374}"/>
                    </a:ext>
                  </a:extLst>
                </p:cNvPr>
                <p:cNvSpPr/>
                <p:nvPr/>
              </p:nvSpPr>
              <p:spPr bwMode="gray">
                <a:xfrm>
                  <a:off x="5890164" y="3358895"/>
                  <a:ext cx="82105" cy="14287"/>
                </a:xfrm>
                <a:custGeom>
                  <a:avLst/>
                  <a:gdLst>
                    <a:gd name="connsiteX0" fmla="*/ 74962 w 82105"/>
                    <a:gd name="connsiteY0" fmla="*/ 14288 h 14287"/>
                    <a:gd name="connsiteX1" fmla="*/ 7144 w 82105"/>
                    <a:gd name="connsiteY1" fmla="*/ 14288 h 14287"/>
                    <a:gd name="connsiteX2" fmla="*/ 0 w 82105"/>
                    <a:gd name="connsiteY2" fmla="*/ 7144 h 14287"/>
                    <a:gd name="connsiteX3" fmla="*/ 7144 w 82105"/>
                    <a:gd name="connsiteY3" fmla="*/ 0 h 14287"/>
                    <a:gd name="connsiteX4" fmla="*/ 74962 w 82105"/>
                    <a:gd name="connsiteY4" fmla="*/ 0 h 14287"/>
                    <a:gd name="connsiteX5" fmla="*/ 82106 w 82105"/>
                    <a:gd name="connsiteY5" fmla="*/ 7144 h 14287"/>
                    <a:gd name="connsiteX6" fmla="*/ 74962 w 82105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2105" h="14287">
                      <a:moveTo>
                        <a:pt x="7496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4962" y="0"/>
                      </a:lnTo>
                      <a:cubicBezTo>
                        <a:pt x="78867" y="0"/>
                        <a:pt x="82106" y="3239"/>
                        <a:pt x="82106" y="7144"/>
                      </a:cubicBezTo>
                      <a:cubicBezTo>
                        <a:pt x="82106" y="11049"/>
                        <a:pt x="78962" y="14288"/>
                        <a:pt x="7496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74" name="Grafik 3846">
                  <a:extLst>
                    <a:ext uri="{FF2B5EF4-FFF2-40B4-BE49-F238E27FC236}">
                      <a16:creationId xmlns:a16="http://schemas.microsoft.com/office/drawing/2014/main" id="{AD4A3776-FA4B-79A7-B2ED-5C6FA135E56A}"/>
                    </a:ext>
                  </a:extLst>
                </p:cNvPr>
                <p:cNvSpPr/>
                <p:nvPr/>
              </p:nvSpPr>
              <p:spPr bwMode="gray">
                <a:xfrm>
                  <a:off x="5949243" y="3339202"/>
                  <a:ext cx="33956" cy="33980"/>
                </a:xfrm>
                <a:custGeom>
                  <a:avLst/>
                  <a:gdLst>
                    <a:gd name="connsiteX0" fmla="*/ 26837 w 33956"/>
                    <a:gd name="connsiteY0" fmla="*/ 33980 h 33980"/>
                    <a:gd name="connsiteX1" fmla="*/ 21788 w 33956"/>
                    <a:gd name="connsiteY1" fmla="*/ 31885 h 33980"/>
                    <a:gd name="connsiteX2" fmla="*/ 2072 w 33956"/>
                    <a:gd name="connsiteY2" fmla="*/ 12168 h 33980"/>
                    <a:gd name="connsiteX3" fmla="*/ 2072 w 33956"/>
                    <a:gd name="connsiteY3" fmla="*/ 2072 h 33980"/>
                    <a:gd name="connsiteX4" fmla="*/ 12168 w 33956"/>
                    <a:gd name="connsiteY4" fmla="*/ 2072 h 33980"/>
                    <a:gd name="connsiteX5" fmla="*/ 31885 w 33956"/>
                    <a:gd name="connsiteY5" fmla="*/ 21788 h 33980"/>
                    <a:gd name="connsiteX6" fmla="*/ 31885 w 33956"/>
                    <a:gd name="connsiteY6" fmla="*/ 31885 h 33980"/>
                    <a:gd name="connsiteX7" fmla="*/ 26837 w 33956"/>
                    <a:gd name="connsiteY7" fmla="*/ 33980 h 33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56" h="33980">
                      <a:moveTo>
                        <a:pt x="26837" y="33980"/>
                      </a:moveTo>
                      <a:cubicBezTo>
                        <a:pt x="25027" y="33980"/>
                        <a:pt x="23217" y="33314"/>
                        <a:pt x="21788" y="3188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1885" y="21788"/>
                      </a:lnTo>
                      <a:cubicBezTo>
                        <a:pt x="34647" y="24551"/>
                        <a:pt x="34647" y="29123"/>
                        <a:pt x="31885" y="31885"/>
                      </a:cubicBezTo>
                      <a:cubicBezTo>
                        <a:pt x="30456" y="33314"/>
                        <a:pt x="28646" y="33980"/>
                        <a:pt x="26837" y="339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75" name="Grafik 3846">
                  <a:extLst>
                    <a:ext uri="{FF2B5EF4-FFF2-40B4-BE49-F238E27FC236}">
                      <a16:creationId xmlns:a16="http://schemas.microsoft.com/office/drawing/2014/main" id="{5E6BC27C-AECF-FE50-67B4-1E07267C62B6}"/>
                    </a:ext>
                  </a:extLst>
                </p:cNvPr>
                <p:cNvSpPr/>
                <p:nvPr/>
              </p:nvSpPr>
              <p:spPr bwMode="gray">
                <a:xfrm>
                  <a:off x="5949243" y="3358919"/>
                  <a:ext cx="33956" cy="33980"/>
                </a:xfrm>
                <a:custGeom>
                  <a:avLst/>
                  <a:gdLst>
                    <a:gd name="connsiteX0" fmla="*/ 7120 w 33956"/>
                    <a:gd name="connsiteY0" fmla="*/ 33980 h 33980"/>
                    <a:gd name="connsiteX1" fmla="*/ 2072 w 33956"/>
                    <a:gd name="connsiteY1" fmla="*/ 31885 h 33980"/>
                    <a:gd name="connsiteX2" fmla="*/ 2072 w 33956"/>
                    <a:gd name="connsiteY2" fmla="*/ 21788 h 33980"/>
                    <a:gd name="connsiteX3" fmla="*/ 21788 w 33956"/>
                    <a:gd name="connsiteY3" fmla="*/ 2072 h 33980"/>
                    <a:gd name="connsiteX4" fmla="*/ 31885 w 33956"/>
                    <a:gd name="connsiteY4" fmla="*/ 2072 h 33980"/>
                    <a:gd name="connsiteX5" fmla="*/ 31885 w 33956"/>
                    <a:gd name="connsiteY5" fmla="*/ 12168 h 33980"/>
                    <a:gd name="connsiteX6" fmla="*/ 12168 w 33956"/>
                    <a:gd name="connsiteY6" fmla="*/ 31885 h 33980"/>
                    <a:gd name="connsiteX7" fmla="*/ 7120 w 33956"/>
                    <a:gd name="connsiteY7" fmla="*/ 33980 h 33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56" h="33980">
                      <a:moveTo>
                        <a:pt x="7120" y="33980"/>
                      </a:moveTo>
                      <a:cubicBezTo>
                        <a:pt x="5310" y="33980"/>
                        <a:pt x="3500" y="33314"/>
                        <a:pt x="2072" y="31885"/>
                      </a:cubicBezTo>
                      <a:cubicBezTo>
                        <a:pt x="-691" y="29123"/>
                        <a:pt x="-691" y="24551"/>
                        <a:pt x="2072" y="21788"/>
                      </a:cubicBezTo>
                      <a:lnTo>
                        <a:pt x="21788" y="2072"/>
                      </a:lnTo>
                      <a:cubicBezTo>
                        <a:pt x="24551" y="-691"/>
                        <a:pt x="29123" y="-691"/>
                        <a:pt x="31885" y="2072"/>
                      </a:cubicBezTo>
                      <a:cubicBezTo>
                        <a:pt x="34647" y="4834"/>
                        <a:pt x="34647" y="9406"/>
                        <a:pt x="31885" y="12168"/>
                      </a:cubicBezTo>
                      <a:lnTo>
                        <a:pt x="12168" y="31885"/>
                      </a:lnTo>
                      <a:cubicBezTo>
                        <a:pt x="10739" y="33314"/>
                        <a:pt x="8930" y="33980"/>
                        <a:pt x="7120" y="339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865" name="Grafik 3846">
                <a:extLst>
                  <a:ext uri="{FF2B5EF4-FFF2-40B4-BE49-F238E27FC236}">
                    <a16:creationId xmlns:a16="http://schemas.microsoft.com/office/drawing/2014/main" id="{24F64F6A-068F-A59C-C521-A01552AF1F8D}"/>
                  </a:ext>
                </a:extLst>
              </p:cNvPr>
              <p:cNvGrpSpPr/>
              <p:nvPr/>
            </p:nvGrpSpPr>
            <p:grpSpPr bwMode="gray">
              <a:xfrm>
                <a:off x="6139433" y="3525416"/>
                <a:ext cx="93035" cy="53697"/>
                <a:chOff x="6139433" y="3525416"/>
                <a:chExt cx="93035" cy="53697"/>
              </a:xfrm>
              <a:grpFill/>
            </p:grpSpPr>
            <p:sp>
              <p:nvSpPr>
                <p:cNvPr id="870" name="Grafik 3846">
                  <a:extLst>
                    <a:ext uri="{FF2B5EF4-FFF2-40B4-BE49-F238E27FC236}">
                      <a16:creationId xmlns:a16="http://schemas.microsoft.com/office/drawing/2014/main" id="{9E28C89C-B2E0-4E76-AD4D-FF51FE7789FD}"/>
                    </a:ext>
                  </a:extLst>
                </p:cNvPr>
                <p:cNvSpPr/>
                <p:nvPr/>
              </p:nvSpPr>
              <p:spPr bwMode="gray">
                <a:xfrm>
                  <a:off x="6139433" y="3545109"/>
                  <a:ext cx="82105" cy="14287"/>
                </a:xfrm>
                <a:custGeom>
                  <a:avLst/>
                  <a:gdLst>
                    <a:gd name="connsiteX0" fmla="*/ 74962 w 82105"/>
                    <a:gd name="connsiteY0" fmla="*/ 14288 h 14287"/>
                    <a:gd name="connsiteX1" fmla="*/ 7144 w 82105"/>
                    <a:gd name="connsiteY1" fmla="*/ 14288 h 14287"/>
                    <a:gd name="connsiteX2" fmla="*/ 0 w 82105"/>
                    <a:gd name="connsiteY2" fmla="*/ 7144 h 14287"/>
                    <a:gd name="connsiteX3" fmla="*/ 7144 w 82105"/>
                    <a:gd name="connsiteY3" fmla="*/ 0 h 14287"/>
                    <a:gd name="connsiteX4" fmla="*/ 74962 w 82105"/>
                    <a:gd name="connsiteY4" fmla="*/ 0 h 14287"/>
                    <a:gd name="connsiteX5" fmla="*/ 82106 w 82105"/>
                    <a:gd name="connsiteY5" fmla="*/ 7144 h 14287"/>
                    <a:gd name="connsiteX6" fmla="*/ 74962 w 82105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2105" h="14287">
                      <a:moveTo>
                        <a:pt x="7496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4962" y="0"/>
                      </a:lnTo>
                      <a:cubicBezTo>
                        <a:pt x="78867" y="0"/>
                        <a:pt x="82106" y="3239"/>
                        <a:pt x="82106" y="7144"/>
                      </a:cubicBezTo>
                      <a:cubicBezTo>
                        <a:pt x="82106" y="11049"/>
                        <a:pt x="78867" y="14288"/>
                        <a:pt x="7496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71" name="Grafik 3846">
                  <a:extLst>
                    <a:ext uri="{FF2B5EF4-FFF2-40B4-BE49-F238E27FC236}">
                      <a16:creationId xmlns:a16="http://schemas.microsoft.com/office/drawing/2014/main" id="{622CCDAB-2B89-67D7-DB10-55896FD5D1F0}"/>
                    </a:ext>
                  </a:extLst>
                </p:cNvPr>
                <p:cNvSpPr/>
                <p:nvPr/>
              </p:nvSpPr>
              <p:spPr bwMode="gray">
                <a:xfrm>
                  <a:off x="6198512" y="3525416"/>
                  <a:ext cx="33956" cy="33980"/>
                </a:xfrm>
                <a:custGeom>
                  <a:avLst/>
                  <a:gdLst>
                    <a:gd name="connsiteX0" fmla="*/ 26837 w 33956"/>
                    <a:gd name="connsiteY0" fmla="*/ 33980 h 33980"/>
                    <a:gd name="connsiteX1" fmla="*/ 21788 w 33956"/>
                    <a:gd name="connsiteY1" fmla="*/ 31885 h 33980"/>
                    <a:gd name="connsiteX2" fmla="*/ 2072 w 33956"/>
                    <a:gd name="connsiteY2" fmla="*/ 12168 h 33980"/>
                    <a:gd name="connsiteX3" fmla="*/ 2072 w 33956"/>
                    <a:gd name="connsiteY3" fmla="*/ 2072 h 33980"/>
                    <a:gd name="connsiteX4" fmla="*/ 12168 w 33956"/>
                    <a:gd name="connsiteY4" fmla="*/ 2072 h 33980"/>
                    <a:gd name="connsiteX5" fmla="*/ 31885 w 33956"/>
                    <a:gd name="connsiteY5" fmla="*/ 21788 h 33980"/>
                    <a:gd name="connsiteX6" fmla="*/ 31885 w 33956"/>
                    <a:gd name="connsiteY6" fmla="*/ 31885 h 33980"/>
                    <a:gd name="connsiteX7" fmla="*/ 26837 w 33956"/>
                    <a:gd name="connsiteY7" fmla="*/ 33980 h 33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56" h="33980">
                      <a:moveTo>
                        <a:pt x="26837" y="33980"/>
                      </a:moveTo>
                      <a:cubicBezTo>
                        <a:pt x="25027" y="33980"/>
                        <a:pt x="23217" y="33314"/>
                        <a:pt x="21788" y="3188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1885" y="21788"/>
                      </a:lnTo>
                      <a:cubicBezTo>
                        <a:pt x="34647" y="24551"/>
                        <a:pt x="34647" y="29123"/>
                        <a:pt x="31885" y="31885"/>
                      </a:cubicBezTo>
                      <a:cubicBezTo>
                        <a:pt x="30456" y="33218"/>
                        <a:pt x="28646" y="33980"/>
                        <a:pt x="26837" y="339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72" name="Grafik 3846">
                  <a:extLst>
                    <a:ext uri="{FF2B5EF4-FFF2-40B4-BE49-F238E27FC236}">
                      <a16:creationId xmlns:a16="http://schemas.microsoft.com/office/drawing/2014/main" id="{1C792A4C-A0AA-D919-E67C-0CCB2265A41E}"/>
                    </a:ext>
                  </a:extLst>
                </p:cNvPr>
                <p:cNvSpPr/>
                <p:nvPr/>
              </p:nvSpPr>
              <p:spPr bwMode="gray">
                <a:xfrm>
                  <a:off x="6198512" y="3545133"/>
                  <a:ext cx="33956" cy="33980"/>
                </a:xfrm>
                <a:custGeom>
                  <a:avLst/>
                  <a:gdLst>
                    <a:gd name="connsiteX0" fmla="*/ 7120 w 33956"/>
                    <a:gd name="connsiteY0" fmla="*/ 33980 h 33980"/>
                    <a:gd name="connsiteX1" fmla="*/ 2072 w 33956"/>
                    <a:gd name="connsiteY1" fmla="*/ 31885 h 33980"/>
                    <a:gd name="connsiteX2" fmla="*/ 2072 w 33956"/>
                    <a:gd name="connsiteY2" fmla="*/ 21788 h 33980"/>
                    <a:gd name="connsiteX3" fmla="*/ 21788 w 33956"/>
                    <a:gd name="connsiteY3" fmla="*/ 2072 h 33980"/>
                    <a:gd name="connsiteX4" fmla="*/ 31885 w 33956"/>
                    <a:gd name="connsiteY4" fmla="*/ 2072 h 33980"/>
                    <a:gd name="connsiteX5" fmla="*/ 31885 w 33956"/>
                    <a:gd name="connsiteY5" fmla="*/ 12168 h 33980"/>
                    <a:gd name="connsiteX6" fmla="*/ 12168 w 33956"/>
                    <a:gd name="connsiteY6" fmla="*/ 31885 h 33980"/>
                    <a:gd name="connsiteX7" fmla="*/ 7120 w 33956"/>
                    <a:gd name="connsiteY7" fmla="*/ 33980 h 33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56" h="33980">
                      <a:moveTo>
                        <a:pt x="7120" y="33980"/>
                      </a:moveTo>
                      <a:cubicBezTo>
                        <a:pt x="5310" y="33980"/>
                        <a:pt x="3500" y="33314"/>
                        <a:pt x="2072" y="31885"/>
                      </a:cubicBezTo>
                      <a:cubicBezTo>
                        <a:pt x="-691" y="29123"/>
                        <a:pt x="-691" y="24551"/>
                        <a:pt x="2072" y="21788"/>
                      </a:cubicBezTo>
                      <a:lnTo>
                        <a:pt x="21788" y="2072"/>
                      </a:lnTo>
                      <a:cubicBezTo>
                        <a:pt x="24551" y="-691"/>
                        <a:pt x="29123" y="-691"/>
                        <a:pt x="31885" y="2072"/>
                      </a:cubicBezTo>
                      <a:cubicBezTo>
                        <a:pt x="34647" y="4834"/>
                        <a:pt x="34647" y="9406"/>
                        <a:pt x="31885" y="12168"/>
                      </a:cubicBezTo>
                      <a:lnTo>
                        <a:pt x="12168" y="31885"/>
                      </a:lnTo>
                      <a:cubicBezTo>
                        <a:pt x="10739" y="33218"/>
                        <a:pt x="8930" y="33980"/>
                        <a:pt x="7120" y="339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866" name="Grafik 3846">
                <a:extLst>
                  <a:ext uri="{FF2B5EF4-FFF2-40B4-BE49-F238E27FC236}">
                    <a16:creationId xmlns:a16="http://schemas.microsoft.com/office/drawing/2014/main" id="{6F583B7D-1CD1-9898-C6EC-8D6C988FABA0}"/>
                  </a:ext>
                </a:extLst>
              </p:cNvPr>
              <p:cNvGrpSpPr/>
              <p:nvPr/>
            </p:nvGrpSpPr>
            <p:grpSpPr bwMode="gray">
              <a:xfrm>
                <a:off x="5989319" y="3359181"/>
                <a:ext cx="144398" cy="200215"/>
                <a:chOff x="5989319" y="3359181"/>
                <a:chExt cx="144398" cy="200215"/>
              </a:xfrm>
              <a:grpFill/>
            </p:grpSpPr>
            <p:sp>
              <p:nvSpPr>
                <p:cNvPr id="867" name="Grafik 3846">
                  <a:extLst>
                    <a:ext uri="{FF2B5EF4-FFF2-40B4-BE49-F238E27FC236}">
                      <a16:creationId xmlns:a16="http://schemas.microsoft.com/office/drawing/2014/main" id="{C0791AAD-0965-6CF5-9A44-5BD4943507F3}"/>
                    </a:ext>
                  </a:extLst>
                </p:cNvPr>
                <p:cNvSpPr/>
                <p:nvPr/>
              </p:nvSpPr>
              <p:spPr bwMode="gray">
                <a:xfrm>
                  <a:off x="6019513" y="3389946"/>
                  <a:ext cx="84105" cy="138207"/>
                </a:xfrm>
                <a:custGeom>
                  <a:avLst/>
                  <a:gdLst>
                    <a:gd name="connsiteX0" fmla="*/ 18098 w 84105"/>
                    <a:gd name="connsiteY0" fmla="*/ 138208 h 138207"/>
                    <a:gd name="connsiteX1" fmla="*/ 7144 w 84105"/>
                    <a:gd name="connsiteY1" fmla="*/ 138208 h 138207"/>
                    <a:gd name="connsiteX2" fmla="*/ 0 w 84105"/>
                    <a:gd name="connsiteY2" fmla="*/ 131064 h 138207"/>
                    <a:gd name="connsiteX3" fmla="*/ 0 w 84105"/>
                    <a:gd name="connsiteY3" fmla="*/ 7144 h 138207"/>
                    <a:gd name="connsiteX4" fmla="*/ 7144 w 84105"/>
                    <a:gd name="connsiteY4" fmla="*/ 0 h 138207"/>
                    <a:gd name="connsiteX5" fmla="*/ 76962 w 84105"/>
                    <a:gd name="connsiteY5" fmla="*/ 0 h 138207"/>
                    <a:gd name="connsiteX6" fmla="*/ 84106 w 84105"/>
                    <a:gd name="connsiteY6" fmla="*/ 7144 h 138207"/>
                    <a:gd name="connsiteX7" fmla="*/ 84106 w 84105"/>
                    <a:gd name="connsiteY7" fmla="*/ 18574 h 138207"/>
                    <a:gd name="connsiteX8" fmla="*/ 76962 w 84105"/>
                    <a:gd name="connsiteY8" fmla="*/ 25718 h 138207"/>
                    <a:gd name="connsiteX9" fmla="*/ 69818 w 84105"/>
                    <a:gd name="connsiteY9" fmla="*/ 18574 h 138207"/>
                    <a:gd name="connsiteX10" fmla="*/ 69818 w 84105"/>
                    <a:gd name="connsiteY10" fmla="*/ 14288 h 138207"/>
                    <a:gd name="connsiteX11" fmla="*/ 14288 w 84105"/>
                    <a:gd name="connsiteY11" fmla="*/ 14288 h 138207"/>
                    <a:gd name="connsiteX12" fmla="*/ 14288 w 84105"/>
                    <a:gd name="connsiteY12" fmla="*/ 123920 h 138207"/>
                    <a:gd name="connsiteX13" fmla="*/ 18098 w 84105"/>
                    <a:gd name="connsiteY13" fmla="*/ 123920 h 138207"/>
                    <a:gd name="connsiteX14" fmla="*/ 25241 w 84105"/>
                    <a:gd name="connsiteY14" fmla="*/ 131064 h 138207"/>
                    <a:gd name="connsiteX15" fmla="*/ 18098 w 84105"/>
                    <a:gd name="connsiteY15" fmla="*/ 138208 h 1382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84105" h="138207">
                      <a:moveTo>
                        <a:pt x="18098" y="138208"/>
                      </a:moveTo>
                      <a:lnTo>
                        <a:pt x="7144" y="138208"/>
                      </a:lnTo>
                      <a:cubicBezTo>
                        <a:pt x="3239" y="138208"/>
                        <a:pt x="0" y="134969"/>
                        <a:pt x="0" y="13106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6962" y="0"/>
                      </a:lnTo>
                      <a:cubicBezTo>
                        <a:pt x="80867" y="0"/>
                        <a:pt x="84106" y="3239"/>
                        <a:pt x="84106" y="7144"/>
                      </a:cubicBezTo>
                      <a:lnTo>
                        <a:pt x="84106" y="18574"/>
                      </a:lnTo>
                      <a:cubicBezTo>
                        <a:pt x="84106" y="22479"/>
                        <a:pt x="80867" y="25718"/>
                        <a:pt x="76962" y="25718"/>
                      </a:cubicBezTo>
                      <a:cubicBezTo>
                        <a:pt x="73057" y="25718"/>
                        <a:pt x="69818" y="22479"/>
                        <a:pt x="69818" y="18574"/>
                      </a:cubicBezTo>
                      <a:lnTo>
                        <a:pt x="69818" y="14288"/>
                      </a:lnTo>
                      <a:lnTo>
                        <a:pt x="14288" y="14288"/>
                      </a:lnTo>
                      <a:lnTo>
                        <a:pt x="14288" y="123920"/>
                      </a:lnTo>
                      <a:lnTo>
                        <a:pt x="18098" y="123920"/>
                      </a:lnTo>
                      <a:cubicBezTo>
                        <a:pt x="22003" y="123920"/>
                        <a:pt x="25241" y="127159"/>
                        <a:pt x="25241" y="131064"/>
                      </a:cubicBezTo>
                      <a:cubicBezTo>
                        <a:pt x="25241" y="134969"/>
                        <a:pt x="22003" y="138208"/>
                        <a:pt x="18098" y="13820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68" name="Grafik 3846">
                  <a:extLst>
                    <a:ext uri="{FF2B5EF4-FFF2-40B4-BE49-F238E27FC236}">
                      <a16:creationId xmlns:a16="http://schemas.microsoft.com/office/drawing/2014/main" id="{764AC050-B02B-869A-A237-068BD5432B50}"/>
                    </a:ext>
                  </a:extLst>
                </p:cNvPr>
                <p:cNvSpPr/>
                <p:nvPr/>
              </p:nvSpPr>
              <p:spPr bwMode="gray">
                <a:xfrm>
                  <a:off x="5989319" y="3359181"/>
                  <a:ext cx="84105" cy="138207"/>
                </a:xfrm>
                <a:custGeom>
                  <a:avLst/>
                  <a:gdLst>
                    <a:gd name="connsiteX0" fmla="*/ 18098 w 84105"/>
                    <a:gd name="connsiteY0" fmla="*/ 138208 h 138207"/>
                    <a:gd name="connsiteX1" fmla="*/ 7144 w 84105"/>
                    <a:gd name="connsiteY1" fmla="*/ 138208 h 138207"/>
                    <a:gd name="connsiteX2" fmla="*/ 0 w 84105"/>
                    <a:gd name="connsiteY2" fmla="*/ 131064 h 138207"/>
                    <a:gd name="connsiteX3" fmla="*/ 0 w 84105"/>
                    <a:gd name="connsiteY3" fmla="*/ 7144 h 138207"/>
                    <a:gd name="connsiteX4" fmla="*/ 7144 w 84105"/>
                    <a:gd name="connsiteY4" fmla="*/ 0 h 138207"/>
                    <a:gd name="connsiteX5" fmla="*/ 76962 w 84105"/>
                    <a:gd name="connsiteY5" fmla="*/ 0 h 138207"/>
                    <a:gd name="connsiteX6" fmla="*/ 84106 w 84105"/>
                    <a:gd name="connsiteY6" fmla="*/ 7144 h 138207"/>
                    <a:gd name="connsiteX7" fmla="*/ 84106 w 84105"/>
                    <a:gd name="connsiteY7" fmla="*/ 18574 h 138207"/>
                    <a:gd name="connsiteX8" fmla="*/ 76962 w 84105"/>
                    <a:gd name="connsiteY8" fmla="*/ 25718 h 138207"/>
                    <a:gd name="connsiteX9" fmla="*/ 69818 w 84105"/>
                    <a:gd name="connsiteY9" fmla="*/ 18574 h 138207"/>
                    <a:gd name="connsiteX10" fmla="*/ 69818 w 84105"/>
                    <a:gd name="connsiteY10" fmla="*/ 14288 h 138207"/>
                    <a:gd name="connsiteX11" fmla="*/ 14287 w 84105"/>
                    <a:gd name="connsiteY11" fmla="*/ 14288 h 138207"/>
                    <a:gd name="connsiteX12" fmla="*/ 14287 w 84105"/>
                    <a:gd name="connsiteY12" fmla="*/ 123920 h 138207"/>
                    <a:gd name="connsiteX13" fmla="*/ 18098 w 84105"/>
                    <a:gd name="connsiteY13" fmla="*/ 123920 h 138207"/>
                    <a:gd name="connsiteX14" fmla="*/ 25241 w 84105"/>
                    <a:gd name="connsiteY14" fmla="*/ 131064 h 138207"/>
                    <a:gd name="connsiteX15" fmla="*/ 18098 w 84105"/>
                    <a:gd name="connsiteY15" fmla="*/ 138208 h 1382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84105" h="138207">
                      <a:moveTo>
                        <a:pt x="18098" y="138208"/>
                      </a:moveTo>
                      <a:lnTo>
                        <a:pt x="7144" y="138208"/>
                      </a:lnTo>
                      <a:cubicBezTo>
                        <a:pt x="3239" y="138208"/>
                        <a:pt x="0" y="134969"/>
                        <a:pt x="0" y="13106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6962" y="0"/>
                      </a:lnTo>
                      <a:cubicBezTo>
                        <a:pt x="80867" y="0"/>
                        <a:pt x="84106" y="3239"/>
                        <a:pt x="84106" y="7144"/>
                      </a:cubicBezTo>
                      <a:lnTo>
                        <a:pt x="84106" y="18574"/>
                      </a:lnTo>
                      <a:cubicBezTo>
                        <a:pt x="84106" y="22479"/>
                        <a:pt x="80867" y="25718"/>
                        <a:pt x="76962" y="25718"/>
                      </a:cubicBezTo>
                      <a:cubicBezTo>
                        <a:pt x="73057" y="25718"/>
                        <a:pt x="69818" y="22479"/>
                        <a:pt x="69818" y="18574"/>
                      </a:cubicBezTo>
                      <a:lnTo>
                        <a:pt x="69818" y="14288"/>
                      </a:lnTo>
                      <a:lnTo>
                        <a:pt x="14287" y="14288"/>
                      </a:lnTo>
                      <a:lnTo>
                        <a:pt x="14287" y="123920"/>
                      </a:lnTo>
                      <a:lnTo>
                        <a:pt x="18098" y="123920"/>
                      </a:lnTo>
                      <a:cubicBezTo>
                        <a:pt x="22003" y="123920"/>
                        <a:pt x="25241" y="127159"/>
                        <a:pt x="25241" y="131064"/>
                      </a:cubicBezTo>
                      <a:cubicBezTo>
                        <a:pt x="25241" y="134969"/>
                        <a:pt x="22003" y="138208"/>
                        <a:pt x="18098" y="13820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69" name="Grafik 3846">
                  <a:extLst>
                    <a:ext uri="{FF2B5EF4-FFF2-40B4-BE49-F238E27FC236}">
                      <a16:creationId xmlns:a16="http://schemas.microsoft.com/office/drawing/2014/main" id="{77EEBD61-4896-24E2-8FAA-1C24924B4A05}"/>
                    </a:ext>
                  </a:extLst>
                </p:cNvPr>
                <p:cNvSpPr/>
                <p:nvPr/>
              </p:nvSpPr>
              <p:spPr bwMode="gray">
                <a:xfrm>
                  <a:off x="6049612" y="3421189"/>
                  <a:ext cx="84105" cy="138207"/>
                </a:xfrm>
                <a:custGeom>
                  <a:avLst/>
                  <a:gdLst>
                    <a:gd name="connsiteX0" fmla="*/ 76962 w 84105"/>
                    <a:gd name="connsiteY0" fmla="*/ 138208 h 138207"/>
                    <a:gd name="connsiteX1" fmla="*/ 7144 w 84105"/>
                    <a:gd name="connsiteY1" fmla="*/ 138208 h 138207"/>
                    <a:gd name="connsiteX2" fmla="*/ 0 w 84105"/>
                    <a:gd name="connsiteY2" fmla="*/ 131064 h 138207"/>
                    <a:gd name="connsiteX3" fmla="*/ 0 w 84105"/>
                    <a:gd name="connsiteY3" fmla="*/ 7144 h 138207"/>
                    <a:gd name="connsiteX4" fmla="*/ 7144 w 84105"/>
                    <a:gd name="connsiteY4" fmla="*/ 0 h 138207"/>
                    <a:gd name="connsiteX5" fmla="*/ 76962 w 84105"/>
                    <a:gd name="connsiteY5" fmla="*/ 0 h 138207"/>
                    <a:gd name="connsiteX6" fmla="*/ 84106 w 84105"/>
                    <a:gd name="connsiteY6" fmla="*/ 7144 h 138207"/>
                    <a:gd name="connsiteX7" fmla="*/ 84106 w 84105"/>
                    <a:gd name="connsiteY7" fmla="*/ 131064 h 138207"/>
                    <a:gd name="connsiteX8" fmla="*/ 76962 w 84105"/>
                    <a:gd name="connsiteY8" fmla="*/ 138208 h 138207"/>
                    <a:gd name="connsiteX9" fmla="*/ 14383 w 84105"/>
                    <a:gd name="connsiteY9" fmla="*/ 123920 h 138207"/>
                    <a:gd name="connsiteX10" fmla="*/ 69914 w 84105"/>
                    <a:gd name="connsiteY10" fmla="*/ 123920 h 138207"/>
                    <a:gd name="connsiteX11" fmla="*/ 69914 w 84105"/>
                    <a:gd name="connsiteY11" fmla="*/ 14288 h 138207"/>
                    <a:gd name="connsiteX12" fmla="*/ 14383 w 84105"/>
                    <a:gd name="connsiteY12" fmla="*/ 14288 h 138207"/>
                    <a:gd name="connsiteX13" fmla="*/ 14383 w 84105"/>
                    <a:gd name="connsiteY13" fmla="*/ 123920 h 1382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84105" h="138207">
                      <a:moveTo>
                        <a:pt x="76962" y="138208"/>
                      </a:moveTo>
                      <a:lnTo>
                        <a:pt x="7144" y="138208"/>
                      </a:lnTo>
                      <a:cubicBezTo>
                        <a:pt x="3239" y="138208"/>
                        <a:pt x="0" y="134969"/>
                        <a:pt x="0" y="13106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6962" y="0"/>
                      </a:lnTo>
                      <a:cubicBezTo>
                        <a:pt x="80867" y="0"/>
                        <a:pt x="84106" y="3239"/>
                        <a:pt x="84106" y="7144"/>
                      </a:cubicBezTo>
                      <a:lnTo>
                        <a:pt x="84106" y="131064"/>
                      </a:lnTo>
                      <a:cubicBezTo>
                        <a:pt x="84106" y="134969"/>
                        <a:pt x="80963" y="138208"/>
                        <a:pt x="76962" y="138208"/>
                      </a:cubicBezTo>
                      <a:close/>
                      <a:moveTo>
                        <a:pt x="14383" y="123920"/>
                      </a:moveTo>
                      <a:lnTo>
                        <a:pt x="69914" y="123920"/>
                      </a:lnTo>
                      <a:lnTo>
                        <a:pt x="69914" y="14288"/>
                      </a:lnTo>
                      <a:lnTo>
                        <a:pt x="14383" y="14288"/>
                      </a:lnTo>
                      <a:lnTo>
                        <a:pt x="14383" y="12392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881" name="Group 880">
            <a:extLst>
              <a:ext uri="{FF2B5EF4-FFF2-40B4-BE49-F238E27FC236}">
                <a16:creationId xmlns:a16="http://schemas.microsoft.com/office/drawing/2014/main" id="{E7B9CE27-545B-E3E6-7399-E562B2CF53B1}"/>
              </a:ext>
            </a:extLst>
          </p:cNvPr>
          <p:cNvGrpSpPr/>
          <p:nvPr/>
        </p:nvGrpSpPr>
        <p:grpSpPr>
          <a:xfrm>
            <a:off x="5130237" y="3476660"/>
            <a:ext cx="374400" cy="374400"/>
            <a:chOff x="6096000" y="4549430"/>
            <a:chExt cx="374400" cy="374400"/>
          </a:xfrm>
        </p:grpSpPr>
        <p:grpSp>
          <p:nvGrpSpPr>
            <p:cNvPr id="882" name="Grafik 13">
              <a:extLst>
                <a:ext uri="{FF2B5EF4-FFF2-40B4-BE49-F238E27FC236}">
                  <a16:creationId xmlns:a16="http://schemas.microsoft.com/office/drawing/2014/main" id="{2026A4D7-6EA2-7FEB-EC03-F70B881288FA}"/>
                </a:ext>
              </a:extLst>
            </p:cNvPr>
            <p:cNvGrpSpPr/>
            <p:nvPr/>
          </p:nvGrpSpPr>
          <p:grpSpPr bwMode="gray">
            <a:xfrm>
              <a:off x="6217832" y="4648439"/>
              <a:ext cx="82904" cy="225631"/>
              <a:chOff x="6060661" y="3306222"/>
              <a:chExt cx="130968" cy="305847"/>
            </a:xfrm>
            <a:solidFill>
              <a:schemeClr val="tx1"/>
            </a:solidFill>
          </p:grpSpPr>
          <p:sp>
            <p:nvSpPr>
              <p:cNvPr id="904" name="Grafik 13">
                <a:extLst>
                  <a:ext uri="{FF2B5EF4-FFF2-40B4-BE49-F238E27FC236}">
                    <a16:creationId xmlns:a16="http://schemas.microsoft.com/office/drawing/2014/main" id="{A06225E5-2F03-31B4-64FE-86A3B70E3AE5}"/>
                  </a:ext>
                </a:extLst>
              </p:cNvPr>
              <p:cNvSpPr/>
              <p:nvPr/>
            </p:nvSpPr>
            <p:spPr bwMode="gray">
              <a:xfrm>
                <a:off x="6060661" y="3306222"/>
                <a:ext cx="130968" cy="72580"/>
              </a:xfrm>
              <a:custGeom>
                <a:avLst/>
                <a:gdLst>
                  <a:gd name="connsiteX0" fmla="*/ 123825 w 130968"/>
                  <a:gd name="connsiteY0" fmla="*/ 72581 h 72580"/>
                  <a:gd name="connsiteX1" fmla="*/ 7144 w 130968"/>
                  <a:gd name="connsiteY1" fmla="*/ 72581 h 72580"/>
                  <a:gd name="connsiteX2" fmla="*/ 0 w 130968"/>
                  <a:gd name="connsiteY2" fmla="*/ 65437 h 72580"/>
                  <a:gd name="connsiteX3" fmla="*/ 0 w 130968"/>
                  <a:gd name="connsiteY3" fmla="*/ 7144 h 72580"/>
                  <a:gd name="connsiteX4" fmla="*/ 7144 w 130968"/>
                  <a:gd name="connsiteY4" fmla="*/ 0 h 72580"/>
                  <a:gd name="connsiteX5" fmla="*/ 123825 w 130968"/>
                  <a:gd name="connsiteY5" fmla="*/ 0 h 72580"/>
                  <a:gd name="connsiteX6" fmla="*/ 130969 w 130968"/>
                  <a:gd name="connsiteY6" fmla="*/ 7144 h 72580"/>
                  <a:gd name="connsiteX7" fmla="*/ 130969 w 130968"/>
                  <a:gd name="connsiteY7" fmla="*/ 65437 h 72580"/>
                  <a:gd name="connsiteX8" fmla="*/ 123825 w 130968"/>
                  <a:gd name="connsiteY8" fmla="*/ 72581 h 72580"/>
                  <a:gd name="connsiteX9" fmla="*/ 14288 w 130968"/>
                  <a:gd name="connsiteY9" fmla="*/ 58293 h 72580"/>
                  <a:gd name="connsiteX10" fmla="*/ 116681 w 130968"/>
                  <a:gd name="connsiteY10" fmla="*/ 58293 h 72580"/>
                  <a:gd name="connsiteX11" fmla="*/ 116681 w 130968"/>
                  <a:gd name="connsiteY11" fmla="*/ 14288 h 72580"/>
                  <a:gd name="connsiteX12" fmla="*/ 14288 w 130968"/>
                  <a:gd name="connsiteY12" fmla="*/ 14288 h 72580"/>
                  <a:gd name="connsiteX13" fmla="*/ 14288 w 130968"/>
                  <a:gd name="connsiteY13" fmla="*/ 58293 h 72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0968" h="72580">
                    <a:moveTo>
                      <a:pt x="123825" y="72581"/>
                    </a:moveTo>
                    <a:lnTo>
                      <a:pt x="7144" y="72581"/>
                    </a:lnTo>
                    <a:cubicBezTo>
                      <a:pt x="3238" y="72581"/>
                      <a:pt x="0" y="69342"/>
                      <a:pt x="0" y="65437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lnTo>
                      <a:pt x="123825" y="0"/>
                    </a:lnTo>
                    <a:cubicBezTo>
                      <a:pt x="127730" y="0"/>
                      <a:pt x="130969" y="3239"/>
                      <a:pt x="130969" y="7144"/>
                    </a:cubicBezTo>
                    <a:lnTo>
                      <a:pt x="130969" y="65437"/>
                    </a:lnTo>
                    <a:cubicBezTo>
                      <a:pt x="130969" y="69342"/>
                      <a:pt x="127730" y="72581"/>
                      <a:pt x="123825" y="72581"/>
                    </a:cubicBezTo>
                    <a:close/>
                    <a:moveTo>
                      <a:pt x="14288" y="58293"/>
                    </a:moveTo>
                    <a:lnTo>
                      <a:pt x="116681" y="58293"/>
                    </a:lnTo>
                    <a:lnTo>
                      <a:pt x="116681" y="14288"/>
                    </a:lnTo>
                    <a:lnTo>
                      <a:pt x="14288" y="14288"/>
                    </a:lnTo>
                    <a:lnTo>
                      <a:pt x="14288" y="5829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5" name="Grafik 13">
                <a:extLst>
                  <a:ext uri="{FF2B5EF4-FFF2-40B4-BE49-F238E27FC236}">
                    <a16:creationId xmlns:a16="http://schemas.microsoft.com/office/drawing/2014/main" id="{0D641307-FBBB-B8C7-AB1D-F55C76514C86}"/>
                  </a:ext>
                </a:extLst>
              </p:cNvPr>
              <p:cNvSpPr/>
              <p:nvPr/>
            </p:nvSpPr>
            <p:spPr bwMode="gray">
              <a:xfrm>
                <a:off x="6060661" y="3364515"/>
                <a:ext cx="72580" cy="72580"/>
              </a:xfrm>
              <a:custGeom>
                <a:avLst/>
                <a:gdLst>
                  <a:gd name="connsiteX0" fmla="*/ 65437 w 72580"/>
                  <a:gd name="connsiteY0" fmla="*/ 72581 h 72580"/>
                  <a:gd name="connsiteX1" fmla="*/ 7144 w 72580"/>
                  <a:gd name="connsiteY1" fmla="*/ 72581 h 72580"/>
                  <a:gd name="connsiteX2" fmla="*/ 0 w 72580"/>
                  <a:gd name="connsiteY2" fmla="*/ 65437 h 72580"/>
                  <a:gd name="connsiteX3" fmla="*/ 0 w 72580"/>
                  <a:gd name="connsiteY3" fmla="*/ 7144 h 72580"/>
                  <a:gd name="connsiteX4" fmla="*/ 7144 w 72580"/>
                  <a:gd name="connsiteY4" fmla="*/ 0 h 72580"/>
                  <a:gd name="connsiteX5" fmla="*/ 65437 w 72580"/>
                  <a:gd name="connsiteY5" fmla="*/ 0 h 72580"/>
                  <a:gd name="connsiteX6" fmla="*/ 72580 w 72580"/>
                  <a:gd name="connsiteY6" fmla="*/ 7144 h 72580"/>
                  <a:gd name="connsiteX7" fmla="*/ 72580 w 72580"/>
                  <a:gd name="connsiteY7" fmla="*/ 65437 h 72580"/>
                  <a:gd name="connsiteX8" fmla="*/ 65437 w 72580"/>
                  <a:gd name="connsiteY8" fmla="*/ 72581 h 72580"/>
                  <a:gd name="connsiteX9" fmla="*/ 14288 w 72580"/>
                  <a:gd name="connsiteY9" fmla="*/ 58293 h 72580"/>
                  <a:gd name="connsiteX10" fmla="*/ 58293 w 72580"/>
                  <a:gd name="connsiteY10" fmla="*/ 58293 h 72580"/>
                  <a:gd name="connsiteX11" fmla="*/ 58293 w 72580"/>
                  <a:gd name="connsiteY11" fmla="*/ 14288 h 72580"/>
                  <a:gd name="connsiteX12" fmla="*/ 14288 w 72580"/>
                  <a:gd name="connsiteY12" fmla="*/ 14288 h 72580"/>
                  <a:gd name="connsiteX13" fmla="*/ 14288 w 72580"/>
                  <a:gd name="connsiteY13" fmla="*/ 58293 h 72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2580" h="72580">
                    <a:moveTo>
                      <a:pt x="65437" y="72581"/>
                    </a:moveTo>
                    <a:lnTo>
                      <a:pt x="7144" y="72581"/>
                    </a:lnTo>
                    <a:cubicBezTo>
                      <a:pt x="3238" y="72581"/>
                      <a:pt x="0" y="69342"/>
                      <a:pt x="0" y="65437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lnTo>
                      <a:pt x="65437" y="0"/>
                    </a:lnTo>
                    <a:cubicBezTo>
                      <a:pt x="69342" y="0"/>
                      <a:pt x="72580" y="3239"/>
                      <a:pt x="72580" y="7144"/>
                    </a:cubicBezTo>
                    <a:lnTo>
                      <a:pt x="72580" y="65437"/>
                    </a:lnTo>
                    <a:cubicBezTo>
                      <a:pt x="72580" y="69437"/>
                      <a:pt x="69437" y="72581"/>
                      <a:pt x="65437" y="72581"/>
                    </a:cubicBezTo>
                    <a:close/>
                    <a:moveTo>
                      <a:pt x="14288" y="58293"/>
                    </a:moveTo>
                    <a:lnTo>
                      <a:pt x="58293" y="58293"/>
                    </a:lnTo>
                    <a:lnTo>
                      <a:pt x="58293" y="14288"/>
                    </a:lnTo>
                    <a:lnTo>
                      <a:pt x="14288" y="14288"/>
                    </a:lnTo>
                    <a:lnTo>
                      <a:pt x="14288" y="5829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6" name="Grafik 13">
                <a:extLst>
                  <a:ext uri="{FF2B5EF4-FFF2-40B4-BE49-F238E27FC236}">
                    <a16:creationId xmlns:a16="http://schemas.microsoft.com/office/drawing/2014/main" id="{9E67C8E2-BFD1-9785-4205-3420AB431A0F}"/>
                  </a:ext>
                </a:extLst>
              </p:cNvPr>
              <p:cNvSpPr/>
              <p:nvPr/>
            </p:nvSpPr>
            <p:spPr bwMode="gray">
              <a:xfrm>
                <a:off x="6060661" y="3422808"/>
                <a:ext cx="130968" cy="72580"/>
              </a:xfrm>
              <a:custGeom>
                <a:avLst/>
                <a:gdLst>
                  <a:gd name="connsiteX0" fmla="*/ 123825 w 130968"/>
                  <a:gd name="connsiteY0" fmla="*/ 72581 h 72580"/>
                  <a:gd name="connsiteX1" fmla="*/ 7144 w 130968"/>
                  <a:gd name="connsiteY1" fmla="*/ 72581 h 72580"/>
                  <a:gd name="connsiteX2" fmla="*/ 0 w 130968"/>
                  <a:gd name="connsiteY2" fmla="*/ 65437 h 72580"/>
                  <a:gd name="connsiteX3" fmla="*/ 0 w 130968"/>
                  <a:gd name="connsiteY3" fmla="*/ 7144 h 72580"/>
                  <a:gd name="connsiteX4" fmla="*/ 7144 w 130968"/>
                  <a:gd name="connsiteY4" fmla="*/ 0 h 72580"/>
                  <a:gd name="connsiteX5" fmla="*/ 123825 w 130968"/>
                  <a:gd name="connsiteY5" fmla="*/ 0 h 72580"/>
                  <a:gd name="connsiteX6" fmla="*/ 130969 w 130968"/>
                  <a:gd name="connsiteY6" fmla="*/ 7144 h 72580"/>
                  <a:gd name="connsiteX7" fmla="*/ 130969 w 130968"/>
                  <a:gd name="connsiteY7" fmla="*/ 65437 h 72580"/>
                  <a:gd name="connsiteX8" fmla="*/ 123825 w 130968"/>
                  <a:gd name="connsiteY8" fmla="*/ 72581 h 72580"/>
                  <a:gd name="connsiteX9" fmla="*/ 14288 w 130968"/>
                  <a:gd name="connsiteY9" fmla="*/ 58293 h 72580"/>
                  <a:gd name="connsiteX10" fmla="*/ 116681 w 130968"/>
                  <a:gd name="connsiteY10" fmla="*/ 58293 h 72580"/>
                  <a:gd name="connsiteX11" fmla="*/ 116681 w 130968"/>
                  <a:gd name="connsiteY11" fmla="*/ 14288 h 72580"/>
                  <a:gd name="connsiteX12" fmla="*/ 14288 w 130968"/>
                  <a:gd name="connsiteY12" fmla="*/ 14288 h 72580"/>
                  <a:gd name="connsiteX13" fmla="*/ 14288 w 130968"/>
                  <a:gd name="connsiteY13" fmla="*/ 58293 h 72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0968" h="72580">
                    <a:moveTo>
                      <a:pt x="123825" y="72581"/>
                    </a:moveTo>
                    <a:lnTo>
                      <a:pt x="7144" y="72581"/>
                    </a:lnTo>
                    <a:cubicBezTo>
                      <a:pt x="3238" y="72581"/>
                      <a:pt x="0" y="69342"/>
                      <a:pt x="0" y="65437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lnTo>
                      <a:pt x="123825" y="0"/>
                    </a:lnTo>
                    <a:cubicBezTo>
                      <a:pt x="127730" y="0"/>
                      <a:pt x="130969" y="3239"/>
                      <a:pt x="130969" y="7144"/>
                    </a:cubicBezTo>
                    <a:lnTo>
                      <a:pt x="130969" y="65437"/>
                    </a:lnTo>
                    <a:cubicBezTo>
                      <a:pt x="130969" y="69437"/>
                      <a:pt x="127730" y="72581"/>
                      <a:pt x="123825" y="72581"/>
                    </a:cubicBezTo>
                    <a:close/>
                    <a:moveTo>
                      <a:pt x="14288" y="58293"/>
                    </a:moveTo>
                    <a:lnTo>
                      <a:pt x="116681" y="58293"/>
                    </a:lnTo>
                    <a:lnTo>
                      <a:pt x="116681" y="14288"/>
                    </a:lnTo>
                    <a:lnTo>
                      <a:pt x="14288" y="14288"/>
                    </a:lnTo>
                    <a:lnTo>
                      <a:pt x="14288" y="5829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7" name="Grafik 13">
                <a:extLst>
                  <a:ext uri="{FF2B5EF4-FFF2-40B4-BE49-F238E27FC236}">
                    <a16:creationId xmlns:a16="http://schemas.microsoft.com/office/drawing/2014/main" id="{F1D1D4FC-E928-A7DC-EED8-B4C5A1363AB2}"/>
                  </a:ext>
                </a:extLst>
              </p:cNvPr>
              <p:cNvSpPr/>
              <p:nvPr/>
            </p:nvSpPr>
            <p:spPr bwMode="gray">
              <a:xfrm>
                <a:off x="6060661" y="3481196"/>
                <a:ext cx="72580" cy="72580"/>
              </a:xfrm>
              <a:custGeom>
                <a:avLst/>
                <a:gdLst>
                  <a:gd name="connsiteX0" fmla="*/ 65437 w 72580"/>
                  <a:gd name="connsiteY0" fmla="*/ 72580 h 72580"/>
                  <a:gd name="connsiteX1" fmla="*/ 7144 w 72580"/>
                  <a:gd name="connsiteY1" fmla="*/ 72580 h 72580"/>
                  <a:gd name="connsiteX2" fmla="*/ 0 w 72580"/>
                  <a:gd name="connsiteY2" fmla="*/ 65437 h 72580"/>
                  <a:gd name="connsiteX3" fmla="*/ 0 w 72580"/>
                  <a:gd name="connsiteY3" fmla="*/ 7144 h 72580"/>
                  <a:gd name="connsiteX4" fmla="*/ 7144 w 72580"/>
                  <a:gd name="connsiteY4" fmla="*/ 0 h 72580"/>
                  <a:gd name="connsiteX5" fmla="*/ 65437 w 72580"/>
                  <a:gd name="connsiteY5" fmla="*/ 0 h 72580"/>
                  <a:gd name="connsiteX6" fmla="*/ 72580 w 72580"/>
                  <a:gd name="connsiteY6" fmla="*/ 7144 h 72580"/>
                  <a:gd name="connsiteX7" fmla="*/ 72580 w 72580"/>
                  <a:gd name="connsiteY7" fmla="*/ 65437 h 72580"/>
                  <a:gd name="connsiteX8" fmla="*/ 65437 w 72580"/>
                  <a:gd name="connsiteY8" fmla="*/ 72580 h 72580"/>
                  <a:gd name="connsiteX9" fmla="*/ 14288 w 72580"/>
                  <a:gd name="connsiteY9" fmla="*/ 58293 h 72580"/>
                  <a:gd name="connsiteX10" fmla="*/ 58293 w 72580"/>
                  <a:gd name="connsiteY10" fmla="*/ 58293 h 72580"/>
                  <a:gd name="connsiteX11" fmla="*/ 58293 w 72580"/>
                  <a:gd name="connsiteY11" fmla="*/ 14288 h 72580"/>
                  <a:gd name="connsiteX12" fmla="*/ 14288 w 72580"/>
                  <a:gd name="connsiteY12" fmla="*/ 14288 h 72580"/>
                  <a:gd name="connsiteX13" fmla="*/ 14288 w 72580"/>
                  <a:gd name="connsiteY13" fmla="*/ 58293 h 72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2580" h="72580">
                    <a:moveTo>
                      <a:pt x="65437" y="72580"/>
                    </a:moveTo>
                    <a:lnTo>
                      <a:pt x="7144" y="72580"/>
                    </a:lnTo>
                    <a:cubicBezTo>
                      <a:pt x="3238" y="72580"/>
                      <a:pt x="0" y="69342"/>
                      <a:pt x="0" y="65437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lnTo>
                      <a:pt x="65437" y="0"/>
                    </a:lnTo>
                    <a:cubicBezTo>
                      <a:pt x="69342" y="0"/>
                      <a:pt x="72580" y="3239"/>
                      <a:pt x="72580" y="7144"/>
                    </a:cubicBezTo>
                    <a:lnTo>
                      <a:pt x="72580" y="65437"/>
                    </a:lnTo>
                    <a:cubicBezTo>
                      <a:pt x="72580" y="69342"/>
                      <a:pt x="69437" y="72580"/>
                      <a:pt x="65437" y="72580"/>
                    </a:cubicBezTo>
                    <a:close/>
                    <a:moveTo>
                      <a:pt x="14288" y="58293"/>
                    </a:moveTo>
                    <a:lnTo>
                      <a:pt x="58293" y="58293"/>
                    </a:lnTo>
                    <a:lnTo>
                      <a:pt x="58293" y="14288"/>
                    </a:lnTo>
                    <a:lnTo>
                      <a:pt x="14288" y="14288"/>
                    </a:lnTo>
                    <a:lnTo>
                      <a:pt x="14288" y="5829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8" name="Grafik 13">
                <a:extLst>
                  <a:ext uri="{FF2B5EF4-FFF2-40B4-BE49-F238E27FC236}">
                    <a16:creationId xmlns:a16="http://schemas.microsoft.com/office/drawing/2014/main" id="{F31AF0AF-CF71-C9D8-E56A-4C989184CC12}"/>
                  </a:ext>
                </a:extLst>
              </p:cNvPr>
              <p:cNvSpPr/>
              <p:nvPr/>
            </p:nvSpPr>
            <p:spPr bwMode="gray">
              <a:xfrm>
                <a:off x="6119050" y="3364515"/>
                <a:ext cx="72580" cy="72580"/>
              </a:xfrm>
              <a:custGeom>
                <a:avLst/>
                <a:gdLst>
                  <a:gd name="connsiteX0" fmla="*/ 65437 w 72580"/>
                  <a:gd name="connsiteY0" fmla="*/ 72581 h 72580"/>
                  <a:gd name="connsiteX1" fmla="*/ 7144 w 72580"/>
                  <a:gd name="connsiteY1" fmla="*/ 72581 h 72580"/>
                  <a:gd name="connsiteX2" fmla="*/ 0 w 72580"/>
                  <a:gd name="connsiteY2" fmla="*/ 65437 h 72580"/>
                  <a:gd name="connsiteX3" fmla="*/ 0 w 72580"/>
                  <a:gd name="connsiteY3" fmla="*/ 7144 h 72580"/>
                  <a:gd name="connsiteX4" fmla="*/ 7144 w 72580"/>
                  <a:gd name="connsiteY4" fmla="*/ 0 h 72580"/>
                  <a:gd name="connsiteX5" fmla="*/ 65437 w 72580"/>
                  <a:gd name="connsiteY5" fmla="*/ 0 h 72580"/>
                  <a:gd name="connsiteX6" fmla="*/ 72581 w 72580"/>
                  <a:gd name="connsiteY6" fmla="*/ 7144 h 72580"/>
                  <a:gd name="connsiteX7" fmla="*/ 72581 w 72580"/>
                  <a:gd name="connsiteY7" fmla="*/ 65437 h 72580"/>
                  <a:gd name="connsiteX8" fmla="*/ 65437 w 72580"/>
                  <a:gd name="connsiteY8" fmla="*/ 72581 h 72580"/>
                  <a:gd name="connsiteX9" fmla="*/ 14192 w 72580"/>
                  <a:gd name="connsiteY9" fmla="*/ 58293 h 72580"/>
                  <a:gd name="connsiteX10" fmla="*/ 58198 w 72580"/>
                  <a:gd name="connsiteY10" fmla="*/ 58293 h 72580"/>
                  <a:gd name="connsiteX11" fmla="*/ 58198 w 72580"/>
                  <a:gd name="connsiteY11" fmla="*/ 14288 h 72580"/>
                  <a:gd name="connsiteX12" fmla="*/ 14192 w 72580"/>
                  <a:gd name="connsiteY12" fmla="*/ 14288 h 72580"/>
                  <a:gd name="connsiteX13" fmla="*/ 14192 w 72580"/>
                  <a:gd name="connsiteY13" fmla="*/ 58293 h 72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2580" h="72580">
                    <a:moveTo>
                      <a:pt x="65437" y="72581"/>
                    </a:moveTo>
                    <a:lnTo>
                      <a:pt x="7144" y="72581"/>
                    </a:lnTo>
                    <a:cubicBezTo>
                      <a:pt x="3239" y="72581"/>
                      <a:pt x="0" y="69342"/>
                      <a:pt x="0" y="6543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65437" y="0"/>
                    </a:lnTo>
                    <a:cubicBezTo>
                      <a:pt x="69342" y="0"/>
                      <a:pt x="72581" y="3239"/>
                      <a:pt x="72581" y="7144"/>
                    </a:cubicBezTo>
                    <a:lnTo>
                      <a:pt x="72581" y="65437"/>
                    </a:lnTo>
                    <a:cubicBezTo>
                      <a:pt x="72581" y="69437"/>
                      <a:pt x="69342" y="72581"/>
                      <a:pt x="65437" y="72581"/>
                    </a:cubicBezTo>
                    <a:close/>
                    <a:moveTo>
                      <a:pt x="14192" y="58293"/>
                    </a:moveTo>
                    <a:lnTo>
                      <a:pt x="58198" y="58293"/>
                    </a:lnTo>
                    <a:lnTo>
                      <a:pt x="58198" y="14288"/>
                    </a:lnTo>
                    <a:lnTo>
                      <a:pt x="14192" y="14288"/>
                    </a:lnTo>
                    <a:lnTo>
                      <a:pt x="14192" y="5829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9" name="Grafik 13">
                <a:extLst>
                  <a:ext uri="{FF2B5EF4-FFF2-40B4-BE49-F238E27FC236}">
                    <a16:creationId xmlns:a16="http://schemas.microsoft.com/office/drawing/2014/main" id="{F95C68D6-51C9-AF70-C994-0BEBDA72544E}"/>
                  </a:ext>
                </a:extLst>
              </p:cNvPr>
              <p:cNvSpPr/>
              <p:nvPr/>
            </p:nvSpPr>
            <p:spPr bwMode="gray">
              <a:xfrm>
                <a:off x="6119050" y="3481196"/>
                <a:ext cx="72580" cy="72580"/>
              </a:xfrm>
              <a:custGeom>
                <a:avLst/>
                <a:gdLst>
                  <a:gd name="connsiteX0" fmla="*/ 65437 w 72580"/>
                  <a:gd name="connsiteY0" fmla="*/ 72580 h 72580"/>
                  <a:gd name="connsiteX1" fmla="*/ 7144 w 72580"/>
                  <a:gd name="connsiteY1" fmla="*/ 72580 h 72580"/>
                  <a:gd name="connsiteX2" fmla="*/ 0 w 72580"/>
                  <a:gd name="connsiteY2" fmla="*/ 65437 h 72580"/>
                  <a:gd name="connsiteX3" fmla="*/ 0 w 72580"/>
                  <a:gd name="connsiteY3" fmla="*/ 7144 h 72580"/>
                  <a:gd name="connsiteX4" fmla="*/ 7144 w 72580"/>
                  <a:gd name="connsiteY4" fmla="*/ 0 h 72580"/>
                  <a:gd name="connsiteX5" fmla="*/ 65437 w 72580"/>
                  <a:gd name="connsiteY5" fmla="*/ 0 h 72580"/>
                  <a:gd name="connsiteX6" fmla="*/ 72581 w 72580"/>
                  <a:gd name="connsiteY6" fmla="*/ 7144 h 72580"/>
                  <a:gd name="connsiteX7" fmla="*/ 72581 w 72580"/>
                  <a:gd name="connsiteY7" fmla="*/ 65437 h 72580"/>
                  <a:gd name="connsiteX8" fmla="*/ 65437 w 72580"/>
                  <a:gd name="connsiteY8" fmla="*/ 72580 h 72580"/>
                  <a:gd name="connsiteX9" fmla="*/ 14192 w 72580"/>
                  <a:gd name="connsiteY9" fmla="*/ 58293 h 72580"/>
                  <a:gd name="connsiteX10" fmla="*/ 58198 w 72580"/>
                  <a:gd name="connsiteY10" fmla="*/ 58293 h 72580"/>
                  <a:gd name="connsiteX11" fmla="*/ 58198 w 72580"/>
                  <a:gd name="connsiteY11" fmla="*/ 14288 h 72580"/>
                  <a:gd name="connsiteX12" fmla="*/ 14192 w 72580"/>
                  <a:gd name="connsiteY12" fmla="*/ 14288 h 72580"/>
                  <a:gd name="connsiteX13" fmla="*/ 14192 w 72580"/>
                  <a:gd name="connsiteY13" fmla="*/ 58293 h 72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2580" h="72580">
                    <a:moveTo>
                      <a:pt x="65437" y="72580"/>
                    </a:moveTo>
                    <a:lnTo>
                      <a:pt x="7144" y="72580"/>
                    </a:lnTo>
                    <a:cubicBezTo>
                      <a:pt x="3239" y="72580"/>
                      <a:pt x="0" y="69342"/>
                      <a:pt x="0" y="6543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65437" y="0"/>
                    </a:lnTo>
                    <a:cubicBezTo>
                      <a:pt x="69342" y="0"/>
                      <a:pt x="72581" y="3239"/>
                      <a:pt x="72581" y="7144"/>
                    </a:cubicBezTo>
                    <a:lnTo>
                      <a:pt x="72581" y="65437"/>
                    </a:lnTo>
                    <a:cubicBezTo>
                      <a:pt x="72581" y="69342"/>
                      <a:pt x="69342" y="72580"/>
                      <a:pt x="65437" y="72580"/>
                    </a:cubicBezTo>
                    <a:close/>
                    <a:moveTo>
                      <a:pt x="14192" y="58293"/>
                    </a:moveTo>
                    <a:lnTo>
                      <a:pt x="58198" y="58293"/>
                    </a:lnTo>
                    <a:lnTo>
                      <a:pt x="58198" y="14288"/>
                    </a:lnTo>
                    <a:lnTo>
                      <a:pt x="14192" y="14288"/>
                    </a:lnTo>
                    <a:lnTo>
                      <a:pt x="14192" y="5829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10" name="Grafik 13">
                <a:extLst>
                  <a:ext uri="{FF2B5EF4-FFF2-40B4-BE49-F238E27FC236}">
                    <a16:creationId xmlns:a16="http://schemas.microsoft.com/office/drawing/2014/main" id="{588D789C-178B-5976-D959-7859D1E7383D}"/>
                  </a:ext>
                </a:extLst>
              </p:cNvPr>
              <p:cNvSpPr/>
              <p:nvPr/>
            </p:nvSpPr>
            <p:spPr bwMode="gray">
              <a:xfrm>
                <a:off x="6060661" y="3539489"/>
                <a:ext cx="130968" cy="72580"/>
              </a:xfrm>
              <a:custGeom>
                <a:avLst/>
                <a:gdLst>
                  <a:gd name="connsiteX0" fmla="*/ 123825 w 130968"/>
                  <a:gd name="connsiteY0" fmla="*/ 72581 h 72580"/>
                  <a:gd name="connsiteX1" fmla="*/ 7144 w 130968"/>
                  <a:gd name="connsiteY1" fmla="*/ 72581 h 72580"/>
                  <a:gd name="connsiteX2" fmla="*/ 0 w 130968"/>
                  <a:gd name="connsiteY2" fmla="*/ 65437 h 72580"/>
                  <a:gd name="connsiteX3" fmla="*/ 0 w 130968"/>
                  <a:gd name="connsiteY3" fmla="*/ 7144 h 72580"/>
                  <a:gd name="connsiteX4" fmla="*/ 7144 w 130968"/>
                  <a:gd name="connsiteY4" fmla="*/ 0 h 72580"/>
                  <a:gd name="connsiteX5" fmla="*/ 123825 w 130968"/>
                  <a:gd name="connsiteY5" fmla="*/ 0 h 72580"/>
                  <a:gd name="connsiteX6" fmla="*/ 130969 w 130968"/>
                  <a:gd name="connsiteY6" fmla="*/ 7144 h 72580"/>
                  <a:gd name="connsiteX7" fmla="*/ 130969 w 130968"/>
                  <a:gd name="connsiteY7" fmla="*/ 65437 h 72580"/>
                  <a:gd name="connsiteX8" fmla="*/ 123825 w 130968"/>
                  <a:gd name="connsiteY8" fmla="*/ 72581 h 72580"/>
                  <a:gd name="connsiteX9" fmla="*/ 14288 w 130968"/>
                  <a:gd name="connsiteY9" fmla="*/ 58293 h 72580"/>
                  <a:gd name="connsiteX10" fmla="*/ 116681 w 130968"/>
                  <a:gd name="connsiteY10" fmla="*/ 58293 h 72580"/>
                  <a:gd name="connsiteX11" fmla="*/ 116681 w 130968"/>
                  <a:gd name="connsiteY11" fmla="*/ 14288 h 72580"/>
                  <a:gd name="connsiteX12" fmla="*/ 14288 w 130968"/>
                  <a:gd name="connsiteY12" fmla="*/ 14288 h 72580"/>
                  <a:gd name="connsiteX13" fmla="*/ 14288 w 130968"/>
                  <a:gd name="connsiteY13" fmla="*/ 58293 h 72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0968" h="72580">
                    <a:moveTo>
                      <a:pt x="123825" y="72581"/>
                    </a:moveTo>
                    <a:lnTo>
                      <a:pt x="7144" y="72581"/>
                    </a:lnTo>
                    <a:cubicBezTo>
                      <a:pt x="3238" y="72581"/>
                      <a:pt x="0" y="69342"/>
                      <a:pt x="0" y="65437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lnTo>
                      <a:pt x="123825" y="0"/>
                    </a:lnTo>
                    <a:cubicBezTo>
                      <a:pt x="127730" y="0"/>
                      <a:pt x="130969" y="3239"/>
                      <a:pt x="130969" y="7144"/>
                    </a:cubicBezTo>
                    <a:lnTo>
                      <a:pt x="130969" y="65437"/>
                    </a:lnTo>
                    <a:cubicBezTo>
                      <a:pt x="130969" y="69342"/>
                      <a:pt x="127730" y="72581"/>
                      <a:pt x="123825" y="72581"/>
                    </a:cubicBezTo>
                    <a:close/>
                    <a:moveTo>
                      <a:pt x="14288" y="58293"/>
                    </a:moveTo>
                    <a:lnTo>
                      <a:pt x="116681" y="58293"/>
                    </a:lnTo>
                    <a:lnTo>
                      <a:pt x="116681" y="14288"/>
                    </a:lnTo>
                    <a:lnTo>
                      <a:pt x="14288" y="14288"/>
                    </a:lnTo>
                    <a:lnTo>
                      <a:pt x="14288" y="5829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883" name="Grafik 31">
              <a:extLst>
                <a:ext uri="{FF2B5EF4-FFF2-40B4-BE49-F238E27FC236}">
                  <a16:creationId xmlns:a16="http://schemas.microsoft.com/office/drawing/2014/main" id="{4C0E8747-5B52-3F13-11D0-8BE3B72546F6}"/>
                </a:ext>
              </a:extLst>
            </p:cNvPr>
            <p:cNvSpPr/>
            <p:nvPr/>
          </p:nvSpPr>
          <p:spPr bwMode="gray">
            <a:xfrm>
              <a:off x="6096000" y="4597905"/>
              <a:ext cx="325925" cy="325925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84" name="Grafik 31">
              <a:extLst>
                <a:ext uri="{FF2B5EF4-FFF2-40B4-BE49-F238E27FC236}">
                  <a16:creationId xmlns:a16="http://schemas.microsoft.com/office/drawing/2014/main" id="{25CB3767-1A3C-358E-BB63-8EA8E8171758}"/>
                </a:ext>
              </a:extLst>
            </p:cNvPr>
            <p:cNvSpPr/>
            <p:nvPr/>
          </p:nvSpPr>
          <p:spPr bwMode="gray">
            <a:xfrm>
              <a:off x="6144475" y="4549430"/>
              <a:ext cx="325925" cy="325925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85" name="Grafik 31">
              <a:extLst>
                <a:ext uri="{FF2B5EF4-FFF2-40B4-BE49-F238E27FC236}">
                  <a16:creationId xmlns:a16="http://schemas.microsoft.com/office/drawing/2014/main" id="{D2834544-E769-45F1-7B6F-CEF8021A39CB}"/>
                </a:ext>
              </a:extLst>
            </p:cNvPr>
            <p:cNvSpPr/>
            <p:nvPr/>
          </p:nvSpPr>
          <p:spPr bwMode="gray">
            <a:xfrm>
              <a:off x="6411249" y="4549447"/>
              <a:ext cx="59132" cy="59150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86" name="Grafik 31">
              <a:extLst>
                <a:ext uri="{FF2B5EF4-FFF2-40B4-BE49-F238E27FC236}">
                  <a16:creationId xmlns:a16="http://schemas.microsoft.com/office/drawing/2014/main" id="{DCBE5577-B1C4-2099-6797-9BAE7334AD74}"/>
                </a:ext>
              </a:extLst>
            </p:cNvPr>
            <p:cNvSpPr/>
            <p:nvPr/>
          </p:nvSpPr>
          <p:spPr bwMode="gray">
            <a:xfrm>
              <a:off x="6096017" y="4549447"/>
              <a:ext cx="59132" cy="59150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87" name="Grafik 31">
              <a:extLst>
                <a:ext uri="{FF2B5EF4-FFF2-40B4-BE49-F238E27FC236}">
                  <a16:creationId xmlns:a16="http://schemas.microsoft.com/office/drawing/2014/main" id="{5631D816-B6D3-1024-F668-A79B2419433E}"/>
                </a:ext>
              </a:extLst>
            </p:cNvPr>
            <p:cNvSpPr/>
            <p:nvPr/>
          </p:nvSpPr>
          <p:spPr bwMode="gray">
            <a:xfrm>
              <a:off x="6411249" y="4864679"/>
              <a:ext cx="59132" cy="59150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888" name="Grafik 31">
              <a:extLst>
                <a:ext uri="{FF2B5EF4-FFF2-40B4-BE49-F238E27FC236}">
                  <a16:creationId xmlns:a16="http://schemas.microsoft.com/office/drawing/2014/main" id="{282AB194-75DF-AD4B-2A30-46CE70FCBA74}"/>
                </a:ext>
              </a:extLst>
            </p:cNvPr>
            <p:cNvGrpSpPr/>
            <p:nvPr/>
          </p:nvGrpSpPr>
          <p:grpSpPr bwMode="gray">
            <a:xfrm>
              <a:off x="6314210" y="4734937"/>
              <a:ext cx="83477" cy="51879"/>
              <a:chOff x="6135147" y="3424451"/>
              <a:chExt cx="111537" cy="69318"/>
            </a:xfrm>
            <a:solidFill>
              <a:schemeClr val="tx1"/>
            </a:solidFill>
          </p:grpSpPr>
          <p:sp>
            <p:nvSpPr>
              <p:cNvPr id="901" name="Grafik 31">
                <a:extLst>
                  <a:ext uri="{FF2B5EF4-FFF2-40B4-BE49-F238E27FC236}">
                    <a16:creationId xmlns:a16="http://schemas.microsoft.com/office/drawing/2014/main" id="{9A3C6C0B-547B-B41C-BC25-9B2FFE27B99D}"/>
                  </a:ext>
                </a:extLst>
              </p:cNvPr>
              <p:cNvSpPr/>
              <p:nvPr/>
            </p:nvSpPr>
            <p:spPr bwMode="gray">
              <a:xfrm>
                <a:off x="6135147" y="3451954"/>
                <a:ext cx="111537" cy="14287"/>
              </a:xfrm>
              <a:custGeom>
                <a:avLst/>
                <a:gdLst>
                  <a:gd name="connsiteX0" fmla="*/ 104394 w 111537"/>
                  <a:gd name="connsiteY0" fmla="*/ 14288 h 14287"/>
                  <a:gd name="connsiteX1" fmla="*/ 7144 w 111537"/>
                  <a:gd name="connsiteY1" fmla="*/ 14288 h 14287"/>
                  <a:gd name="connsiteX2" fmla="*/ 0 w 111537"/>
                  <a:gd name="connsiteY2" fmla="*/ 7144 h 14287"/>
                  <a:gd name="connsiteX3" fmla="*/ 7144 w 111537"/>
                  <a:gd name="connsiteY3" fmla="*/ 0 h 14287"/>
                  <a:gd name="connsiteX4" fmla="*/ 104394 w 111537"/>
                  <a:gd name="connsiteY4" fmla="*/ 0 h 14287"/>
                  <a:gd name="connsiteX5" fmla="*/ 111538 w 111537"/>
                  <a:gd name="connsiteY5" fmla="*/ 7144 h 14287"/>
                  <a:gd name="connsiteX6" fmla="*/ 104394 w 11153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1537" h="14287">
                    <a:moveTo>
                      <a:pt x="10439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04394" y="0"/>
                    </a:lnTo>
                    <a:cubicBezTo>
                      <a:pt x="108299" y="0"/>
                      <a:pt x="111538" y="3239"/>
                      <a:pt x="111538" y="7144"/>
                    </a:cubicBezTo>
                    <a:cubicBezTo>
                      <a:pt x="111538" y="11049"/>
                      <a:pt x="108299" y="14288"/>
                      <a:pt x="10439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2" name="Grafik 31">
                <a:extLst>
                  <a:ext uri="{FF2B5EF4-FFF2-40B4-BE49-F238E27FC236}">
                    <a16:creationId xmlns:a16="http://schemas.microsoft.com/office/drawing/2014/main" id="{61EE94F0-6A8E-55E9-1317-D2BC866AB8B2}"/>
                  </a:ext>
                </a:extLst>
              </p:cNvPr>
              <p:cNvSpPr/>
              <p:nvPr/>
            </p:nvSpPr>
            <p:spPr bwMode="gray">
              <a:xfrm>
                <a:off x="6204894" y="3424451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124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3" name="Grafik 31">
                <a:extLst>
                  <a:ext uri="{FF2B5EF4-FFF2-40B4-BE49-F238E27FC236}">
                    <a16:creationId xmlns:a16="http://schemas.microsoft.com/office/drawing/2014/main" id="{8D4DA76F-7DE4-1EE5-C640-DF5E30EF8356}"/>
                  </a:ext>
                </a:extLst>
              </p:cNvPr>
              <p:cNvSpPr/>
              <p:nvPr/>
            </p:nvSpPr>
            <p:spPr bwMode="gray">
              <a:xfrm>
                <a:off x="6204894" y="3451978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835" y="41124"/>
                      <a:pt x="9025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889" name="Grafik 31">
              <a:extLst>
                <a:ext uri="{FF2B5EF4-FFF2-40B4-BE49-F238E27FC236}">
                  <a16:creationId xmlns:a16="http://schemas.microsoft.com/office/drawing/2014/main" id="{64955334-D6A4-8F36-701E-208DE99E63C1}"/>
                </a:ext>
              </a:extLst>
            </p:cNvPr>
            <p:cNvGrpSpPr/>
            <p:nvPr/>
          </p:nvGrpSpPr>
          <p:grpSpPr bwMode="gray">
            <a:xfrm>
              <a:off x="6120309" y="4822263"/>
              <a:ext cx="59168" cy="51807"/>
              <a:chOff x="5876067" y="3541132"/>
              <a:chExt cx="79057" cy="69222"/>
            </a:xfrm>
            <a:solidFill>
              <a:schemeClr val="tx1"/>
            </a:solidFill>
          </p:grpSpPr>
          <p:sp>
            <p:nvSpPr>
              <p:cNvPr id="898" name="Grafik 31">
                <a:extLst>
                  <a:ext uri="{FF2B5EF4-FFF2-40B4-BE49-F238E27FC236}">
                    <a16:creationId xmlns:a16="http://schemas.microsoft.com/office/drawing/2014/main" id="{759B2A8C-4D25-FC93-A8DC-BDE9AA6840CF}"/>
                  </a:ext>
                </a:extLst>
              </p:cNvPr>
              <p:cNvSpPr/>
              <p:nvPr/>
            </p:nvSpPr>
            <p:spPr bwMode="gray">
              <a:xfrm>
                <a:off x="5876067" y="3568635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8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8" y="3239"/>
                      <a:pt x="79058" y="7144"/>
                    </a:cubicBezTo>
                    <a:cubicBezTo>
                      <a:pt x="79058" y="11049"/>
                      <a:pt x="75819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99" name="Grafik 31">
                <a:extLst>
                  <a:ext uri="{FF2B5EF4-FFF2-40B4-BE49-F238E27FC236}">
                    <a16:creationId xmlns:a16="http://schemas.microsoft.com/office/drawing/2014/main" id="{415F2D01-09AD-5565-CA0B-039412773A52}"/>
                  </a:ext>
                </a:extLst>
              </p:cNvPr>
              <p:cNvSpPr/>
              <p:nvPr/>
            </p:nvSpPr>
            <p:spPr bwMode="gray">
              <a:xfrm>
                <a:off x="5913333" y="3568564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739" y="41124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0" name="Grafik 31">
                <a:extLst>
                  <a:ext uri="{FF2B5EF4-FFF2-40B4-BE49-F238E27FC236}">
                    <a16:creationId xmlns:a16="http://schemas.microsoft.com/office/drawing/2014/main" id="{A98871EC-9550-8110-37B1-45CFD123D464}"/>
                  </a:ext>
                </a:extLst>
              </p:cNvPr>
              <p:cNvSpPr/>
              <p:nvPr/>
            </p:nvSpPr>
            <p:spPr bwMode="gray">
              <a:xfrm>
                <a:off x="5913333" y="3541132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029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890" name="Grafik 31">
              <a:extLst>
                <a:ext uri="{FF2B5EF4-FFF2-40B4-BE49-F238E27FC236}">
                  <a16:creationId xmlns:a16="http://schemas.microsoft.com/office/drawing/2014/main" id="{BBAD91EC-A5B0-D96B-0910-7499CB5B4DA4}"/>
                </a:ext>
              </a:extLst>
            </p:cNvPr>
            <p:cNvGrpSpPr/>
            <p:nvPr/>
          </p:nvGrpSpPr>
          <p:grpSpPr bwMode="gray">
            <a:xfrm>
              <a:off x="6120309" y="4647681"/>
              <a:ext cx="59168" cy="51879"/>
              <a:chOff x="5876067" y="3307865"/>
              <a:chExt cx="79057" cy="69318"/>
            </a:xfrm>
            <a:solidFill>
              <a:schemeClr val="tx1"/>
            </a:solidFill>
          </p:grpSpPr>
          <p:sp>
            <p:nvSpPr>
              <p:cNvPr id="895" name="Grafik 31">
                <a:extLst>
                  <a:ext uri="{FF2B5EF4-FFF2-40B4-BE49-F238E27FC236}">
                    <a16:creationId xmlns:a16="http://schemas.microsoft.com/office/drawing/2014/main" id="{E9B8862E-4B07-4AC2-050E-415B75A71471}"/>
                  </a:ext>
                </a:extLst>
              </p:cNvPr>
              <p:cNvSpPr/>
              <p:nvPr/>
            </p:nvSpPr>
            <p:spPr bwMode="gray">
              <a:xfrm>
                <a:off x="5876067" y="3335368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8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8" y="3239"/>
                      <a:pt x="79058" y="7144"/>
                    </a:cubicBezTo>
                    <a:cubicBezTo>
                      <a:pt x="79058" y="11049"/>
                      <a:pt x="75819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96" name="Grafik 31">
                <a:extLst>
                  <a:ext uri="{FF2B5EF4-FFF2-40B4-BE49-F238E27FC236}">
                    <a16:creationId xmlns:a16="http://schemas.microsoft.com/office/drawing/2014/main" id="{CA36367A-C661-4D59-73EF-8D6DE182A5F3}"/>
                  </a:ext>
                </a:extLst>
              </p:cNvPr>
              <p:cNvSpPr/>
              <p:nvPr/>
            </p:nvSpPr>
            <p:spPr bwMode="gray">
              <a:xfrm>
                <a:off x="5913333" y="3335392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739" y="41029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97" name="Grafik 31">
                <a:extLst>
                  <a:ext uri="{FF2B5EF4-FFF2-40B4-BE49-F238E27FC236}">
                    <a16:creationId xmlns:a16="http://schemas.microsoft.com/office/drawing/2014/main" id="{9F92E461-2235-AE7F-C0EF-5CD7829D9BF0}"/>
                  </a:ext>
                </a:extLst>
              </p:cNvPr>
              <p:cNvSpPr/>
              <p:nvPr/>
            </p:nvSpPr>
            <p:spPr bwMode="gray">
              <a:xfrm>
                <a:off x="5913333" y="3307865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124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891" name="Grafik 31">
              <a:extLst>
                <a:ext uri="{FF2B5EF4-FFF2-40B4-BE49-F238E27FC236}">
                  <a16:creationId xmlns:a16="http://schemas.microsoft.com/office/drawing/2014/main" id="{E62D4063-7C9B-FD7C-0C2C-AE80049D46C3}"/>
                </a:ext>
              </a:extLst>
            </p:cNvPr>
            <p:cNvGrpSpPr/>
            <p:nvPr/>
          </p:nvGrpSpPr>
          <p:grpSpPr bwMode="gray">
            <a:xfrm>
              <a:off x="6120309" y="4734937"/>
              <a:ext cx="59168" cy="51879"/>
              <a:chOff x="5876067" y="3307865"/>
              <a:chExt cx="79057" cy="69318"/>
            </a:xfrm>
            <a:solidFill>
              <a:schemeClr val="tx1"/>
            </a:solidFill>
          </p:grpSpPr>
          <p:sp>
            <p:nvSpPr>
              <p:cNvPr id="892" name="Grafik 31">
                <a:extLst>
                  <a:ext uri="{FF2B5EF4-FFF2-40B4-BE49-F238E27FC236}">
                    <a16:creationId xmlns:a16="http://schemas.microsoft.com/office/drawing/2014/main" id="{7BB5FB44-F425-5262-9FA2-AB1E48BCEC7F}"/>
                  </a:ext>
                </a:extLst>
              </p:cNvPr>
              <p:cNvSpPr/>
              <p:nvPr/>
            </p:nvSpPr>
            <p:spPr bwMode="gray">
              <a:xfrm>
                <a:off x="5876067" y="3335368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8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8" y="3239"/>
                      <a:pt x="79058" y="7144"/>
                    </a:cubicBezTo>
                    <a:cubicBezTo>
                      <a:pt x="79058" y="11049"/>
                      <a:pt x="75819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93" name="Grafik 31">
                <a:extLst>
                  <a:ext uri="{FF2B5EF4-FFF2-40B4-BE49-F238E27FC236}">
                    <a16:creationId xmlns:a16="http://schemas.microsoft.com/office/drawing/2014/main" id="{56B4EA95-11F4-72F4-4317-9EB97D8EC207}"/>
                  </a:ext>
                </a:extLst>
              </p:cNvPr>
              <p:cNvSpPr/>
              <p:nvPr/>
            </p:nvSpPr>
            <p:spPr bwMode="gray">
              <a:xfrm>
                <a:off x="5913333" y="3335392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739" y="41029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94" name="Grafik 31">
                <a:extLst>
                  <a:ext uri="{FF2B5EF4-FFF2-40B4-BE49-F238E27FC236}">
                    <a16:creationId xmlns:a16="http://schemas.microsoft.com/office/drawing/2014/main" id="{1DAEF871-818C-F4EC-D6B7-0C89C920B4CC}"/>
                  </a:ext>
                </a:extLst>
              </p:cNvPr>
              <p:cNvSpPr/>
              <p:nvPr/>
            </p:nvSpPr>
            <p:spPr bwMode="gray">
              <a:xfrm>
                <a:off x="5913333" y="3307865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124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1192569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5468847-C770-2CC1-5E24-BB402769B4CF}"/>
              </a:ext>
            </a:extLst>
          </p:cNvPr>
          <p:cNvSpPr/>
          <p:nvPr/>
        </p:nvSpPr>
        <p:spPr>
          <a:xfrm>
            <a:off x="318305" y="397192"/>
            <a:ext cx="11599177" cy="28194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Network – technical icons (2)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C6EF30B-69C7-F407-B842-A3D7A9D136D7}"/>
              </a:ext>
            </a:extLst>
          </p:cNvPr>
          <p:cNvSpPr/>
          <p:nvPr/>
        </p:nvSpPr>
        <p:spPr>
          <a:xfrm>
            <a:off x="318304" y="850740"/>
            <a:ext cx="1975315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Voice Platform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4" name="Text Box 55">
            <a:extLst>
              <a:ext uri="{FF2B5EF4-FFF2-40B4-BE49-F238E27FC236}">
                <a16:creationId xmlns:a16="http://schemas.microsoft.com/office/drawing/2014/main" id="{A4FF12AF-4CA9-B4A4-6CED-7989ACFF07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1366838"/>
            <a:ext cx="106599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Media Gateway</a:t>
            </a:r>
          </a:p>
        </p:txBody>
      </p:sp>
      <p:sp>
        <p:nvSpPr>
          <p:cNvPr id="5" name="Text Box 56">
            <a:extLst>
              <a:ext uri="{FF2B5EF4-FFF2-40B4-BE49-F238E27FC236}">
                <a16:creationId xmlns:a16="http://schemas.microsoft.com/office/drawing/2014/main" id="{DEA598E9-3AB6-F58E-E1C5-35041131F7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1912938"/>
            <a:ext cx="76944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Soft Switch</a:t>
            </a:r>
          </a:p>
        </p:txBody>
      </p:sp>
      <p:sp>
        <p:nvSpPr>
          <p:cNvPr id="6" name="Text Box 57">
            <a:extLst>
              <a:ext uri="{FF2B5EF4-FFF2-40B4-BE49-F238E27FC236}">
                <a16:creationId xmlns:a16="http://schemas.microsoft.com/office/drawing/2014/main" id="{DE3910C9-B06D-7FAF-6F9B-341A08B7A3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2459038"/>
            <a:ext cx="57066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Encoder</a:t>
            </a:r>
          </a:p>
        </p:txBody>
      </p:sp>
      <p:sp>
        <p:nvSpPr>
          <p:cNvPr id="7" name="Text Box 58">
            <a:extLst>
              <a:ext uri="{FF2B5EF4-FFF2-40B4-BE49-F238E27FC236}">
                <a16:creationId xmlns:a16="http://schemas.microsoft.com/office/drawing/2014/main" id="{9D2F14DC-4D60-A742-77B4-1D0304EBB27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3005138"/>
            <a:ext cx="57868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Decoder</a:t>
            </a:r>
          </a:p>
        </p:txBody>
      </p:sp>
      <p:sp>
        <p:nvSpPr>
          <p:cNvPr id="8" name="Text Box 59">
            <a:extLst>
              <a:ext uri="{FF2B5EF4-FFF2-40B4-BE49-F238E27FC236}">
                <a16:creationId xmlns:a16="http://schemas.microsoft.com/office/drawing/2014/main" id="{22707030-A6FE-CAD3-60EC-C9EFCE9F93E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3551238"/>
            <a:ext cx="77014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Transcoder</a:t>
            </a:r>
          </a:p>
        </p:txBody>
      </p:sp>
      <p:sp>
        <p:nvSpPr>
          <p:cNvPr id="9" name="Text Box 60">
            <a:extLst>
              <a:ext uri="{FF2B5EF4-FFF2-40B4-BE49-F238E27FC236}">
                <a16:creationId xmlns:a16="http://schemas.microsoft.com/office/drawing/2014/main" id="{AD73D9C8-FC28-5D6D-0E71-9158DB7088B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4097338"/>
            <a:ext cx="114454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Access Gatewa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F0CABE1-85D8-081F-E617-F8D0DE2D3854}"/>
              </a:ext>
            </a:extLst>
          </p:cNvPr>
          <p:cNvSpPr/>
          <p:nvPr/>
        </p:nvSpPr>
        <p:spPr>
          <a:xfrm>
            <a:off x="2724270" y="850740"/>
            <a:ext cx="1975315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Wireless Technology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11" name="Text Box 55">
            <a:extLst>
              <a:ext uri="{FF2B5EF4-FFF2-40B4-BE49-F238E27FC236}">
                <a16:creationId xmlns:a16="http://schemas.microsoft.com/office/drawing/2014/main" id="{D9E2B0C8-B44C-F4B3-BF3A-01F651FA2C9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1366838"/>
            <a:ext cx="128035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Wireless Transport</a:t>
            </a:r>
          </a:p>
        </p:txBody>
      </p:sp>
      <p:sp>
        <p:nvSpPr>
          <p:cNvPr id="12" name="Text Box 56">
            <a:extLst>
              <a:ext uri="{FF2B5EF4-FFF2-40B4-BE49-F238E27FC236}">
                <a16:creationId xmlns:a16="http://schemas.microsoft.com/office/drawing/2014/main" id="{947B42F1-0DF1-524D-D334-C35C91E8D63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1912938"/>
            <a:ext cx="109164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Wireless Router</a:t>
            </a:r>
          </a:p>
        </p:txBody>
      </p:sp>
      <p:sp>
        <p:nvSpPr>
          <p:cNvPr id="13" name="Text Box 57">
            <a:extLst>
              <a:ext uri="{FF2B5EF4-FFF2-40B4-BE49-F238E27FC236}">
                <a16:creationId xmlns:a16="http://schemas.microsoft.com/office/drawing/2014/main" id="{B07B3E0B-3756-0EEC-6208-3C55FC12727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2459038"/>
            <a:ext cx="91371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Base Station </a:t>
            </a:r>
          </a:p>
        </p:txBody>
      </p:sp>
      <p:sp>
        <p:nvSpPr>
          <p:cNvPr id="14" name="Text Box 58">
            <a:extLst>
              <a:ext uri="{FF2B5EF4-FFF2-40B4-BE49-F238E27FC236}">
                <a16:creationId xmlns:a16="http://schemas.microsoft.com/office/drawing/2014/main" id="{DA6D69D5-FD99-14C5-DBAE-50F739534E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3005138"/>
            <a:ext cx="46807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 err="1"/>
              <a:t>NodeB</a:t>
            </a:r>
            <a:endParaRPr lang="en-US" altLang="en-US" sz="1200" dirty="0"/>
          </a:p>
        </p:txBody>
      </p:sp>
      <p:sp>
        <p:nvSpPr>
          <p:cNvPr id="15" name="Text Box 59">
            <a:extLst>
              <a:ext uri="{FF2B5EF4-FFF2-40B4-BE49-F238E27FC236}">
                <a16:creationId xmlns:a16="http://schemas.microsoft.com/office/drawing/2014/main" id="{F753DDB4-03C9-FFBD-111A-FD8D3888742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3551238"/>
            <a:ext cx="39273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 err="1"/>
              <a:t>WiAN</a:t>
            </a:r>
            <a:endParaRPr lang="en-US" altLang="en-US" sz="12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B71FD37-D7F7-43B4-8DC7-31A01B90B530}"/>
              </a:ext>
            </a:extLst>
          </p:cNvPr>
          <p:cNvSpPr/>
          <p:nvPr/>
        </p:nvSpPr>
        <p:spPr>
          <a:xfrm>
            <a:off x="5130236" y="850740"/>
            <a:ext cx="2009704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Wireless Technology - Mobile Service Delivery Platform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17" name="Text Box 55">
            <a:extLst>
              <a:ext uri="{FF2B5EF4-FFF2-40B4-BE49-F238E27FC236}">
                <a16:creationId xmlns:a16="http://schemas.microsoft.com/office/drawing/2014/main" id="{1A534524-8B75-FE53-588D-8EC4B7B52E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1366838"/>
            <a:ext cx="151118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Wireless Access Point</a:t>
            </a:r>
          </a:p>
        </p:txBody>
      </p:sp>
      <p:sp>
        <p:nvSpPr>
          <p:cNvPr id="18" name="Text Box 56">
            <a:extLst>
              <a:ext uri="{FF2B5EF4-FFF2-40B4-BE49-F238E27FC236}">
                <a16:creationId xmlns:a16="http://schemas.microsoft.com/office/drawing/2014/main" id="{D9CB9A5F-5CB7-9D67-4839-CBAF63E65F6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1912938"/>
            <a:ext cx="107401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Wireless Bridge</a:t>
            </a:r>
          </a:p>
        </p:txBody>
      </p:sp>
      <p:sp>
        <p:nvSpPr>
          <p:cNvPr id="19" name="Text Box 57">
            <a:extLst>
              <a:ext uri="{FF2B5EF4-FFF2-40B4-BE49-F238E27FC236}">
                <a16:creationId xmlns:a16="http://schemas.microsoft.com/office/drawing/2014/main" id="{78F325CA-659B-5DB1-5248-B71501A4D25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2459038"/>
            <a:ext cx="115095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WLAN Controller</a:t>
            </a:r>
          </a:p>
        </p:txBody>
      </p:sp>
      <p:sp>
        <p:nvSpPr>
          <p:cNvPr id="20" name="Text Box 58">
            <a:extLst>
              <a:ext uri="{FF2B5EF4-FFF2-40B4-BE49-F238E27FC236}">
                <a16:creationId xmlns:a16="http://schemas.microsoft.com/office/drawing/2014/main" id="{954F10E1-6FB7-0A66-D598-E0F3C17AE9D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3005138"/>
            <a:ext cx="74860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Cell Phone</a:t>
            </a:r>
          </a:p>
        </p:txBody>
      </p:sp>
      <p:sp>
        <p:nvSpPr>
          <p:cNvPr id="21" name="Text Box 59">
            <a:extLst>
              <a:ext uri="{FF2B5EF4-FFF2-40B4-BE49-F238E27FC236}">
                <a16:creationId xmlns:a16="http://schemas.microsoft.com/office/drawing/2014/main" id="{D686A005-4A86-7195-EE3E-812EA59816A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3551238"/>
            <a:ext cx="43601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SGSN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98FD52B-784B-96F4-0BA8-F62F2C7FBFD3}"/>
              </a:ext>
            </a:extLst>
          </p:cNvPr>
          <p:cNvSpPr/>
          <p:nvPr/>
        </p:nvSpPr>
        <p:spPr>
          <a:xfrm>
            <a:off x="7536202" y="850740"/>
            <a:ext cx="2045404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Wireline Technology - Signaling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3" name="Text Box 55">
            <a:extLst>
              <a:ext uri="{FF2B5EF4-FFF2-40B4-BE49-F238E27FC236}">
                <a16:creationId xmlns:a16="http://schemas.microsoft.com/office/drawing/2014/main" id="{0F2B9284-FB5A-D247-EE8E-D14114FD26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74255" y="1366838"/>
            <a:ext cx="149079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Digital Cross-Connect</a:t>
            </a:r>
          </a:p>
        </p:txBody>
      </p:sp>
      <p:sp>
        <p:nvSpPr>
          <p:cNvPr id="24" name="Text Box 56">
            <a:extLst>
              <a:ext uri="{FF2B5EF4-FFF2-40B4-BE49-F238E27FC236}">
                <a16:creationId xmlns:a16="http://schemas.microsoft.com/office/drawing/2014/main" id="{28A07BA3-8796-E51E-BFCC-2A1C6B798E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74255" y="1912938"/>
            <a:ext cx="129798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Fixed Access Point</a:t>
            </a:r>
          </a:p>
        </p:txBody>
      </p:sp>
      <p:sp>
        <p:nvSpPr>
          <p:cNvPr id="25" name="Text Box 57">
            <a:extLst>
              <a:ext uri="{FF2B5EF4-FFF2-40B4-BE49-F238E27FC236}">
                <a16:creationId xmlns:a16="http://schemas.microsoft.com/office/drawing/2014/main" id="{D8BEC6AB-17AE-E809-9CC5-02AC8FF7D0A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74255" y="2459038"/>
            <a:ext cx="44403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MSAN</a:t>
            </a:r>
          </a:p>
        </p:txBody>
      </p:sp>
      <p:sp>
        <p:nvSpPr>
          <p:cNvPr id="26" name="Text Box 58">
            <a:extLst>
              <a:ext uri="{FF2B5EF4-FFF2-40B4-BE49-F238E27FC236}">
                <a16:creationId xmlns:a16="http://schemas.microsoft.com/office/drawing/2014/main" id="{7ECBECA6-40E2-F5E4-E26D-4C4BCFFBCF7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74255" y="3005138"/>
            <a:ext cx="31579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SBC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8869166-0721-9AAD-1312-205476913F73}"/>
              </a:ext>
            </a:extLst>
          </p:cNvPr>
          <p:cNvSpPr/>
          <p:nvPr/>
        </p:nvSpPr>
        <p:spPr>
          <a:xfrm>
            <a:off x="9942167" y="850740"/>
            <a:ext cx="1975315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Miscellaneous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8" name="Text Box 55">
            <a:extLst>
              <a:ext uri="{FF2B5EF4-FFF2-40B4-BE49-F238E27FC236}">
                <a16:creationId xmlns:a16="http://schemas.microsoft.com/office/drawing/2014/main" id="{FECEC741-6D53-58A3-6266-3EF17ED2056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1366838"/>
            <a:ext cx="123591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Database/Storage</a:t>
            </a:r>
          </a:p>
        </p:txBody>
      </p:sp>
      <p:sp>
        <p:nvSpPr>
          <p:cNvPr id="29" name="Text Box 56">
            <a:extLst>
              <a:ext uri="{FF2B5EF4-FFF2-40B4-BE49-F238E27FC236}">
                <a16:creationId xmlns:a16="http://schemas.microsoft.com/office/drawing/2014/main" id="{1A1A2521-95E1-BE33-8AEA-C4E1BE0B744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1912938"/>
            <a:ext cx="60593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Gateway</a:t>
            </a:r>
          </a:p>
        </p:txBody>
      </p:sp>
      <p:sp>
        <p:nvSpPr>
          <p:cNvPr id="30" name="Text Box 57">
            <a:extLst>
              <a:ext uri="{FF2B5EF4-FFF2-40B4-BE49-F238E27FC236}">
                <a16:creationId xmlns:a16="http://schemas.microsoft.com/office/drawing/2014/main" id="{8E99D301-D715-F69C-B0B7-E8EFA095ED7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2459038"/>
            <a:ext cx="66364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Controller</a:t>
            </a:r>
          </a:p>
        </p:txBody>
      </p:sp>
      <p:sp>
        <p:nvSpPr>
          <p:cNvPr id="31" name="Text Box 58">
            <a:extLst>
              <a:ext uri="{FF2B5EF4-FFF2-40B4-BE49-F238E27FC236}">
                <a16:creationId xmlns:a16="http://schemas.microsoft.com/office/drawing/2014/main" id="{37E3B3C6-6CEB-7B7C-2A3F-134DDF43B90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3005138"/>
            <a:ext cx="100508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Control Device</a:t>
            </a:r>
          </a:p>
        </p:txBody>
      </p:sp>
      <p:sp>
        <p:nvSpPr>
          <p:cNvPr id="32" name="Text Box 59">
            <a:extLst>
              <a:ext uri="{FF2B5EF4-FFF2-40B4-BE49-F238E27FC236}">
                <a16:creationId xmlns:a16="http://schemas.microsoft.com/office/drawing/2014/main" id="{484EE3CC-8EA9-6F2F-9EC1-48B52019801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3551238"/>
            <a:ext cx="100668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Access Device</a:t>
            </a:r>
          </a:p>
        </p:txBody>
      </p:sp>
      <p:sp>
        <p:nvSpPr>
          <p:cNvPr id="33" name="Text Box 60">
            <a:extLst>
              <a:ext uri="{FF2B5EF4-FFF2-40B4-BE49-F238E27FC236}">
                <a16:creationId xmlns:a16="http://schemas.microsoft.com/office/drawing/2014/main" id="{BDD07E0D-0EF1-759C-F630-433A39EFC44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4097338"/>
            <a:ext cx="116916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Telephone POTS</a:t>
            </a:r>
          </a:p>
        </p:txBody>
      </p:sp>
      <p:grpSp>
        <p:nvGrpSpPr>
          <p:cNvPr id="34" name="Grafik 3848">
            <a:extLst>
              <a:ext uri="{FF2B5EF4-FFF2-40B4-BE49-F238E27FC236}">
                <a16:creationId xmlns:a16="http://schemas.microsoft.com/office/drawing/2014/main" id="{A0494834-C8E7-C40F-2A1B-F9A0965B2E7C}"/>
              </a:ext>
            </a:extLst>
          </p:cNvPr>
          <p:cNvGrpSpPr/>
          <p:nvPr/>
        </p:nvGrpSpPr>
        <p:grpSpPr bwMode="gray">
          <a:xfrm>
            <a:off x="318304" y="132775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5" name="Grafik 3848">
              <a:extLst>
                <a:ext uri="{FF2B5EF4-FFF2-40B4-BE49-F238E27FC236}">
                  <a16:creationId xmlns:a16="http://schemas.microsoft.com/office/drawing/2014/main" id="{DF24C037-B2CE-B860-64FD-854BA3F7ADB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5" name="Grafik 3848">
                <a:extLst>
                  <a:ext uri="{FF2B5EF4-FFF2-40B4-BE49-F238E27FC236}">
                    <a16:creationId xmlns:a16="http://schemas.microsoft.com/office/drawing/2014/main" id="{8183B02B-9631-861D-E710-D45214FB6D12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" name="Grafik 3848">
                <a:extLst>
                  <a:ext uri="{FF2B5EF4-FFF2-40B4-BE49-F238E27FC236}">
                    <a16:creationId xmlns:a16="http://schemas.microsoft.com/office/drawing/2014/main" id="{7301E020-6702-ADCB-98BF-55EB077641F1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" name="Grafik 3848">
                <a:extLst>
                  <a:ext uri="{FF2B5EF4-FFF2-40B4-BE49-F238E27FC236}">
                    <a16:creationId xmlns:a16="http://schemas.microsoft.com/office/drawing/2014/main" id="{5276BF08-0AA2-7B3B-43AA-86AE0E16B4A2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8" name="Grafik 3848">
                <a:extLst>
                  <a:ext uri="{FF2B5EF4-FFF2-40B4-BE49-F238E27FC236}">
                    <a16:creationId xmlns:a16="http://schemas.microsoft.com/office/drawing/2014/main" id="{6CD1969A-5FAF-E962-C11F-23839758E6CB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" name="Grafik 3848">
                <a:extLst>
                  <a:ext uri="{FF2B5EF4-FFF2-40B4-BE49-F238E27FC236}">
                    <a16:creationId xmlns:a16="http://schemas.microsoft.com/office/drawing/2014/main" id="{0923CF46-394A-8985-0EDE-22DC82C8571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36" name="Grafik 3848">
              <a:extLst>
                <a:ext uri="{FF2B5EF4-FFF2-40B4-BE49-F238E27FC236}">
                  <a16:creationId xmlns:a16="http://schemas.microsoft.com/office/drawing/2014/main" id="{C712DC00-9D5F-E594-9A7F-FF748082AB3A}"/>
                </a:ext>
              </a:extLst>
            </p:cNvPr>
            <p:cNvSpPr/>
            <p:nvPr/>
          </p:nvSpPr>
          <p:spPr bwMode="gray">
            <a:xfrm>
              <a:off x="6008103" y="3404948"/>
              <a:ext cx="108760" cy="108537"/>
            </a:xfrm>
            <a:custGeom>
              <a:avLst/>
              <a:gdLst>
                <a:gd name="connsiteX0" fmla="*/ 85515 w 108760"/>
                <a:gd name="connsiteY0" fmla="*/ 108537 h 108537"/>
                <a:gd name="connsiteX1" fmla="*/ 80467 w 108760"/>
                <a:gd name="connsiteY1" fmla="*/ 107585 h 108537"/>
                <a:gd name="connsiteX2" fmla="*/ 838 w 108760"/>
                <a:gd name="connsiteY2" fmla="*/ 27956 h 108537"/>
                <a:gd name="connsiteX3" fmla="*/ 4267 w 108760"/>
                <a:gd name="connsiteY3" fmla="*/ 12716 h 108537"/>
                <a:gd name="connsiteX4" fmla="*/ 13411 w 108760"/>
                <a:gd name="connsiteY4" fmla="*/ 3572 h 108537"/>
                <a:gd name="connsiteX5" fmla="*/ 31318 w 108760"/>
                <a:gd name="connsiteY5" fmla="*/ 3572 h 108537"/>
                <a:gd name="connsiteX6" fmla="*/ 46748 w 108760"/>
                <a:gd name="connsiteY6" fmla="*/ 19002 h 108537"/>
                <a:gd name="connsiteX7" fmla="*/ 46748 w 108760"/>
                <a:gd name="connsiteY7" fmla="*/ 36909 h 108537"/>
                <a:gd name="connsiteX8" fmla="*/ 39700 w 108760"/>
                <a:gd name="connsiteY8" fmla="*/ 43958 h 108537"/>
                <a:gd name="connsiteX9" fmla="*/ 64655 w 108760"/>
                <a:gd name="connsiteY9" fmla="*/ 68818 h 108537"/>
                <a:gd name="connsiteX10" fmla="*/ 71704 w 108760"/>
                <a:gd name="connsiteY10" fmla="*/ 61770 h 108537"/>
                <a:gd name="connsiteX11" fmla="*/ 89611 w 108760"/>
                <a:gd name="connsiteY11" fmla="*/ 61770 h 108537"/>
                <a:gd name="connsiteX12" fmla="*/ 105041 w 108760"/>
                <a:gd name="connsiteY12" fmla="*/ 77200 h 108537"/>
                <a:gd name="connsiteX13" fmla="*/ 108756 w 108760"/>
                <a:gd name="connsiteY13" fmla="*/ 86344 h 108537"/>
                <a:gd name="connsiteX14" fmla="*/ 104946 w 108760"/>
                <a:gd name="connsiteY14" fmla="*/ 95202 h 108537"/>
                <a:gd name="connsiteX15" fmla="*/ 95802 w 108760"/>
                <a:gd name="connsiteY15" fmla="*/ 104251 h 108537"/>
                <a:gd name="connsiteX16" fmla="*/ 85515 w 108760"/>
                <a:gd name="connsiteY16" fmla="*/ 108537 h 108537"/>
                <a:gd name="connsiteX17" fmla="*/ 63226 w 108760"/>
                <a:gd name="connsiteY17" fmla="*/ 83296 h 108537"/>
                <a:gd name="connsiteX18" fmla="*/ 85420 w 108760"/>
                <a:gd name="connsiteY18" fmla="*/ 94155 h 108537"/>
                <a:gd name="connsiteX19" fmla="*/ 93706 w 108760"/>
                <a:gd name="connsiteY19" fmla="*/ 86058 h 108537"/>
                <a:gd name="connsiteX20" fmla="*/ 80562 w 108760"/>
                <a:gd name="connsiteY20" fmla="*/ 72914 h 108537"/>
                <a:gd name="connsiteX21" fmla="*/ 73990 w 108760"/>
                <a:gd name="connsiteY21" fmla="*/ 79486 h 108537"/>
                <a:gd name="connsiteX22" fmla="*/ 63226 w 108760"/>
                <a:gd name="connsiteY22" fmla="*/ 83296 h 108537"/>
                <a:gd name="connsiteX23" fmla="*/ 94849 w 108760"/>
                <a:gd name="connsiteY23" fmla="*/ 87297 h 108537"/>
                <a:gd name="connsiteX24" fmla="*/ 94945 w 108760"/>
                <a:gd name="connsiteY24" fmla="*/ 87297 h 108537"/>
                <a:gd name="connsiteX25" fmla="*/ 94849 w 108760"/>
                <a:gd name="connsiteY25" fmla="*/ 87297 h 108537"/>
                <a:gd name="connsiteX26" fmla="*/ 94849 w 108760"/>
                <a:gd name="connsiteY26" fmla="*/ 84915 h 108537"/>
                <a:gd name="connsiteX27" fmla="*/ 94849 w 108760"/>
                <a:gd name="connsiteY27" fmla="*/ 84915 h 108537"/>
                <a:gd name="connsiteX28" fmla="*/ 94849 w 108760"/>
                <a:gd name="connsiteY28" fmla="*/ 84915 h 108537"/>
                <a:gd name="connsiteX29" fmla="*/ 22269 w 108760"/>
                <a:gd name="connsiteY29" fmla="*/ 14811 h 108537"/>
                <a:gd name="connsiteX30" fmla="*/ 14363 w 108760"/>
                <a:gd name="connsiteY30" fmla="*/ 22717 h 108537"/>
                <a:gd name="connsiteX31" fmla="*/ 25126 w 108760"/>
                <a:gd name="connsiteY31" fmla="*/ 44910 h 108537"/>
                <a:gd name="connsiteX32" fmla="*/ 28841 w 108760"/>
                <a:gd name="connsiteY32" fmla="*/ 34433 h 108537"/>
                <a:gd name="connsiteX33" fmla="*/ 35413 w 108760"/>
                <a:gd name="connsiteY33" fmla="*/ 27861 h 108537"/>
                <a:gd name="connsiteX34" fmla="*/ 22269 w 108760"/>
                <a:gd name="connsiteY34" fmla="*/ 14811 h 108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08760" h="108537">
                  <a:moveTo>
                    <a:pt x="85515" y="108537"/>
                  </a:moveTo>
                  <a:cubicBezTo>
                    <a:pt x="83800" y="108537"/>
                    <a:pt x="82086" y="108252"/>
                    <a:pt x="80467" y="107585"/>
                  </a:cubicBezTo>
                  <a:cubicBezTo>
                    <a:pt x="43510" y="93964"/>
                    <a:pt x="14458" y="65008"/>
                    <a:pt x="838" y="27956"/>
                  </a:cubicBezTo>
                  <a:cubicBezTo>
                    <a:pt x="-1067" y="22527"/>
                    <a:pt x="361" y="16621"/>
                    <a:pt x="4267" y="12716"/>
                  </a:cubicBezTo>
                  <a:lnTo>
                    <a:pt x="13411" y="3572"/>
                  </a:lnTo>
                  <a:cubicBezTo>
                    <a:pt x="18173" y="-1191"/>
                    <a:pt x="26555" y="-1191"/>
                    <a:pt x="31318" y="3572"/>
                  </a:cubicBezTo>
                  <a:lnTo>
                    <a:pt x="46748" y="19002"/>
                  </a:lnTo>
                  <a:cubicBezTo>
                    <a:pt x="51701" y="23955"/>
                    <a:pt x="51701" y="31956"/>
                    <a:pt x="46748" y="36909"/>
                  </a:cubicBezTo>
                  <a:lnTo>
                    <a:pt x="39700" y="43958"/>
                  </a:lnTo>
                  <a:cubicBezTo>
                    <a:pt x="45986" y="53769"/>
                    <a:pt x="54559" y="62341"/>
                    <a:pt x="64655" y="68818"/>
                  </a:cubicBezTo>
                  <a:lnTo>
                    <a:pt x="71704" y="61770"/>
                  </a:lnTo>
                  <a:cubicBezTo>
                    <a:pt x="76657" y="56817"/>
                    <a:pt x="84658" y="56817"/>
                    <a:pt x="89611" y="61770"/>
                  </a:cubicBezTo>
                  <a:lnTo>
                    <a:pt x="105041" y="77200"/>
                  </a:lnTo>
                  <a:cubicBezTo>
                    <a:pt x="107518" y="79677"/>
                    <a:pt x="108851" y="82915"/>
                    <a:pt x="108756" y="86344"/>
                  </a:cubicBezTo>
                  <a:cubicBezTo>
                    <a:pt x="108756" y="89773"/>
                    <a:pt x="107327" y="92916"/>
                    <a:pt x="104946" y="95202"/>
                  </a:cubicBezTo>
                  <a:lnTo>
                    <a:pt x="95802" y="104251"/>
                  </a:lnTo>
                  <a:cubicBezTo>
                    <a:pt x="93040" y="107013"/>
                    <a:pt x="89325" y="108537"/>
                    <a:pt x="85515" y="108537"/>
                  </a:cubicBezTo>
                  <a:close/>
                  <a:moveTo>
                    <a:pt x="63226" y="83296"/>
                  </a:moveTo>
                  <a:cubicBezTo>
                    <a:pt x="70180" y="87678"/>
                    <a:pt x="77609" y="91297"/>
                    <a:pt x="85420" y="94155"/>
                  </a:cubicBezTo>
                  <a:lnTo>
                    <a:pt x="93706" y="86058"/>
                  </a:lnTo>
                  <a:lnTo>
                    <a:pt x="80562" y="72914"/>
                  </a:lnTo>
                  <a:lnTo>
                    <a:pt x="73990" y="79486"/>
                  </a:lnTo>
                  <a:cubicBezTo>
                    <a:pt x="71037" y="82534"/>
                    <a:pt x="67036" y="83772"/>
                    <a:pt x="63226" y="83296"/>
                  </a:cubicBezTo>
                  <a:close/>
                  <a:moveTo>
                    <a:pt x="94849" y="87297"/>
                  </a:moveTo>
                  <a:lnTo>
                    <a:pt x="94945" y="87297"/>
                  </a:lnTo>
                  <a:lnTo>
                    <a:pt x="94849" y="87297"/>
                  </a:lnTo>
                  <a:close/>
                  <a:moveTo>
                    <a:pt x="94849" y="84915"/>
                  </a:moveTo>
                  <a:cubicBezTo>
                    <a:pt x="94849" y="84915"/>
                    <a:pt x="94849" y="84915"/>
                    <a:pt x="94849" y="84915"/>
                  </a:cubicBezTo>
                  <a:lnTo>
                    <a:pt x="94849" y="84915"/>
                  </a:lnTo>
                  <a:close/>
                  <a:moveTo>
                    <a:pt x="22269" y="14811"/>
                  </a:moveTo>
                  <a:lnTo>
                    <a:pt x="14363" y="22717"/>
                  </a:lnTo>
                  <a:cubicBezTo>
                    <a:pt x="17221" y="30528"/>
                    <a:pt x="20840" y="38052"/>
                    <a:pt x="25126" y="44910"/>
                  </a:cubicBezTo>
                  <a:cubicBezTo>
                    <a:pt x="24745" y="41100"/>
                    <a:pt x="26079" y="37195"/>
                    <a:pt x="28841" y="34433"/>
                  </a:cubicBezTo>
                  <a:lnTo>
                    <a:pt x="35413" y="27861"/>
                  </a:lnTo>
                  <a:lnTo>
                    <a:pt x="22269" y="148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37" name="Grafik 3848">
              <a:extLst>
                <a:ext uri="{FF2B5EF4-FFF2-40B4-BE49-F238E27FC236}">
                  <a16:creationId xmlns:a16="http://schemas.microsoft.com/office/drawing/2014/main" id="{21AEEEE1-37FF-B6D2-57A7-7434A2871F86}"/>
                </a:ext>
              </a:extLst>
            </p:cNvPr>
            <p:cNvGrpSpPr/>
            <p:nvPr/>
          </p:nvGrpSpPr>
          <p:grpSpPr bwMode="gray">
            <a:xfrm>
              <a:off x="5883306" y="3281171"/>
              <a:ext cx="356044" cy="355949"/>
              <a:chOff x="5883306" y="3281171"/>
              <a:chExt cx="356044" cy="355949"/>
            </a:xfrm>
            <a:grpFill/>
          </p:grpSpPr>
          <p:grpSp>
            <p:nvGrpSpPr>
              <p:cNvPr id="38" name="Grafik 3848">
                <a:extLst>
                  <a:ext uri="{FF2B5EF4-FFF2-40B4-BE49-F238E27FC236}">
                    <a16:creationId xmlns:a16="http://schemas.microsoft.com/office/drawing/2014/main" id="{BDC2B659-2F86-EECB-0D93-4957C94D923C}"/>
                  </a:ext>
                </a:extLst>
              </p:cNvPr>
              <p:cNvGrpSpPr/>
              <p:nvPr/>
            </p:nvGrpSpPr>
            <p:grpSpPr bwMode="gray">
              <a:xfrm>
                <a:off x="6054184" y="3343203"/>
                <a:ext cx="185165" cy="71127"/>
                <a:chOff x="6054184" y="3343203"/>
                <a:chExt cx="185165" cy="71127"/>
              </a:xfrm>
              <a:grpFill/>
            </p:grpSpPr>
            <p:sp>
              <p:nvSpPr>
                <p:cNvPr id="52" name="Grafik 3848">
                  <a:extLst>
                    <a:ext uri="{FF2B5EF4-FFF2-40B4-BE49-F238E27FC236}">
                      <a16:creationId xmlns:a16="http://schemas.microsoft.com/office/drawing/2014/main" id="{79709A71-5FBE-562B-DDB4-3507D5A79DB3}"/>
                    </a:ext>
                  </a:extLst>
                </p:cNvPr>
                <p:cNvSpPr/>
                <p:nvPr/>
              </p:nvSpPr>
              <p:spPr bwMode="gray">
                <a:xfrm>
                  <a:off x="6054184" y="3371563"/>
                  <a:ext cx="185165" cy="14287"/>
                </a:xfrm>
                <a:custGeom>
                  <a:avLst/>
                  <a:gdLst>
                    <a:gd name="connsiteX0" fmla="*/ 178022 w 185165"/>
                    <a:gd name="connsiteY0" fmla="*/ 14288 h 14287"/>
                    <a:gd name="connsiteX1" fmla="*/ 7144 w 185165"/>
                    <a:gd name="connsiteY1" fmla="*/ 14288 h 14287"/>
                    <a:gd name="connsiteX2" fmla="*/ 0 w 185165"/>
                    <a:gd name="connsiteY2" fmla="*/ 7144 h 14287"/>
                    <a:gd name="connsiteX3" fmla="*/ 7144 w 185165"/>
                    <a:gd name="connsiteY3" fmla="*/ 0 h 14287"/>
                    <a:gd name="connsiteX4" fmla="*/ 178022 w 185165"/>
                    <a:gd name="connsiteY4" fmla="*/ 0 h 14287"/>
                    <a:gd name="connsiteX5" fmla="*/ 185166 w 185165"/>
                    <a:gd name="connsiteY5" fmla="*/ 7144 h 14287"/>
                    <a:gd name="connsiteX6" fmla="*/ 178022 w 185165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85165" h="14287">
                      <a:moveTo>
                        <a:pt x="17802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78022" y="0"/>
                      </a:lnTo>
                      <a:cubicBezTo>
                        <a:pt x="181927" y="0"/>
                        <a:pt x="185166" y="3239"/>
                        <a:pt x="185166" y="7144"/>
                      </a:cubicBezTo>
                      <a:cubicBezTo>
                        <a:pt x="185166" y="11049"/>
                        <a:pt x="181927" y="14288"/>
                        <a:pt x="17802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" name="Grafik 3848">
                  <a:extLst>
                    <a:ext uri="{FF2B5EF4-FFF2-40B4-BE49-F238E27FC236}">
                      <a16:creationId xmlns:a16="http://schemas.microsoft.com/office/drawing/2014/main" id="{FEA18FA9-89A1-3158-62EF-65E87941959A}"/>
                    </a:ext>
                  </a:extLst>
                </p:cNvPr>
                <p:cNvSpPr/>
                <p:nvPr/>
              </p:nvSpPr>
              <p:spPr bwMode="gray">
                <a:xfrm>
                  <a:off x="6196702" y="3343203"/>
                  <a:ext cx="42624" cy="42648"/>
                </a:xfrm>
                <a:custGeom>
                  <a:avLst/>
                  <a:gdLst>
                    <a:gd name="connsiteX0" fmla="*/ 35504 w 42624"/>
                    <a:gd name="connsiteY0" fmla="*/ 42648 h 42648"/>
                    <a:gd name="connsiteX1" fmla="*/ 30456 w 42624"/>
                    <a:gd name="connsiteY1" fmla="*/ 40553 h 42648"/>
                    <a:gd name="connsiteX2" fmla="*/ 2072 w 42624"/>
                    <a:gd name="connsiteY2" fmla="*/ 12168 h 42648"/>
                    <a:gd name="connsiteX3" fmla="*/ 2072 w 42624"/>
                    <a:gd name="connsiteY3" fmla="*/ 2072 h 42648"/>
                    <a:gd name="connsiteX4" fmla="*/ 12168 w 42624"/>
                    <a:gd name="connsiteY4" fmla="*/ 2072 h 42648"/>
                    <a:gd name="connsiteX5" fmla="*/ 40553 w 42624"/>
                    <a:gd name="connsiteY5" fmla="*/ 30456 h 42648"/>
                    <a:gd name="connsiteX6" fmla="*/ 40553 w 42624"/>
                    <a:gd name="connsiteY6" fmla="*/ 40553 h 42648"/>
                    <a:gd name="connsiteX7" fmla="*/ 35504 w 42624"/>
                    <a:gd name="connsiteY7" fmla="*/ 42648 h 42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24" h="42648">
                      <a:moveTo>
                        <a:pt x="35504" y="42648"/>
                      </a:moveTo>
                      <a:cubicBezTo>
                        <a:pt x="33695" y="42648"/>
                        <a:pt x="31885" y="41981"/>
                        <a:pt x="30456" y="40553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40553" y="30456"/>
                      </a:lnTo>
                      <a:cubicBezTo>
                        <a:pt x="43315" y="33218"/>
                        <a:pt x="43315" y="37790"/>
                        <a:pt x="40553" y="40553"/>
                      </a:cubicBezTo>
                      <a:cubicBezTo>
                        <a:pt x="39124" y="41981"/>
                        <a:pt x="37314" y="42648"/>
                        <a:pt x="35504" y="4264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4" name="Grafik 3848">
                  <a:extLst>
                    <a:ext uri="{FF2B5EF4-FFF2-40B4-BE49-F238E27FC236}">
                      <a16:creationId xmlns:a16="http://schemas.microsoft.com/office/drawing/2014/main" id="{F83BDA41-00D3-7163-3A08-CDC4EF9C336F}"/>
                    </a:ext>
                  </a:extLst>
                </p:cNvPr>
                <p:cNvSpPr/>
                <p:nvPr/>
              </p:nvSpPr>
              <p:spPr bwMode="gray">
                <a:xfrm>
                  <a:off x="6196607" y="3371682"/>
                  <a:ext cx="42624" cy="42648"/>
                </a:xfrm>
                <a:custGeom>
                  <a:avLst/>
                  <a:gdLst>
                    <a:gd name="connsiteX0" fmla="*/ 7120 w 42624"/>
                    <a:gd name="connsiteY0" fmla="*/ 42648 h 42648"/>
                    <a:gd name="connsiteX1" fmla="*/ 2072 w 42624"/>
                    <a:gd name="connsiteY1" fmla="*/ 40553 h 42648"/>
                    <a:gd name="connsiteX2" fmla="*/ 2072 w 42624"/>
                    <a:gd name="connsiteY2" fmla="*/ 30456 h 42648"/>
                    <a:gd name="connsiteX3" fmla="*/ 30456 w 42624"/>
                    <a:gd name="connsiteY3" fmla="*/ 2072 h 42648"/>
                    <a:gd name="connsiteX4" fmla="*/ 40553 w 42624"/>
                    <a:gd name="connsiteY4" fmla="*/ 2072 h 42648"/>
                    <a:gd name="connsiteX5" fmla="*/ 40553 w 42624"/>
                    <a:gd name="connsiteY5" fmla="*/ 12168 h 42648"/>
                    <a:gd name="connsiteX6" fmla="*/ 12168 w 42624"/>
                    <a:gd name="connsiteY6" fmla="*/ 40553 h 42648"/>
                    <a:gd name="connsiteX7" fmla="*/ 7120 w 42624"/>
                    <a:gd name="connsiteY7" fmla="*/ 42648 h 42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24" h="42648">
                      <a:moveTo>
                        <a:pt x="7120" y="42648"/>
                      </a:moveTo>
                      <a:cubicBezTo>
                        <a:pt x="5310" y="42648"/>
                        <a:pt x="3500" y="41981"/>
                        <a:pt x="2072" y="40553"/>
                      </a:cubicBezTo>
                      <a:cubicBezTo>
                        <a:pt x="-691" y="37790"/>
                        <a:pt x="-691" y="33218"/>
                        <a:pt x="2072" y="30456"/>
                      </a:cubicBezTo>
                      <a:lnTo>
                        <a:pt x="30456" y="2072"/>
                      </a:lnTo>
                      <a:cubicBezTo>
                        <a:pt x="33218" y="-691"/>
                        <a:pt x="37790" y="-691"/>
                        <a:pt x="40553" y="2072"/>
                      </a:cubicBezTo>
                      <a:cubicBezTo>
                        <a:pt x="43315" y="4834"/>
                        <a:pt x="43315" y="9406"/>
                        <a:pt x="40553" y="12168"/>
                      </a:cubicBezTo>
                      <a:lnTo>
                        <a:pt x="12168" y="40553"/>
                      </a:lnTo>
                      <a:cubicBezTo>
                        <a:pt x="10835" y="41886"/>
                        <a:pt x="8930" y="42648"/>
                        <a:pt x="7120" y="4264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9" name="Grafik 3848">
                <a:extLst>
                  <a:ext uri="{FF2B5EF4-FFF2-40B4-BE49-F238E27FC236}">
                    <a16:creationId xmlns:a16="http://schemas.microsoft.com/office/drawing/2014/main" id="{41FAE19E-22B9-A700-F763-3F830DFA0814}"/>
                  </a:ext>
                </a:extLst>
              </p:cNvPr>
              <p:cNvGrpSpPr/>
              <p:nvPr/>
            </p:nvGrpSpPr>
            <p:grpSpPr bwMode="gray">
              <a:xfrm>
                <a:off x="5883306" y="3503985"/>
                <a:ext cx="185166" cy="71127"/>
                <a:chOff x="5883306" y="3503985"/>
                <a:chExt cx="185166" cy="71127"/>
              </a:xfrm>
              <a:grpFill/>
            </p:grpSpPr>
            <p:sp>
              <p:nvSpPr>
                <p:cNvPr id="49" name="Grafik 3848">
                  <a:extLst>
                    <a:ext uri="{FF2B5EF4-FFF2-40B4-BE49-F238E27FC236}">
                      <a16:creationId xmlns:a16="http://schemas.microsoft.com/office/drawing/2014/main" id="{E700C482-952D-13F4-B8FB-F5BCE67D054A}"/>
                    </a:ext>
                  </a:extLst>
                </p:cNvPr>
                <p:cNvSpPr/>
                <p:nvPr/>
              </p:nvSpPr>
              <p:spPr bwMode="gray">
                <a:xfrm>
                  <a:off x="5883306" y="3532345"/>
                  <a:ext cx="185166" cy="14287"/>
                </a:xfrm>
                <a:custGeom>
                  <a:avLst/>
                  <a:gdLst>
                    <a:gd name="connsiteX0" fmla="*/ 178022 w 185166"/>
                    <a:gd name="connsiteY0" fmla="*/ 14288 h 14287"/>
                    <a:gd name="connsiteX1" fmla="*/ 7144 w 185166"/>
                    <a:gd name="connsiteY1" fmla="*/ 14288 h 14287"/>
                    <a:gd name="connsiteX2" fmla="*/ 0 w 185166"/>
                    <a:gd name="connsiteY2" fmla="*/ 7144 h 14287"/>
                    <a:gd name="connsiteX3" fmla="*/ 7144 w 185166"/>
                    <a:gd name="connsiteY3" fmla="*/ 0 h 14287"/>
                    <a:gd name="connsiteX4" fmla="*/ 178022 w 185166"/>
                    <a:gd name="connsiteY4" fmla="*/ 0 h 14287"/>
                    <a:gd name="connsiteX5" fmla="*/ 185166 w 185166"/>
                    <a:gd name="connsiteY5" fmla="*/ 7144 h 14287"/>
                    <a:gd name="connsiteX6" fmla="*/ 178022 w 18516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85166" h="14287">
                      <a:moveTo>
                        <a:pt x="17802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78022" y="0"/>
                      </a:lnTo>
                      <a:cubicBezTo>
                        <a:pt x="181928" y="0"/>
                        <a:pt x="185166" y="3239"/>
                        <a:pt x="185166" y="7144"/>
                      </a:cubicBezTo>
                      <a:cubicBezTo>
                        <a:pt x="185166" y="11049"/>
                        <a:pt x="181928" y="14288"/>
                        <a:pt x="17802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" name="Grafik 3848">
                  <a:extLst>
                    <a:ext uri="{FF2B5EF4-FFF2-40B4-BE49-F238E27FC236}">
                      <a16:creationId xmlns:a16="http://schemas.microsoft.com/office/drawing/2014/main" id="{585C644B-67CE-5047-2402-A32EF2A84C94}"/>
                    </a:ext>
                  </a:extLst>
                </p:cNvPr>
                <p:cNvSpPr/>
                <p:nvPr/>
              </p:nvSpPr>
              <p:spPr bwMode="gray">
                <a:xfrm>
                  <a:off x="5883425" y="3532464"/>
                  <a:ext cx="42624" cy="42648"/>
                </a:xfrm>
                <a:custGeom>
                  <a:avLst/>
                  <a:gdLst>
                    <a:gd name="connsiteX0" fmla="*/ 35504 w 42624"/>
                    <a:gd name="connsiteY0" fmla="*/ 42648 h 42648"/>
                    <a:gd name="connsiteX1" fmla="*/ 30456 w 42624"/>
                    <a:gd name="connsiteY1" fmla="*/ 40553 h 42648"/>
                    <a:gd name="connsiteX2" fmla="*/ 2072 w 42624"/>
                    <a:gd name="connsiteY2" fmla="*/ 12168 h 42648"/>
                    <a:gd name="connsiteX3" fmla="*/ 2072 w 42624"/>
                    <a:gd name="connsiteY3" fmla="*/ 2072 h 42648"/>
                    <a:gd name="connsiteX4" fmla="*/ 12168 w 42624"/>
                    <a:gd name="connsiteY4" fmla="*/ 2072 h 42648"/>
                    <a:gd name="connsiteX5" fmla="*/ 40553 w 42624"/>
                    <a:gd name="connsiteY5" fmla="*/ 30456 h 42648"/>
                    <a:gd name="connsiteX6" fmla="*/ 40553 w 42624"/>
                    <a:gd name="connsiteY6" fmla="*/ 40553 h 42648"/>
                    <a:gd name="connsiteX7" fmla="*/ 35504 w 42624"/>
                    <a:gd name="connsiteY7" fmla="*/ 42648 h 42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24" h="42648">
                      <a:moveTo>
                        <a:pt x="35504" y="42648"/>
                      </a:moveTo>
                      <a:cubicBezTo>
                        <a:pt x="33695" y="42648"/>
                        <a:pt x="31885" y="41981"/>
                        <a:pt x="30456" y="40553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40553" y="30456"/>
                      </a:lnTo>
                      <a:cubicBezTo>
                        <a:pt x="43315" y="33218"/>
                        <a:pt x="43315" y="37790"/>
                        <a:pt x="40553" y="40553"/>
                      </a:cubicBezTo>
                      <a:cubicBezTo>
                        <a:pt x="39124" y="41981"/>
                        <a:pt x="37314" y="42648"/>
                        <a:pt x="35504" y="4264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1" name="Grafik 3848">
                  <a:extLst>
                    <a:ext uri="{FF2B5EF4-FFF2-40B4-BE49-F238E27FC236}">
                      <a16:creationId xmlns:a16="http://schemas.microsoft.com/office/drawing/2014/main" id="{50E5476B-04D2-AF2B-E450-B71E2A819128}"/>
                    </a:ext>
                  </a:extLst>
                </p:cNvPr>
                <p:cNvSpPr/>
                <p:nvPr/>
              </p:nvSpPr>
              <p:spPr bwMode="gray">
                <a:xfrm>
                  <a:off x="5883330" y="3503985"/>
                  <a:ext cx="42624" cy="42648"/>
                </a:xfrm>
                <a:custGeom>
                  <a:avLst/>
                  <a:gdLst>
                    <a:gd name="connsiteX0" fmla="*/ 7120 w 42624"/>
                    <a:gd name="connsiteY0" fmla="*/ 42648 h 42648"/>
                    <a:gd name="connsiteX1" fmla="*/ 2072 w 42624"/>
                    <a:gd name="connsiteY1" fmla="*/ 40553 h 42648"/>
                    <a:gd name="connsiteX2" fmla="*/ 2072 w 42624"/>
                    <a:gd name="connsiteY2" fmla="*/ 30456 h 42648"/>
                    <a:gd name="connsiteX3" fmla="*/ 30456 w 42624"/>
                    <a:gd name="connsiteY3" fmla="*/ 2072 h 42648"/>
                    <a:gd name="connsiteX4" fmla="*/ 40553 w 42624"/>
                    <a:gd name="connsiteY4" fmla="*/ 2072 h 42648"/>
                    <a:gd name="connsiteX5" fmla="*/ 40553 w 42624"/>
                    <a:gd name="connsiteY5" fmla="*/ 12168 h 42648"/>
                    <a:gd name="connsiteX6" fmla="*/ 12168 w 42624"/>
                    <a:gd name="connsiteY6" fmla="*/ 40553 h 42648"/>
                    <a:gd name="connsiteX7" fmla="*/ 7120 w 42624"/>
                    <a:gd name="connsiteY7" fmla="*/ 42648 h 42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24" h="42648">
                      <a:moveTo>
                        <a:pt x="7120" y="42648"/>
                      </a:moveTo>
                      <a:cubicBezTo>
                        <a:pt x="5310" y="42648"/>
                        <a:pt x="3500" y="41981"/>
                        <a:pt x="2072" y="40553"/>
                      </a:cubicBezTo>
                      <a:cubicBezTo>
                        <a:pt x="-691" y="37790"/>
                        <a:pt x="-691" y="33218"/>
                        <a:pt x="2072" y="30456"/>
                      </a:cubicBezTo>
                      <a:lnTo>
                        <a:pt x="30456" y="2072"/>
                      </a:lnTo>
                      <a:cubicBezTo>
                        <a:pt x="33218" y="-691"/>
                        <a:pt x="37790" y="-691"/>
                        <a:pt x="40553" y="2072"/>
                      </a:cubicBezTo>
                      <a:cubicBezTo>
                        <a:pt x="43315" y="4834"/>
                        <a:pt x="43315" y="9406"/>
                        <a:pt x="40553" y="12168"/>
                      </a:cubicBezTo>
                      <a:lnTo>
                        <a:pt x="12168" y="40553"/>
                      </a:lnTo>
                      <a:cubicBezTo>
                        <a:pt x="10835" y="41981"/>
                        <a:pt x="9025" y="42648"/>
                        <a:pt x="7120" y="4264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0" name="Grafik 3848">
                <a:extLst>
                  <a:ext uri="{FF2B5EF4-FFF2-40B4-BE49-F238E27FC236}">
                    <a16:creationId xmlns:a16="http://schemas.microsoft.com/office/drawing/2014/main" id="{CD7E9CEF-EC9A-A3A7-E8B7-738E6FEBB99C}"/>
                  </a:ext>
                </a:extLst>
              </p:cNvPr>
              <p:cNvGrpSpPr/>
              <p:nvPr/>
            </p:nvGrpSpPr>
            <p:grpSpPr bwMode="gray">
              <a:xfrm>
                <a:off x="6106215" y="3451954"/>
                <a:ext cx="71008" cy="185165"/>
                <a:chOff x="6106215" y="3451954"/>
                <a:chExt cx="71008" cy="185165"/>
              </a:xfrm>
              <a:grpFill/>
            </p:grpSpPr>
            <p:sp>
              <p:nvSpPr>
                <p:cNvPr id="46" name="Grafik 3848">
                  <a:extLst>
                    <a:ext uri="{FF2B5EF4-FFF2-40B4-BE49-F238E27FC236}">
                      <a16:creationId xmlns:a16="http://schemas.microsoft.com/office/drawing/2014/main" id="{64E26A47-66E7-602A-EF3B-FA8C3B59BA96}"/>
                    </a:ext>
                  </a:extLst>
                </p:cNvPr>
                <p:cNvSpPr/>
                <p:nvPr/>
              </p:nvSpPr>
              <p:spPr bwMode="gray">
                <a:xfrm>
                  <a:off x="6134575" y="3451954"/>
                  <a:ext cx="14287" cy="185165"/>
                </a:xfrm>
                <a:custGeom>
                  <a:avLst/>
                  <a:gdLst>
                    <a:gd name="connsiteX0" fmla="*/ 7144 w 14287"/>
                    <a:gd name="connsiteY0" fmla="*/ 185166 h 185165"/>
                    <a:gd name="connsiteX1" fmla="*/ 0 w 14287"/>
                    <a:gd name="connsiteY1" fmla="*/ 178022 h 185165"/>
                    <a:gd name="connsiteX2" fmla="*/ 0 w 14287"/>
                    <a:gd name="connsiteY2" fmla="*/ 7144 h 185165"/>
                    <a:gd name="connsiteX3" fmla="*/ 7144 w 14287"/>
                    <a:gd name="connsiteY3" fmla="*/ 0 h 185165"/>
                    <a:gd name="connsiteX4" fmla="*/ 14288 w 14287"/>
                    <a:gd name="connsiteY4" fmla="*/ 7144 h 185165"/>
                    <a:gd name="connsiteX5" fmla="*/ 14288 w 14287"/>
                    <a:gd name="connsiteY5" fmla="*/ 178022 h 185165"/>
                    <a:gd name="connsiteX6" fmla="*/ 7144 w 14287"/>
                    <a:gd name="connsiteY6" fmla="*/ 185166 h 1851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85165">
                      <a:moveTo>
                        <a:pt x="7144" y="185166"/>
                      </a:moveTo>
                      <a:cubicBezTo>
                        <a:pt x="3239" y="185166"/>
                        <a:pt x="0" y="181927"/>
                        <a:pt x="0" y="178022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78022"/>
                      </a:lnTo>
                      <a:cubicBezTo>
                        <a:pt x="14288" y="181927"/>
                        <a:pt x="11144" y="185166"/>
                        <a:pt x="7144" y="18516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7" name="Grafik 3848">
                  <a:extLst>
                    <a:ext uri="{FF2B5EF4-FFF2-40B4-BE49-F238E27FC236}">
                      <a16:creationId xmlns:a16="http://schemas.microsoft.com/office/drawing/2014/main" id="{4BF4A930-8195-AB63-07BF-08F6E5D414CF}"/>
                    </a:ext>
                  </a:extLst>
                </p:cNvPr>
                <p:cNvSpPr/>
                <p:nvPr/>
              </p:nvSpPr>
              <p:spPr bwMode="gray">
                <a:xfrm>
                  <a:off x="6134599" y="3594472"/>
                  <a:ext cx="42624" cy="42648"/>
                </a:xfrm>
                <a:custGeom>
                  <a:avLst/>
                  <a:gdLst>
                    <a:gd name="connsiteX0" fmla="*/ 7120 w 42624"/>
                    <a:gd name="connsiteY0" fmla="*/ 42648 h 42648"/>
                    <a:gd name="connsiteX1" fmla="*/ 2072 w 42624"/>
                    <a:gd name="connsiteY1" fmla="*/ 40553 h 42648"/>
                    <a:gd name="connsiteX2" fmla="*/ 2072 w 42624"/>
                    <a:gd name="connsiteY2" fmla="*/ 30456 h 42648"/>
                    <a:gd name="connsiteX3" fmla="*/ 30456 w 42624"/>
                    <a:gd name="connsiteY3" fmla="*/ 2072 h 42648"/>
                    <a:gd name="connsiteX4" fmla="*/ 40553 w 42624"/>
                    <a:gd name="connsiteY4" fmla="*/ 2072 h 42648"/>
                    <a:gd name="connsiteX5" fmla="*/ 40553 w 42624"/>
                    <a:gd name="connsiteY5" fmla="*/ 12168 h 42648"/>
                    <a:gd name="connsiteX6" fmla="*/ 12168 w 42624"/>
                    <a:gd name="connsiteY6" fmla="*/ 40553 h 42648"/>
                    <a:gd name="connsiteX7" fmla="*/ 7120 w 42624"/>
                    <a:gd name="connsiteY7" fmla="*/ 42648 h 42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24" h="42648">
                      <a:moveTo>
                        <a:pt x="7120" y="42648"/>
                      </a:moveTo>
                      <a:cubicBezTo>
                        <a:pt x="5310" y="42648"/>
                        <a:pt x="3500" y="41981"/>
                        <a:pt x="2072" y="40553"/>
                      </a:cubicBezTo>
                      <a:cubicBezTo>
                        <a:pt x="-691" y="37790"/>
                        <a:pt x="-691" y="33218"/>
                        <a:pt x="2072" y="30456"/>
                      </a:cubicBezTo>
                      <a:lnTo>
                        <a:pt x="30456" y="2072"/>
                      </a:lnTo>
                      <a:cubicBezTo>
                        <a:pt x="33218" y="-691"/>
                        <a:pt x="37790" y="-691"/>
                        <a:pt x="40553" y="2072"/>
                      </a:cubicBezTo>
                      <a:cubicBezTo>
                        <a:pt x="43315" y="4834"/>
                        <a:pt x="43315" y="9406"/>
                        <a:pt x="40553" y="12168"/>
                      </a:cubicBezTo>
                      <a:lnTo>
                        <a:pt x="12168" y="40553"/>
                      </a:lnTo>
                      <a:cubicBezTo>
                        <a:pt x="10835" y="41981"/>
                        <a:pt x="8930" y="42648"/>
                        <a:pt x="7120" y="4264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8" name="Grafik 3848">
                  <a:extLst>
                    <a:ext uri="{FF2B5EF4-FFF2-40B4-BE49-F238E27FC236}">
                      <a16:creationId xmlns:a16="http://schemas.microsoft.com/office/drawing/2014/main" id="{932F35B1-5602-7DC3-8FD4-317B289EE60B}"/>
                    </a:ext>
                  </a:extLst>
                </p:cNvPr>
                <p:cNvSpPr/>
                <p:nvPr/>
              </p:nvSpPr>
              <p:spPr bwMode="gray">
                <a:xfrm>
                  <a:off x="6106215" y="3594472"/>
                  <a:ext cx="42624" cy="42648"/>
                </a:xfrm>
                <a:custGeom>
                  <a:avLst/>
                  <a:gdLst>
                    <a:gd name="connsiteX0" fmla="*/ 35504 w 42624"/>
                    <a:gd name="connsiteY0" fmla="*/ 42648 h 42648"/>
                    <a:gd name="connsiteX1" fmla="*/ 30456 w 42624"/>
                    <a:gd name="connsiteY1" fmla="*/ 40553 h 42648"/>
                    <a:gd name="connsiteX2" fmla="*/ 2072 w 42624"/>
                    <a:gd name="connsiteY2" fmla="*/ 12168 h 42648"/>
                    <a:gd name="connsiteX3" fmla="*/ 2072 w 42624"/>
                    <a:gd name="connsiteY3" fmla="*/ 2072 h 42648"/>
                    <a:gd name="connsiteX4" fmla="*/ 12168 w 42624"/>
                    <a:gd name="connsiteY4" fmla="*/ 2072 h 42648"/>
                    <a:gd name="connsiteX5" fmla="*/ 40553 w 42624"/>
                    <a:gd name="connsiteY5" fmla="*/ 30456 h 42648"/>
                    <a:gd name="connsiteX6" fmla="*/ 40553 w 42624"/>
                    <a:gd name="connsiteY6" fmla="*/ 40553 h 42648"/>
                    <a:gd name="connsiteX7" fmla="*/ 35504 w 42624"/>
                    <a:gd name="connsiteY7" fmla="*/ 42648 h 42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24" h="42648">
                      <a:moveTo>
                        <a:pt x="35504" y="42648"/>
                      </a:moveTo>
                      <a:cubicBezTo>
                        <a:pt x="33695" y="42648"/>
                        <a:pt x="31885" y="41981"/>
                        <a:pt x="30456" y="40553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40553" y="30456"/>
                      </a:lnTo>
                      <a:cubicBezTo>
                        <a:pt x="43315" y="33218"/>
                        <a:pt x="43315" y="37790"/>
                        <a:pt x="40553" y="40553"/>
                      </a:cubicBezTo>
                      <a:cubicBezTo>
                        <a:pt x="39219" y="41981"/>
                        <a:pt x="37314" y="42648"/>
                        <a:pt x="35504" y="4264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1" name="Grafik 3848">
                <a:extLst>
                  <a:ext uri="{FF2B5EF4-FFF2-40B4-BE49-F238E27FC236}">
                    <a16:creationId xmlns:a16="http://schemas.microsoft.com/office/drawing/2014/main" id="{5C40E7B5-301F-111B-0D85-15B574213E70}"/>
                  </a:ext>
                </a:extLst>
              </p:cNvPr>
              <p:cNvGrpSpPr/>
              <p:nvPr/>
            </p:nvGrpSpPr>
            <p:grpSpPr bwMode="gray">
              <a:xfrm>
                <a:off x="5945433" y="3281171"/>
                <a:ext cx="71008" cy="185070"/>
                <a:chOff x="5945433" y="3281171"/>
                <a:chExt cx="71008" cy="185070"/>
              </a:xfrm>
              <a:grpFill/>
            </p:grpSpPr>
            <p:sp>
              <p:nvSpPr>
                <p:cNvPr id="43" name="Grafik 3848">
                  <a:extLst>
                    <a:ext uri="{FF2B5EF4-FFF2-40B4-BE49-F238E27FC236}">
                      <a16:creationId xmlns:a16="http://schemas.microsoft.com/office/drawing/2014/main" id="{344500DC-2F89-D811-4667-55B0BF1FDD95}"/>
                    </a:ext>
                  </a:extLst>
                </p:cNvPr>
                <p:cNvSpPr/>
                <p:nvPr/>
              </p:nvSpPr>
              <p:spPr bwMode="gray">
                <a:xfrm>
                  <a:off x="5973793" y="3281171"/>
                  <a:ext cx="14287" cy="185070"/>
                </a:xfrm>
                <a:custGeom>
                  <a:avLst/>
                  <a:gdLst>
                    <a:gd name="connsiteX0" fmla="*/ 7144 w 14287"/>
                    <a:gd name="connsiteY0" fmla="*/ 185071 h 185070"/>
                    <a:gd name="connsiteX1" fmla="*/ 0 w 14287"/>
                    <a:gd name="connsiteY1" fmla="*/ 177927 h 185070"/>
                    <a:gd name="connsiteX2" fmla="*/ 0 w 14287"/>
                    <a:gd name="connsiteY2" fmla="*/ 7144 h 185070"/>
                    <a:gd name="connsiteX3" fmla="*/ 7144 w 14287"/>
                    <a:gd name="connsiteY3" fmla="*/ 0 h 185070"/>
                    <a:gd name="connsiteX4" fmla="*/ 14288 w 14287"/>
                    <a:gd name="connsiteY4" fmla="*/ 7144 h 185070"/>
                    <a:gd name="connsiteX5" fmla="*/ 14288 w 14287"/>
                    <a:gd name="connsiteY5" fmla="*/ 178022 h 185070"/>
                    <a:gd name="connsiteX6" fmla="*/ 7144 w 14287"/>
                    <a:gd name="connsiteY6" fmla="*/ 185071 h 1850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85070">
                      <a:moveTo>
                        <a:pt x="7144" y="185071"/>
                      </a:moveTo>
                      <a:cubicBezTo>
                        <a:pt x="3239" y="185071"/>
                        <a:pt x="0" y="181832"/>
                        <a:pt x="0" y="17792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78022"/>
                      </a:lnTo>
                      <a:cubicBezTo>
                        <a:pt x="14288" y="181928"/>
                        <a:pt x="11049" y="185071"/>
                        <a:pt x="7144" y="1850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" name="Grafik 3848">
                  <a:extLst>
                    <a:ext uri="{FF2B5EF4-FFF2-40B4-BE49-F238E27FC236}">
                      <a16:creationId xmlns:a16="http://schemas.microsoft.com/office/drawing/2014/main" id="{354D5A01-26F1-1113-22D9-DC03ADA82C5A}"/>
                    </a:ext>
                  </a:extLst>
                </p:cNvPr>
                <p:cNvSpPr/>
                <p:nvPr/>
              </p:nvSpPr>
              <p:spPr bwMode="gray">
                <a:xfrm>
                  <a:off x="5945433" y="3281195"/>
                  <a:ext cx="42624" cy="42648"/>
                </a:xfrm>
                <a:custGeom>
                  <a:avLst/>
                  <a:gdLst>
                    <a:gd name="connsiteX0" fmla="*/ 7120 w 42624"/>
                    <a:gd name="connsiteY0" fmla="*/ 42648 h 42648"/>
                    <a:gd name="connsiteX1" fmla="*/ 2072 w 42624"/>
                    <a:gd name="connsiteY1" fmla="*/ 40553 h 42648"/>
                    <a:gd name="connsiteX2" fmla="*/ 2072 w 42624"/>
                    <a:gd name="connsiteY2" fmla="*/ 30456 h 42648"/>
                    <a:gd name="connsiteX3" fmla="*/ 30456 w 42624"/>
                    <a:gd name="connsiteY3" fmla="*/ 2072 h 42648"/>
                    <a:gd name="connsiteX4" fmla="*/ 40553 w 42624"/>
                    <a:gd name="connsiteY4" fmla="*/ 2072 h 42648"/>
                    <a:gd name="connsiteX5" fmla="*/ 40553 w 42624"/>
                    <a:gd name="connsiteY5" fmla="*/ 12168 h 42648"/>
                    <a:gd name="connsiteX6" fmla="*/ 12168 w 42624"/>
                    <a:gd name="connsiteY6" fmla="*/ 40553 h 42648"/>
                    <a:gd name="connsiteX7" fmla="*/ 7120 w 42624"/>
                    <a:gd name="connsiteY7" fmla="*/ 42648 h 42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24" h="42648">
                      <a:moveTo>
                        <a:pt x="7120" y="42648"/>
                      </a:moveTo>
                      <a:cubicBezTo>
                        <a:pt x="5310" y="42648"/>
                        <a:pt x="3500" y="41981"/>
                        <a:pt x="2072" y="40553"/>
                      </a:cubicBezTo>
                      <a:cubicBezTo>
                        <a:pt x="-691" y="37790"/>
                        <a:pt x="-691" y="33218"/>
                        <a:pt x="2072" y="30456"/>
                      </a:cubicBezTo>
                      <a:lnTo>
                        <a:pt x="30456" y="2072"/>
                      </a:lnTo>
                      <a:cubicBezTo>
                        <a:pt x="33218" y="-691"/>
                        <a:pt x="37790" y="-691"/>
                        <a:pt x="40553" y="2072"/>
                      </a:cubicBezTo>
                      <a:cubicBezTo>
                        <a:pt x="43315" y="4834"/>
                        <a:pt x="43315" y="9406"/>
                        <a:pt x="40553" y="12168"/>
                      </a:cubicBezTo>
                      <a:lnTo>
                        <a:pt x="12168" y="40553"/>
                      </a:lnTo>
                      <a:cubicBezTo>
                        <a:pt x="10739" y="41981"/>
                        <a:pt x="8930" y="42648"/>
                        <a:pt x="7120" y="4264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5" name="Grafik 3848">
                  <a:extLst>
                    <a:ext uri="{FF2B5EF4-FFF2-40B4-BE49-F238E27FC236}">
                      <a16:creationId xmlns:a16="http://schemas.microsoft.com/office/drawing/2014/main" id="{555E00DB-7C27-4901-42B5-C71FBA50C9D8}"/>
                    </a:ext>
                  </a:extLst>
                </p:cNvPr>
                <p:cNvSpPr/>
                <p:nvPr/>
              </p:nvSpPr>
              <p:spPr bwMode="gray">
                <a:xfrm>
                  <a:off x="5973817" y="3281195"/>
                  <a:ext cx="42624" cy="42648"/>
                </a:xfrm>
                <a:custGeom>
                  <a:avLst/>
                  <a:gdLst>
                    <a:gd name="connsiteX0" fmla="*/ 35504 w 42624"/>
                    <a:gd name="connsiteY0" fmla="*/ 42648 h 42648"/>
                    <a:gd name="connsiteX1" fmla="*/ 30456 w 42624"/>
                    <a:gd name="connsiteY1" fmla="*/ 40553 h 42648"/>
                    <a:gd name="connsiteX2" fmla="*/ 2072 w 42624"/>
                    <a:gd name="connsiteY2" fmla="*/ 12168 h 42648"/>
                    <a:gd name="connsiteX3" fmla="*/ 2072 w 42624"/>
                    <a:gd name="connsiteY3" fmla="*/ 2072 h 42648"/>
                    <a:gd name="connsiteX4" fmla="*/ 12168 w 42624"/>
                    <a:gd name="connsiteY4" fmla="*/ 2072 h 42648"/>
                    <a:gd name="connsiteX5" fmla="*/ 40553 w 42624"/>
                    <a:gd name="connsiteY5" fmla="*/ 30456 h 42648"/>
                    <a:gd name="connsiteX6" fmla="*/ 40553 w 42624"/>
                    <a:gd name="connsiteY6" fmla="*/ 40553 h 42648"/>
                    <a:gd name="connsiteX7" fmla="*/ 35504 w 42624"/>
                    <a:gd name="connsiteY7" fmla="*/ 42648 h 42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24" h="42648">
                      <a:moveTo>
                        <a:pt x="35504" y="42648"/>
                      </a:moveTo>
                      <a:cubicBezTo>
                        <a:pt x="33695" y="42648"/>
                        <a:pt x="31885" y="41981"/>
                        <a:pt x="30456" y="40553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40553" y="30456"/>
                      </a:lnTo>
                      <a:cubicBezTo>
                        <a:pt x="43315" y="33218"/>
                        <a:pt x="43315" y="37790"/>
                        <a:pt x="40553" y="40553"/>
                      </a:cubicBezTo>
                      <a:cubicBezTo>
                        <a:pt x="39219" y="41981"/>
                        <a:pt x="37409" y="42648"/>
                        <a:pt x="35504" y="4264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2" name="Grafik 3848">
                <a:extLst>
                  <a:ext uri="{FF2B5EF4-FFF2-40B4-BE49-F238E27FC236}">
                    <a16:creationId xmlns:a16="http://schemas.microsoft.com/office/drawing/2014/main" id="{FFE7B46B-027A-68E3-D531-35569C2DF40F}"/>
                  </a:ext>
                </a:extLst>
              </p:cNvPr>
              <p:cNvSpPr/>
              <p:nvPr/>
            </p:nvSpPr>
            <p:spPr bwMode="gray">
              <a:xfrm>
                <a:off x="5973793" y="3371563"/>
                <a:ext cx="175069" cy="175069"/>
              </a:xfrm>
              <a:custGeom>
                <a:avLst/>
                <a:gdLst>
                  <a:gd name="connsiteX0" fmla="*/ 87535 w 175069"/>
                  <a:gd name="connsiteY0" fmla="*/ 175069 h 175069"/>
                  <a:gd name="connsiteX1" fmla="*/ 0 w 175069"/>
                  <a:gd name="connsiteY1" fmla="*/ 87535 h 175069"/>
                  <a:gd name="connsiteX2" fmla="*/ 87535 w 175069"/>
                  <a:gd name="connsiteY2" fmla="*/ 0 h 175069"/>
                  <a:gd name="connsiteX3" fmla="*/ 175069 w 175069"/>
                  <a:gd name="connsiteY3" fmla="*/ 87535 h 175069"/>
                  <a:gd name="connsiteX4" fmla="*/ 87535 w 175069"/>
                  <a:gd name="connsiteY4" fmla="*/ 175069 h 175069"/>
                  <a:gd name="connsiteX5" fmla="*/ 87535 w 175069"/>
                  <a:gd name="connsiteY5" fmla="*/ 14288 h 175069"/>
                  <a:gd name="connsiteX6" fmla="*/ 14288 w 175069"/>
                  <a:gd name="connsiteY6" fmla="*/ 87535 h 175069"/>
                  <a:gd name="connsiteX7" fmla="*/ 87535 w 175069"/>
                  <a:gd name="connsiteY7" fmla="*/ 160782 h 175069"/>
                  <a:gd name="connsiteX8" fmla="*/ 160782 w 175069"/>
                  <a:gd name="connsiteY8" fmla="*/ 87535 h 175069"/>
                  <a:gd name="connsiteX9" fmla="*/ 87535 w 175069"/>
                  <a:gd name="connsiteY9" fmla="*/ 14288 h 175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5069" h="175069">
                    <a:moveTo>
                      <a:pt x="87535" y="175069"/>
                    </a:moveTo>
                    <a:cubicBezTo>
                      <a:pt x="39243" y="175069"/>
                      <a:pt x="0" y="135827"/>
                      <a:pt x="0" y="87535"/>
                    </a:cubicBezTo>
                    <a:cubicBezTo>
                      <a:pt x="0" y="39243"/>
                      <a:pt x="39243" y="0"/>
                      <a:pt x="87535" y="0"/>
                    </a:cubicBezTo>
                    <a:cubicBezTo>
                      <a:pt x="135827" y="0"/>
                      <a:pt x="175069" y="39243"/>
                      <a:pt x="175069" y="87535"/>
                    </a:cubicBezTo>
                    <a:cubicBezTo>
                      <a:pt x="175069" y="135827"/>
                      <a:pt x="135827" y="175069"/>
                      <a:pt x="87535" y="175069"/>
                    </a:cubicBezTo>
                    <a:close/>
                    <a:moveTo>
                      <a:pt x="87535" y="14288"/>
                    </a:moveTo>
                    <a:cubicBezTo>
                      <a:pt x="47149" y="14288"/>
                      <a:pt x="14288" y="47149"/>
                      <a:pt x="14288" y="87535"/>
                    </a:cubicBezTo>
                    <a:cubicBezTo>
                      <a:pt x="14288" y="127921"/>
                      <a:pt x="47149" y="160782"/>
                      <a:pt x="87535" y="160782"/>
                    </a:cubicBezTo>
                    <a:cubicBezTo>
                      <a:pt x="127921" y="160782"/>
                      <a:pt x="160782" y="127921"/>
                      <a:pt x="160782" y="87535"/>
                    </a:cubicBezTo>
                    <a:cubicBezTo>
                      <a:pt x="160782" y="47149"/>
                      <a:pt x="127921" y="14288"/>
                      <a:pt x="87535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60" name="Grafik 3850">
            <a:extLst>
              <a:ext uri="{FF2B5EF4-FFF2-40B4-BE49-F238E27FC236}">
                <a16:creationId xmlns:a16="http://schemas.microsoft.com/office/drawing/2014/main" id="{0726DBA4-C68B-0D52-0DB8-8120AD4F010C}"/>
              </a:ext>
            </a:extLst>
          </p:cNvPr>
          <p:cNvGrpSpPr/>
          <p:nvPr/>
        </p:nvGrpSpPr>
        <p:grpSpPr bwMode="gray">
          <a:xfrm>
            <a:off x="318304" y="1865141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1" name="Grafik 3850">
              <a:extLst>
                <a:ext uri="{FF2B5EF4-FFF2-40B4-BE49-F238E27FC236}">
                  <a16:creationId xmlns:a16="http://schemas.microsoft.com/office/drawing/2014/main" id="{5F355383-644A-51B9-B489-8F9A8AD70CC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71" name="Grafik 3850">
                <a:extLst>
                  <a:ext uri="{FF2B5EF4-FFF2-40B4-BE49-F238E27FC236}">
                    <a16:creationId xmlns:a16="http://schemas.microsoft.com/office/drawing/2014/main" id="{B9AF9C1C-806D-D732-CA41-8AF69EE83471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2" name="Grafik 3850">
                <a:extLst>
                  <a:ext uri="{FF2B5EF4-FFF2-40B4-BE49-F238E27FC236}">
                    <a16:creationId xmlns:a16="http://schemas.microsoft.com/office/drawing/2014/main" id="{A2DE2DDD-4171-D5FB-81F0-FAC44623DDA2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3" name="Grafik 3850">
                <a:extLst>
                  <a:ext uri="{FF2B5EF4-FFF2-40B4-BE49-F238E27FC236}">
                    <a16:creationId xmlns:a16="http://schemas.microsoft.com/office/drawing/2014/main" id="{F532C3CF-C942-0E78-B3F7-6A007EE2A3A8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4" name="Grafik 3850">
                <a:extLst>
                  <a:ext uri="{FF2B5EF4-FFF2-40B4-BE49-F238E27FC236}">
                    <a16:creationId xmlns:a16="http://schemas.microsoft.com/office/drawing/2014/main" id="{DB2D3FE1-3DE9-71B5-25BA-498946F71BB3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5" name="Grafik 3850">
                <a:extLst>
                  <a:ext uri="{FF2B5EF4-FFF2-40B4-BE49-F238E27FC236}">
                    <a16:creationId xmlns:a16="http://schemas.microsoft.com/office/drawing/2014/main" id="{4AD6DB7C-03F4-D929-3918-CC2A207B3D41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2" name="Grafik 3850">
              <a:extLst>
                <a:ext uri="{FF2B5EF4-FFF2-40B4-BE49-F238E27FC236}">
                  <a16:creationId xmlns:a16="http://schemas.microsoft.com/office/drawing/2014/main" id="{D2202B1C-9DAD-E2C0-B677-9F0C833574E0}"/>
                </a:ext>
              </a:extLst>
            </p:cNvPr>
            <p:cNvGrpSpPr/>
            <p:nvPr/>
          </p:nvGrpSpPr>
          <p:grpSpPr bwMode="gray">
            <a:xfrm>
              <a:off x="5954648" y="3352055"/>
              <a:ext cx="213264" cy="214103"/>
              <a:chOff x="5954648" y="3352055"/>
              <a:chExt cx="213264" cy="214103"/>
            </a:xfrm>
            <a:grpFill/>
          </p:grpSpPr>
          <p:sp>
            <p:nvSpPr>
              <p:cNvPr id="63" name="Grafik 3850">
                <a:extLst>
                  <a:ext uri="{FF2B5EF4-FFF2-40B4-BE49-F238E27FC236}">
                    <a16:creationId xmlns:a16="http://schemas.microsoft.com/office/drawing/2014/main" id="{15AF6D3D-94A8-BF1E-B836-8191F5A2FF19}"/>
                  </a:ext>
                </a:extLst>
              </p:cNvPr>
              <p:cNvSpPr/>
              <p:nvPr/>
            </p:nvSpPr>
            <p:spPr bwMode="gray">
              <a:xfrm>
                <a:off x="5954648" y="3352799"/>
                <a:ext cx="165361" cy="172402"/>
              </a:xfrm>
              <a:custGeom>
                <a:avLst/>
                <a:gdLst>
                  <a:gd name="connsiteX0" fmla="*/ 26194 w 165361"/>
                  <a:gd name="connsiteY0" fmla="*/ 172402 h 172402"/>
                  <a:gd name="connsiteX1" fmla="*/ 20384 w 165361"/>
                  <a:gd name="connsiteY1" fmla="*/ 169450 h 172402"/>
                  <a:gd name="connsiteX2" fmla="*/ 0 w 165361"/>
                  <a:gd name="connsiteY2" fmla="*/ 106680 h 172402"/>
                  <a:gd name="connsiteX3" fmla="*/ 106680 w 165361"/>
                  <a:gd name="connsiteY3" fmla="*/ 0 h 172402"/>
                  <a:gd name="connsiteX4" fmla="*/ 161925 w 165361"/>
                  <a:gd name="connsiteY4" fmla="*/ 15431 h 172402"/>
                  <a:gd name="connsiteX5" fmla="*/ 164306 w 165361"/>
                  <a:gd name="connsiteY5" fmla="*/ 25241 h 172402"/>
                  <a:gd name="connsiteX6" fmla="*/ 154496 w 165361"/>
                  <a:gd name="connsiteY6" fmla="*/ 27622 h 172402"/>
                  <a:gd name="connsiteX7" fmla="*/ 106680 w 165361"/>
                  <a:gd name="connsiteY7" fmla="*/ 14288 h 172402"/>
                  <a:gd name="connsiteX8" fmla="*/ 14288 w 165361"/>
                  <a:gd name="connsiteY8" fmla="*/ 106680 h 172402"/>
                  <a:gd name="connsiteX9" fmla="*/ 31909 w 165361"/>
                  <a:gd name="connsiteY9" fmla="*/ 160973 h 172402"/>
                  <a:gd name="connsiteX10" fmla="*/ 30385 w 165361"/>
                  <a:gd name="connsiteY10" fmla="*/ 170974 h 172402"/>
                  <a:gd name="connsiteX11" fmla="*/ 26194 w 165361"/>
                  <a:gd name="connsiteY11" fmla="*/ 172402 h 172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65361" h="172402">
                    <a:moveTo>
                      <a:pt x="26194" y="172402"/>
                    </a:moveTo>
                    <a:cubicBezTo>
                      <a:pt x="24003" y="172402"/>
                      <a:pt x="21812" y="171355"/>
                      <a:pt x="20384" y="169450"/>
                    </a:cubicBezTo>
                    <a:cubicBezTo>
                      <a:pt x="7048" y="151162"/>
                      <a:pt x="0" y="129445"/>
                      <a:pt x="0" y="106680"/>
                    </a:cubicBezTo>
                    <a:cubicBezTo>
                      <a:pt x="0" y="47816"/>
                      <a:pt x="47816" y="0"/>
                      <a:pt x="106680" y="0"/>
                    </a:cubicBezTo>
                    <a:cubicBezTo>
                      <a:pt x="126206" y="0"/>
                      <a:pt x="145352" y="5334"/>
                      <a:pt x="161925" y="15431"/>
                    </a:cubicBezTo>
                    <a:cubicBezTo>
                      <a:pt x="165259" y="17431"/>
                      <a:pt x="166402" y="21907"/>
                      <a:pt x="164306" y="25241"/>
                    </a:cubicBezTo>
                    <a:cubicBezTo>
                      <a:pt x="162211" y="28575"/>
                      <a:pt x="157829" y="29623"/>
                      <a:pt x="154496" y="27622"/>
                    </a:cubicBezTo>
                    <a:cubicBezTo>
                      <a:pt x="140113" y="18859"/>
                      <a:pt x="123539" y="14288"/>
                      <a:pt x="106680" y="14288"/>
                    </a:cubicBezTo>
                    <a:cubicBezTo>
                      <a:pt x="55721" y="14288"/>
                      <a:pt x="14288" y="55721"/>
                      <a:pt x="14288" y="106680"/>
                    </a:cubicBezTo>
                    <a:cubicBezTo>
                      <a:pt x="14288" y="126397"/>
                      <a:pt x="20384" y="145161"/>
                      <a:pt x="31909" y="160973"/>
                    </a:cubicBezTo>
                    <a:cubicBezTo>
                      <a:pt x="34195" y="164116"/>
                      <a:pt x="33528" y="168593"/>
                      <a:pt x="30385" y="170974"/>
                    </a:cubicBezTo>
                    <a:cubicBezTo>
                      <a:pt x="29051" y="171926"/>
                      <a:pt x="27623" y="172402"/>
                      <a:pt x="26194" y="17240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4" name="Grafik 3850">
                <a:extLst>
                  <a:ext uri="{FF2B5EF4-FFF2-40B4-BE49-F238E27FC236}">
                    <a16:creationId xmlns:a16="http://schemas.microsoft.com/office/drawing/2014/main" id="{E9EC46FE-D16B-0200-995C-E5A4251D3B6E}"/>
                  </a:ext>
                </a:extLst>
              </p:cNvPr>
              <p:cNvSpPr/>
              <p:nvPr/>
            </p:nvSpPr>
            <p:spPr bwMode="gray">
              <a:xfrm>
                <a:off x="5996764" y="3388892"/>
                <a:ext cx="171148" cy="177266"/>
              </a:xfrm>
              <a:custGeom>
                <a:avLst/>
                <a:gdLst>
                  <a:gd name="connsiteX0" fmla="*/ 64564 w 171148"/>
                  <a:gd name="connsiteY0" fmla="*/ 177267 h 177266"/>
                  <a:gd name="connsiteX1" fmla="*/ 3032 w 171148"/>
                  <a:gd name="connsiteY1" fmla="*/ 157740 h 177266"/>
                  <a:gd name="connsiteX2" fmla="*/ 1318 w 171148"/>
                  <a:gd name="connsiteY2" fmla="*/ 147834 h 177266"/>
                  <a:gd name="connsiteX3" fmla="*/ 11224 w 171148"/>
                  <a:gd name="connsiteY3" fmla="*/ 146120 h 177266"/>
                  <a:gd name="connsiteX4" fmla="*/ 64468 w 171148"/>
                  <a:gd name="connsiteY4" fmla="*/ 162979 h 177266"/>
                  <a:gd name="connsiteX5" fmla="*/ 156861 w 171148"/>
                  <a:gd name="connsiteY5" fmla="*/ 70587 h 177266"/>
                  <a:gd name="connsiteX6" fmla="*/ 135715 w 171148"/>
                  <a:gd name="connsiteY6" fmla="*/ 11722 h 177266"/>
                  <a:gd name="connsiteX7" fmla="*/ 136668 w 171148"/>
                  <a:gd name="connsiteY7" fmla="*/ 1626 h 177266"/>
                  <a:gd name="connsiteX8" fmla="*/ 146764 w 171148"/>
                  <a:gd name="connsiteY8" fmla="*/ 2578 h 177266"/>
                  <a:gd name="connsiteX9" fmla="*/ 171148 w 171148"/>
                  <a:gd name="connsiteY9" fmla="*/ 70491 h 177266"/>
                  <a:gd name="connsiteX10" fmla="*/ 64564 w 171148"/>
                  <a:gd name="connsiteY10" fmla="*/ 177267 h 1772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71148" h="177266">
                    <a:moveTo>
                      <a:pt x="64564" y="177267"/>
                    </a:moveTo>
                    <a:cubicBezTo>
                      <a:pt x="42370" y="177267"/>
                      <a:pt x="21130" y="170504"/>
                      <a:pt x="3032" y="157740"/>
                    </a:cubicBezTo>
                    <a:cubicBezTo>
                      <a:pt x="-206" y="155454"/>
                      <a:pt x="-968" y="150978"/>
                      <a:pt x="1318" y="147834"/>
                    </a:cubicBezTo>
                    <a:cubicBezTo>
                      <a:pt x="3604" y="144596"/>
                      <a:pt x="8080" y="143834"/>
                      <a:pt x="11224" y="146120"/>
                    </a:cubicBezTo>
                    <a:cubicBezTo>
                      <a:pt x="26845" y="157169"/>
                      <a:pt x="45323" y="162979"/>
                      <a:pt x="64468" y="162979"/>
                    </a:cubicBezTo>
                    <a:cubicBezTo>
                      <a:pt x="115427" y="162979"/>
                      <a:pt x="156861" y="121545"/>
                      <a:pt x="156861" y="70587"/>
                    </a:cubicBezTo>
                    <a:cubicBezTo>
                      <a:pt x="156861" y="49155"/>
                      <a:pt x="149336" y="28296"/>
                      <a:pt x="135715" y="11722"/>
                    </a:cubicBezTo>
                    <a:cubicBezTo>
                      <a:pt x="133239" y="8674"/>
                      <a:pt x="133620" y="4197"/>
                      <a:pt x="136668" y="1626"/>
                    </a:cubicBezTo>
                    <a:cubicBezTo>
                      <a:pt x="139716" y="-851"/>
                      <a:pt x="144193" y="-470"/>
                      <a:pt x="146764" y="2578"/>
                    </a:cubicBezTo>
                    <a:cubicBezTo>
                      <a:pt x="162481" y="21628"/>
                      <a:pt x="171148" y="45726"/>
                      <a:pt x="171148" y="70491"/>
                    </a:cubicBezTo>
                    <a:cubicBezTo>
                      <a:pt x="171244" y="129451"/>
                      <a:pt x="123428" y="177267"/>
                      <a:pt x="64564" y="17726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65" name="Grafik 3850">
                <a:extLst>
                  <a:ext uri="{FF2B5EF4-FFF2-40B4-BE49-F238E27FC236}">
                    <a16:creationId xmlns:a16="http://schemas.microsoft.com/office/drawing/2014/main" id="{4054ADC5-1A44-B643-1ACE-0381D783ED97}"/>
                  </a:ext>
                </a:extLst>
              </p:cNvPr>
              <p:cNvGrpSpPr/>
              <p:nvPr/>
            </p:nvGrpSpPr>
            <p:grpSpPr bwMode="gray">
              <a:xfrm>
                <a:off x="6091636" y="3352055"/>
                <a:ext cx="32634" cy="35414"/>
                <a:chOff x="6091636" y="3352055"/>
                <a:chExt cx="32634" cy="35414"/>
              </a:xfrm>
              <a:grpFill/>
            </p:grpSpPr>
            <p:sp>
              <p:nvSpPr>
                <p:cNvPr id="69" name="Grafik 3850">
                  <a:extLst>
                    <a:ext uri="{FF2B5EF4-FFF2-40B4-BE49-F238E27FC236}">
                      <a16:creationId xmlns:a16="http://schemas.microsoft.com/office/drawing/2014/main" id="{C270A23C-1945-B578-DA63-B0B113C4C1E8}"/>
                    </a:ext>
                  </a:extLst>
                </p:cNvPr>
                <p:cNvSpPr/>
                <p:nvPr/>
              </p:nvSpPr>
              <p:spPr bwMode="gray">
                <a:xfrm>
                  <a:off x="6107161" y="3352055"/>
                  <a:ext cx="17013" cy="32652"/>
                </a:xfrm>
                <a:custGeom>
                  <a:avLst/>
                  <a:gdLst>
                    <a:gd name="connsiteX0" fmla="*/ 9888 w 17013"/>
                    <a:gd name="connsiteY0" fmla="*/ 32653 h 32652"/>
                    <a:gd name="connsiteX1" fmla="*/ 2839 w 17013"/>
                    <a:gd name="connsiteY1" fmla="*/ 26557 h 32652"/>
                    <a:gd name="connsiteX2" fmla="*/ 77 w 17013"/>
                    <a:gd name="connsiteY2" fmla="*/ 8173 h 32652"/>
                    <a:gd name="connsiteX3" fmla="*/ 6078 w 17013"/>
                    <a:gd name="connsiteY3" fmla="*/ 77 h 32652"/>
                    <a:gd name="connsiteX4" fmla="*/ 14174 w 17013"/>
                    <a:gd name="connsiteY4" fmla="*/ 6078 h 32652"/>
                    <a:gd name="connsiteX5" fmla="*/ 16936 w 17013"/>
                    <a:gd name="connsiteY5" fmla="*/ 24461 h 32652"/>
                    <a:gd name="connsiteX6" fmla="*/ 10936 w 17013"/>
                    <a:gd name="connsiteY6" fmla="*/ 32557 h 32652"/>
                    <a:gd name="connsiteX7" fmla="*/ 9888 w 17013"/>
                    <a:gd name="connsiteY7" fmla="*/ 32653 h 326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7013" h="32652">
                      <a:moveTo>
                        <a:pt x="9888" y="32653"/>
                      </a:moveTo>
                      <a:cubicBezTo>
                        <a:pt x="6459" y="32653"/>
                        <a:pt x="3411" y="30081"/>
                        <a:pt x="2839" y="26557"/>
                      </a:cubicBezTo>
                      <a:lnTo>
                        <a:pt x="77" y="8173"/>
                      </a:lnTo>
                      <a:cubicBezTo>
                        <a:pt x="-494" y="4268"/>
                        <a:pt x="2173" y="649"/>
                        <a:pt x="6078" y="77"/>
                      </a:cubicBezTo>
                      <a:cubicBezTo>
                        <a:pt x="9983" y="-494"/>
                        <a:pt x="13603" y="2173"/>
                        <a:pt x="14174" y="6078"/>
                      </a:cubicBezTo>
                      <a:lnTo>
                        <a:pt x="16936" y="24461"/>
                      </a:lnTo>
                      <a:cubicBezTo>
                        <a:pt x="17508" y="28366"/>
                        <a:pt x="14841" y="31986"/>
                        <a:pt x="10936" y="32557"/>
                      </a:cubicBezTo>
                      <a:cubicBezTo>
                        <a:pt x="10650" y="32557"/>
                        <a:pt x="10269" y="32653"/>
                        <a:pt x="9888" y="3265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" name="Grafik 3850">
                  <a:extLst>
                    <a:ext uri="{FF2B5EF4-FFF2-40B4-BE49-F238E27FC236}">
                      <a16:creationId xmlns:a16="http://schemas.microsoft.com/office/drawing/2014/main" id="{FDA79B36-6028-8898-A242-BC91EDC0A34C}"/>
                    </a:ext>
                  </a:extLst>
                </p:cNvPr>
                <p:cNvSpPr/>
                <p:nvPr/>
              </p:nvSpPr>
              <p:spPr bwMode="gray">
                <a:xfrm>
                  <a:off x="6091636" y="3370438"/>
                  <a:ext cx="32634" cy="17031"/>
                </a:xfrm>
                <a:custGeom>
                  <a:avLst/>
                  <a:gdLst>
                    <a:gd name="connsiteX0" fmla="*/ 7126 w 32634"/>
                    <a:gd name="connsiteY0" fmla="*/ 17032 h 17031"/>
                    <a:gd name="connsiteX1" fmla="*/ 77 w 32634"/>
                    <a:gd name="connsiteY1" fmla="*/ 10936 h 17031"/>
                    <a:gd name="connsiteX2" fmla="*/ 6078 w 32634"/>
                    <a:gd name="connsiteY2" fmla="*/ 2839 h 17031"/>
                    <a:gd name="connsiteX3" fmla="*/ 24461 w 32634"/>
                    <a:gd name="connsiteY3" fmla="*/ 77 h 17031"/>
                    <a:gd name="connsiteX4" fmla="*/ 32557 w 32634"/>
                    <a:gd name="connsiteY4" fmla="*/ 6078 h 17031"/>
                    <a:gd name="connsiteX5" fmla="*/ 26557 w 32634"/>
                    <a:gd name="connsiteY5" fmla="*/ 14174 h 17031"/>
                    <a:gd name="connsiteX6" fmla="*/ 8173 w 32634"/>
                    <a:gd name="connsiteY6" fmla="*/ 16936 h 17031"/>
                    <a:gd name="connsiteX7" fmla="*/ 7126 w 32634"/>
                    <a:gd name="connsiteY7" fmla="*/ 17032 h 170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34" h="17031">
                      <a:moveTo>
                        <a:pt x="7126" y="17032"/>
                      </a:moveTo>
                      <a:cubicBezTo>
                        <a:pt x="3697" y="17032"/>
                        <a:pt x="649" y="14460"/>
                        <a:pt x="77" y="10936"/>
                      </a:cubicBezTo>
                      <a:cubicBezTo>
                        <a:pt x="-494" y="7030"/>
                        <a:pt x="2173" y="3411"/>
                        <a:pt x="6078" y="2839"/>
                      </a:cubicBezTo>
                      <a:lnTo>
                        <a:pt x="24461" y="77"/>
                      </a:lnTo>
                      <a:cubicBezTo>
                        <a:pt x="28366" y="-494"/>
                        <a:pt x="31986" y="2173"/>
                        <a:pt x="32557" y="6078"/>
                      </a:cubicBezTo>
                      <a:cubicBezTo>
                        <a:pt x="33129" y="9983"/>
                        <a:pt x="30462" y="13603"/>
                        <a:pt x="26557" y="14174"/>
                      </a:cubicBezTo>
                      <a:lnTo>
                        <a:pt x="8173" y="16936"/>
                      </a:lnTo>
                      <a:cubicBezTo>
                        <a:pt x="7792" y="17032"/>
                        <a:pt x="7507" y="17032"/>
                        <a:pt x="7126" y="170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6" name="Grafik 3850">
                <a:extLst>
                  <a:ext uri="{FF2B5EF4-FFF2-40B4-BE49-F238E27FC236}">
                    <a16:creationId xmlns:a16="http://schemas.microsoft.com/office/drawing/2014/main" id="{B2F039D3-0887-8ACA-1BB9-E8E78143C948}"/>
                  </a:ext>
                </a:extLst>
              </p:cNvPr>
              <p:cNvGrpSpPr/>
              <p:nvPr/>
            </p:nvGrpSpPr>
            <p:grpSpPr bwMode="gray">
              <a:xfrm>
                <a:off x="5993052" y="3527102"/>
                <a:ext cx="32539" cy="35437"/>
                <a:chOff x="5993052" y="3527102"/>
                <a:chExt cx="32539" cy="35437"/>
              </a:xfrm>
              <a:grpFill/>
            </p:grpSpPr>
            <p:sp>
              <p:nvSpPr>
                <p:cNvPr id="67" name="Grafik 3850">
                  <a:extLst>
                    <a:ext uri="{FF2B5EF4-FFF2-40B4-BE49-F238E27FC236}">
                      <a16:creationId xmlns:a16="http://schemas.microsoft.com/office/drawing/2014/main" id="{6FF72E09-B850-FBD2-B7A3-4719485CE782}"/>
                    </a:ext>
                  </a:extLst>
                </p:cNvPr>
                <p:cNvSpPr/>
                <p:nvPr/>
              </p:nvSpPr>
              <p:spPr bwMode="gray">
                <a:xfrm>
                  <a:off x="5993052" y="3529960"/>
                  <a:ext cx="17013" cy="32579"/>
                </a:xfrm>
                <a:custGeom>
                  <a:avLst/>
                  <a:gdLst>
                    <a:gd name="connsiteX0" fmla="*/ 9888 w 17013"/>
                    <a:gd name="connsiteY0" fmla="*/ 32580 h 32579"/>
                    <a:gd name="connsiteX1" fmla="*/ 2839 w 17013"/>
                    <a:gd name="connsiteY1" fmla="*/ 26484 h 32579"/>
                    <a:gd name="connsiteX2" fmla="*/ 77 w 17013"/>
                    <a:gd name="connsiteY2" fmla="*/ 8196 h 32579"/>
                    <a:gd name="connsiteX3" fmla="*/ 6078 w 17013"/>
                    <a:gd name="connsiteY3" fmla="*/ 99 h 32579"/>
                    <a:gd name="connsiteX4" fmla="*/ 14174 w 17013"/>
                    <a:gd name="connsiteY4" fmla="*/ 6100 h 32579"/>
                    <a:gd name="connsiteX5" fmla="*/ 16936 w 17013"/>
                    <a:gd name="connsiteY5" fmla="*/ 24388 h 32579"/>
                    <a:gd name="connsiteX6" fmla="*/ 10936 w 17013"/>
                    <a:gd name="connsiteY6" fmla="*/ 32484 h 32579"/>
                    <a:gd name="connsiteX7" fmla="*/ 9888 w 17013"/>
                    <a:gd name="connsiteY7" fmla="*/ 32580 h 325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7013" h="32579">
                      <a:moveTo>
                        <a:pt x="9888" y="32580"/>
                      </a:moveTo>
                      <a:cubicBezTo>
                        <a:pt x="6459" y="32580"/>
                        <a:pt x="3411" y="30008"/>
                        <a:pt x="2839" y="26484"/>
                      </a:cubicBezTo>
                      <a:lnTo>
                        <a:pt x="77" y="8196"/>
                      </a:lnTo>
                      <a:cubicBezTo>
                        <a:pt x="-494" y="4290"/>
                        <a:pt x="2173" y="671"/>
                        <a:pt x="6078" y="99"/>
                      </a:cubicBezTo>
                      <a:cubicBezTo>
                        <a:pt x="9983" y="-567"/>
                        <a:pt x="13603" y="2195"/>
                        <a:pt x="14174" y="6100"/>
                      </a:cubicBezTo>
                      <a:lnTo>
                        <a:pt x="16936" y="24388"/>
                      </a:lnTo>
                      <a:cubicBezTo>
                        <a:pt x="17508" y="28293"/>
                        <a:pt x="14841" y="31913"/>
                        <a:pt x="10936" y="32484"/>
                      </a:cubicBezTo>
                      <a:cubicBezTo>
                        <a:pt x="10650" y="32484"/>
                        <a:pt x="10269" y="32580"/>
                        <a:pt x="9888" y="325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8" name="Grafik 3850">
                  <a:extLst>
                    <a:ext uri="{FF2B5EF4-FFF2-40B4-BE49-F238E27FC236}">
                      <a16:creationId xmlns:a16="http://schemas.microsoft.com/office/drawing/2014/main" id="{2BEB1D0F-7137-E4ED-D16A-483649632F9B}"/>
                    </a:ext>
                  </a:extLst>
                </p:cNvPr>
                <p:cNvSpPr/>
                <p:nvPr/>
              </p:nvSpPr>
              <p:spPr bwMode="gray">
                <a:xfrm>
                  <a:off x="5993052" y="3527102"/>
                  <a:ext cx="32539" cy="17053"/>
                </a:xfrm>
                <a:custGeom>
                  <a:avLst/>
                  <a:gdLst>
                    <a:gd name="connsiteX0" fmla="*/ 7126 w 32539"/>
                    <a:gd name="connsiteY0" fmla="*/ 17054 h 17053"/>
                    <a:gd name="connsiteX1" fmla="*/ 77 w 32539"/>
                    <a:gd name="connsiteY1" fmla="*/ 10958 h 17053"/>
                    <a:gd name="connsiteX2" fmla="*/ 6078 w 32539"/>
                    <a:gd name="connsiteY2" fmla="*/ 2862 h 17053"/>
                    <a:gd name="connsiteX3" fmla="*/ 24366 w 32539"/>
                    <a:gd name="connsiteY3" fmla="*/ 99 h 17053"/>
                    <a:gd name="connsiteX4" fmla="*/ 32462 w 32539"/>
                    <a:gd name="connsiteY4" fmla="*/ 6100 h 17053"/>
                    <a:gd name="connsiteX5" fmla="*/ 26461 w 32539"/>
                    <a:gd name="connsiteY5" fmla="*/ 14196 h 17053"/>
                    <a:gd name="connsiteX6" fmla="*/ 8173 w 32539"/>
                    <a:gd name="connsiteY6" fmla="*/ 16959 h 17053"/>
                    <a:gd name="connsiteX7" fmla="*/ 7126 w 32539"/>
                    <a:gd name="connsiteY7" fmla="*/ 17054 h 170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539" h="17053">
                      <a:moveTo>
                        <a:pt x="7126" y="17054"/>
                      </a:moveTo>
                      <a:cubicBezTo>
                        <a:pt x="3697" y="17054"/>
                        <a:pt x="649" y="14482"/>
                        <a:pt x="77" y="10958"/>
                      </a:cubicBezTo>
                      <a:cubicBezTo>
                        <a:pt x="-494" y="7053"/>
                        <a:pt x="2173" y="3433"/>
                        <a:pt x="6078" y="2862"/>
                      </a:cubicBezTo>
                      <a:lnTo>
                        <a:pt x="24366" y="99"/>
                      </a:lnTo>
                      <a:cubicBezTo>
                        <a:pt x="28271" y="-567"/>
                        <a:pt x="31891" y="2195"/>
                        <a:pt x="32462" y="6100"/>
                      </a:cubicBezTo>
                      <a:cubicBezTo>
                        <a:pt x="33034" y="10005"/>
                        <a:pt x="30367" y="13625"/>
                        <a:pt x="26461" y="14196"/>
                      </a:cubicBezTo>
                      <a:lnTo>
                        <a:pt x="8173" y="16959"/>
                      </a:lnTo>
                      <a:cubicBezTo>
                        <a:pt x="7888" y="17054"/>
                        <a:pt x="7507" y="17054"/>
                        <a:pt x="7126" y="1705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76" name="Grafik 27">
            <a:extLst>
              <a:ext uri="{FF2B5EF4-FFF2-40B4-BE49-F238E27FC236}">
                <a16:creationId xmlns:a16="http://schemas.microsoft.com/office/drawing/2014/main" id="{6E6D34FC-E439-BACF-7618-22F48DCB9D5B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18304" y="240252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77" name="Grafik 27">
              <a:extLst>
                <a:ext uri="{FF2B5EF4-FFF2-40B4-BE49-F238E27FC236}">
                  <a16:creationId xmlns:a16="http://schemas.microsoft.com/office/drawing/2014/main" id="{FA91BE3F-39E0-8817-DDC4-E231217FC66A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8" name="Grafik 27">
              <a:extLst>
                <a:ext uri="{FF2B5EF4-FFF2-40B4-BE49-F238E27FC236}">
                  <a16:creationId xmlns:a16="http://schemas.microsoft.com/office/drawing/2014/main" id="{AF27360C-A39D-7DBA-F382-8CEA8691C36D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9" name="Grafik 27">
              <a:extLst>
                <a:ext uri="{FF2B5EF4-FFF2-40B4-BE49-F238E27FC236}">
                  <a16:creationId xmlns:a16="http://schemas.microsoft.com/office/drawing/2014/main" id="{7680EAA2-117B-C357-35EC-F99B4F49E343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0" name="Grafik 27">
              <a:extLst>
                <a:ext uri="{FF2B5EF4-FFF2-40B4-BE49-F238E27FC236}">
                  <a16:creationId xmlns:a16="http://schemas.microsoft.com/office/drawing/2014/main" id="{2C8C788E-7B0F-4108-7EBF-295D67F60334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1" name="Grafik 27">
              <a:extLst>
                <a:ext uri="{FF2B5EF4-FFF2-40B4-BE49-F238E27FC236}">
                  <a16:creationId xmlns:a16="http://schemas.microsoft.com/office/drawing/2014/main" id="{EB89D31C-2C6E-5DA6-DBD4-E5434E0D38E2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82" name="Grafik 27">
              <a:extLst>
                <a:ext uri="{FF2B5EF4-FFF2-40B4-BE49-F238E27FC236}">
                  <a16:creationId xmlns:a16="http://schemas.microsoft.com/office/drawing/2014/main" id="{36FC9DBC-EEAA-C148-DE98-6A6FF8EFDF34}"/>
                </a:ext>
              </a:extLst>
            </p:cNvPr>
            <p:cNvGrpSpPr/>
            <p:nvPr/>
          </p:nvGrpSpPr>
          <p:grpSpPr bwMode="gray">
            <a:xfrm>
              <a:off x="6183820" y="3431404"/>
              <a:ext cx="62936" cy="55506"/>
              <a:chOff x="6183820" y="3431404"/>
              <a:chExt cx="62936" cy="55506"/>
            </a:xfrm>
            <a:grpFill/>
          </p:grpSpPr>
          <p:sp>
            <p:nvSpPr>
              <p:cNvPr id="103" name="Grafik 27">
                <a:extLst>
                  <a:ext uri="{FF2B5EF4-FFF2-40B4-BE49-F238E27FC236}">
                    <a16:creationId xmlns:a16="http://schemas.microsoft.com/office/drawing/2014/main" id="{0B551C86-B048-0680-B941-156BB9955960}"/>
                  </a:ext>
                </a:extLst>
              </p:cNvPr>
              <p:cNvSpPr/>
              <p:nvPr/>
            </p:nvSpPr>
            <p:spPr bwMode="gray">
              <a:xfrm>
                <a:off x="6183820" y="3451954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722" y="14288"/>
                      <a:pt x="55721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4" name="Grafik 27">
                <a:extLst>
                  <a:ext uri="{FF2B5EF4-FFF2-40B4-BE49-F238E27FC236}">
                    <a16:creationId xmlns:a16="http://schemas.microsoft.com/office/drawing/2014/main" id="{085A29EA-335E-E023-2477-6B4D8D6BE3E9}"/>
                  </a:ext>
                </a:extLst>
              </p:cNvPr>
              <p:cNvSpPr/>
              <p:nvPr/>
            </p:nvSpPr>
            <p:spPr bwMode="gray">
              <a:xfrm>
                <a:off x="6211752" y="3431404"/>
                <a:ext cx="34909" cy="34837"/>
              </a:xfrm>
              <a:custGeom>
                <a:avLst/>
                <a:gdLst>
                  <a:gd name="connsiteX0" fmla="*/ 27789 w 34909"/>
                  <a:gd name="connsiteY0" fmla="*/ 34838 h 34837"/>
                  <a:gd name="connsiteX1" fmla="*/ 22741 w 34909"/>
                  <a:gd name="connsiteY1" fmla="*/ 32742 h 34837"/>
                  <a:gd name="connsiteX2" fmla="*/ 2072 w 34909"/>
                  <a:gd name="connsiteY2" fmla="*/ 12168 h 34837"/>
                  <a:gd name="connsiteX3" fmla="*/ 2072 w 34909"/>
                  <a:gd name="connsiteY3" fmla="*/ 2072 h 34837"/>
                  <a:gd name="connsiteX4" fmla="*/ 12168 w 34909"/>
                  <a:gd name="connsiteY4" fmla="*/ 2072 h 34837"/>
                  <a:gd name="connsiteX5" fmla="*/ 32837 w 34909"/>
                  <a:gd name="connsiteY5" fmla="*/ 22646 h 34837"/>
                  <a:gd name="connsiteX6" fmla="*/ 32837 w 34909"/>
                  <a:gd name="connsiteY6" fmla="*/ 32742 h 34837"/>
                  <a:gd name="connsiteX7" fmla="*/ 27789 w 34909"/>
                  <a:gd name="connsiteY7" fmla="*/ 34838 h 348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909" h="34837">
                    <a:moveTo>
                      <a:pt x="27789" y="34838"/>
                    </a:moveTo>
                    <a:cubicBezTo>
                      <a:pt x="25979" y="34838"/>
                      <a:pt x="24170" y="34171"/>
                      <a:pt x="22741" y="32742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2837" y="22646"/>
                    </a:lnTo>
                    <a:cubicBezTo>
                      <a:pt x="35600" y="25408"/>
                      <a:pt x="35600" y="29980"/>
                      <a:pt x="32837" y="32742"/>
                    </a:cubicBezTo>
                    <a:cubicBezTo>
                      <a:pt x="31504" y="34171"/>
                      <a:pt x="29599" y="34838"/>
                      <a:pt x="27789" y="348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5" name="Grafik 27">
                <a:extLst>
                  <a:ext uri="{FF2B5EF4-FFF2-40B4-BE49-F238E27FC236}">
                    <a16:creationId xmlns:a16="http://schemas.microsoft.com/office/drawing/2014/main" id="{4607FE09-865D-69B1-7E5A-F6798B8719F6}"/>
                  </a:ext>
                </a:extLst>
              </p:cNvPr>
              <p:cNvSpPr/>
              <p:nvPr/>
            </p:nvSpPr>
            <p:spPr bwMode="gray">
              <a:xfrm>
                <a:off x="6211847" y="3451978"/>
                <a:ext cx="34909" cy="34932"/>
              </a:xfrm>
              <a:custGeom>
                <a:avLst/>
                <a:gdLst>
                  <a:gd name="connsiteX0" fmla="*/ 7120 w 34909"/>
                  <a:gd name="connsiteY0" fmla="*/ 34933 h 34932"/>
                  <a:gd name="connsiteX1" fmla="*/ 2072 w 34909"/>
                  <a:gd name="connsiteY1" fmla="*/ 32837 h 34932"/>
                  <a:gd name="connsiteX2" fmla="*/ 2072 w 34909"/>
                  <a:gd name="connsiteY2" fmla="*/ 22741 h 34932"/>
                  <a:gd name="connsiteX3" fmla="*/ 22741 w 34909"/>
                  <a:gd name="connsiteY3" fmla="*/ 2072 h 34932"/>
                  <a:gd name="connsiteX4" fmla="*/ 32837 w 34909"/>
                  <a:gd name="connsiteY4" fmla="*/ 2072 h 34932"/>
                  <a:gd name="connsiteX5" fmla="*/ 32837 w 34909"/>
                  <a:gd name="connsiteY5" fmla="*/ 12168 h 34932"/>
                  <a:gd name="connsiteX6" fmla="*/ 12168 w 34909"/>
                  <a:gd name="connsiteY6" fmla="*/ 32837 h 34932"/>
                  <a:gd name="connsiteX7" fmla="*/ 7120 w 34909"/>
                  <a:gd name="connsiteY7" fmla="*/ 34933 h 349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909" h="34932">
                    <a:moveTo>
                      <a:pt x="7120" y="34933"/>
                    </a:moveTo>
                    <a:cubicBezTo>
                      <a:pt x="5310" y="34933"/>
                      <a:pt x="3500" y="34266"/>
                      <a:pt x="2072" y="32837"/>
                    </a:cubicBezTo>
                    <a:cubicBezTo>
                      <a:pt x="-691" y="30075"/>
                      <a:pt x="-691" y="25503"/>
                      <a:pt x="2072" y="22741"/>
                    </a:cubicBezTo>
                    <a:lnTo>
                      <a:pt x="22741" y="2072"/>
                    </a:lnTo>
                    <a:cubicBezTo>
                      <a:pt x="25503" y="-691"/>
                      <a:pt x="30075" y="-691"/>
                      <a:pt x="32837" y="2072"/>
                    </a:cubicBezTo>
                    <a:cubicBezTo>
                      <a:pt x="35600" y="4834"/>
                      <a:pt x="35600" y="9406"/>
                      <a:pt x="32837" y="12168"/>
                    </a:cubicBezTo>
                    <a:lnTo>
                      <a:pt x="12168" y="32837"/>
                    </a:lnTo>
                    <a:cubicBezTo>
                      <a:pt x="10739" y="34266"/>
                      <a:pt x="8930" y="34933"/>
                      <a:pt x="7120" y="3493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83" name="Grafik 27">
              <a:extLst>
                <a:ext uri="{FF2B5EF4-FFF2-40B4-BE49-F238E27FC236}">
                  <a16:creationId xmlns:a16="http://schemas.microsoft.com/office/drawing/2014/main" id="{348C7FE4-422F-CDE4-CBE2-6B9EAF2D0117}"/>
                </a:ext>
              </a:extLst>
            </p:cNvPr>
            <p:cNvGrpSpPr/>
            <p:nvPr/>
          </p:nvGrpSpPr>
          <p:grpSpPr bwMode="gray">
            <a:xfrm>
              <a:off x="5875972" y="3410830"/>
              <a:ext cx="111513" cy="96654"/>
              <a:chOff x="5875972" y="3410830"/>
              <a:chExt cx="111513" cy="96654"/>
            </a:xfrm>
            <a:grpFill/>
          </p:grpSpPr>
          <p:sp>
            <p:nvSpPr>
              <p:cNvPr id="100" name="Grafik 27">
                <a:extLst>
                  <a:ext uri="{FF2B5EF4-FFF2-40B4-BE49-F238E27FC236}">
                    <a16:creationId xmlns:a16="http://schemas.microsoft.com/office/drawing/2014/main" id="{8896B71F-236E-D8BF-3726-18E5D73232BD}"/>
                  </a:ext>
                </a:extLst>
              </p:cNvPr>
              <p:cNvSpPr/>
              <p:nvPr/>
            </p:nvSpPr>
            <p:spPr bwMode="gray">
              <a:xfrm>
                <a:off x="5875972" y="3451954"/>
                <a:ext cx="111442" cy="14287"/>
              </a:xfrm>
              <a:custGeom>
                <a:avLst/>
                <a:gdLst>
                  <a:gd name="connsiteX0" fmla="*/ 104394 w 111442"/>
                  <a:gd name="connsiteY0" fmla="*/ 14288 h 14287"/>
                  <a:gd name="connsiteX1" fmla="*/ 7144 w 111442"/>
                  <a:gd name="connsiteY1" fmla="*/ 14288 h 14287"/>
                  <a:gd name="connsiteX2" fmla="*/ 0 w 111442"/>
                  <a:gd name="connsiteY2" fmla="*/ 7144 h 14287"/>
                  <a:gd name="connsiteX3" fmla="*/ 7144 w 111442"/>
                  <a:gd name="connsiteY3" fmla="*/ 0 h 14287"/>
                  <a:gd name="connsiteX4" fmla="*/ 104299 w 111442"/>
                  <a:gd name="connsiteY4" fmla="*/ 0 h 14287"/>
                  <a:gd name="connsiteX5" fmla="*/ 111443 w 111442"/>
                  <a:gd name="connsiteY5" fmla="*/ 7144 h 14287"/>
                  <a:gd name="connsiteX6" fmla="*/ 104394 w 111442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1442" h="14287">
                    <a:moveTo>
                      <a:pt x="104394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104299" y="0"/>
                    </a:lnTo>
                    <a:cubicBezTo>
                      <a:pt x="108204" y="0"/>
                      <a:pt x="111443" y="3239"/>
                      <a:pt x="111443" y="7144"/>
                    </a:cubicBezTo>
                    <a:cubicBezTo>
                      <a:pt x="111443" y="11049"/>
                      <a:pt x="108299" y="14288"/>
                      <a:pt x="10439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1" name="Grafik 27">
                <a:extLst>
                  <a:ext uri="{FF2B5EF4-FFF2-40B4-BE49-F238E27FC236}">
                    <a16:creationId xmlns:a16="http://schemas.microsoft.com/office/drawing/2014/main" id="{7BF48B4D-65BF-1674-6AA6-16F2EB23E8D1}"/>
                  </a:ext>
                </a:extLst>
              </p:cNvPr>
              <p:cNvSpPr/>
              <p:nvPr/>
            </p:nvSpPr>
            <p:spPr bwMode="gray">
              <a:xfrm>
                <a:off x="5932002" y="3410830"/>
                <a:ext cx="55483" cy="55411"/>
              </a:xfrm>
              <a:custGeom>
                <a:avLst/>
                <a:gdLst>
                  <a:gd name="connsiteX0" fmla="*/ 48363 w 55483"/>
                  <a:gd name="connsiteY0" fmla="*/ 55412 h 55411"/>
                  <a:gd name="connsiteX1" fmla="*/ 43315 w 55483"/>
                  <a:gd name="connsiteY1" fmla="*/ 53316 h 55411"/>
                  <a:gd name="connsiteX2" fmla="*/ 2072 w 55483"/>
                  <a:gd name="connsiteY2" fmla="*/ 12168 h 55411"/>
                  <a:gd name="connsiteX3" fmla="*/ 2072 w 55483"/>
                  <a:gd name="connsiteY3" fmla="*/ 2072 h 55411"/>
                  <a:gd name="connsiteX4" fmla="*/ 12168 w 55483"/>
                  <a:gd name="connsiteY4" fmla="*/ 2072 h 55411"/>
                  <a:gd name="connsiteX5" fmla="*/ 53411 w 55483"/>
                  <a:gd name="connsiteY5" fmla="*/ 43315 h 55411"/>
                  <a:gd name="connsiteX6" fmla="*/ 53411 w 55483"/>
                  <a:gd name="connsiteY6" fmla="*/ 53411 h 55411"/>
                  <a:gd name="connsiteX7" fmla="*/ 48363 w 55483"/>
                  <a:gd name="connsiteY7" fmla="*/ 55412 h 554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483" h="55411">
                    <a:moveTo>
                      <a:pt x="48363" y="55412"/>
                    </a:moveTo>
                    <a:cubicBezTo>
                      <a:pt x="46553" y="55412"/>
                      <a:pt x="44744" y="54745"/>
                      <a:pt x="43315" y="53316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53411" y="43315"/>
                    </a:lnTo>
                    <a:cubicBezTo>
                      <a:pt x="56174" y="46077"/>
                      <a:pt x="56174" y="50649"/>
                      <a:pt x="53411" y="53411"/>
                    </a:cubicBezTo>
                    <a:cubicBezTo>
                      <a:pt x="51983" y="54745"/>
                      <a:pt x="50173" y="55412"/>
                      <a:pt x="48363" y="5541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2" name="Grafik 27">
                <a:extLst>
                  <a:ext uri="{FF2B5EF4-FFF2-40B4-BE49-F238E27FC236}">
                    <a16:creationId xmlns:a16="http://schemas.microsoft.com/office/drawing/2014/main" id="{31189A1D-EFA4-F484-8CEF-1815C7623483}"/>
                  </a:ext>
                </a:extLst>
              </p:cNvPr>
              <p:cNvSpPr/>
              <p:nvPr/>
            </p:nvSpPr>
            <p:spPr bwMode="gray">
              <a:xfrm>
                <a:off x="5932002" y="3451978"/>
                <a:ext cx="55483" cy="55506"/>
              </a:xfrm>
              <a:custGeom>
                <a:avLst/>
                <a:gdLst>
                  <a:gd name="connsiteX0" fmla="*/ 7120 w 55483"/>
                  <a:gd name="connsiteY0" fmla="*/ 55507 h 55506"/>
                  <a:gd name="connsiteX1" fmla="*/ 2072 w 55483"/>
                  <a:gd name="connsiteY1" fmla="*/ 53411 h 55506"/>
                  <a:gd name="connsiteX2" fmla="*/ 2072 w 55483"/>
                  <a:gd name="connsiteY2" fmla="*/ 43315 h 55506"/>
                  <a:gd name="connsiteX3" fmla="*/ 43315 w 55483"/>
                  <a:gd name="connsiteY3" fmla="*/ 2072 h 55506"/>
                  <a:gd name="connsiteX4" fmla="*/ 53411 w 55483"/>
                  <a:gd name="connsiteY4" fmla="*/ 2072 h 55506"/>
                  <a:gd name="connsiteX5" fmla="*/ 53411 w 55483"/>
                  <a:gd name="connsiteY5" fmla="*/ 12168 h 55506"/>
                  <a:gd name="connsiteX6" fmla="*/ 12168 w 55483"/>
                  <a:gd name="connsiteY6" fmla="*/ 53411 h 55506"/>
                  <a:gd name="connsiteX7" fmla="*/ 7120 w 55483"/>
                  <a:gd name="connsiteY7" fmla="*/ 55507 h 55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483" h="55506">
                    <a:moveTo>
                      <a:pt x="7120" y="55507"/>
                    </a:moveTo>
                    <a:cubicBezTo>
                      <a:pt x="5310" y="55507"/>
                      <a:pt x="3500" y="54840"/>
                      <a:pt x="2072" y="53411"/>
                    </a:cubicBezTo>
                    <a:cubicBezTo>
                      <a:pt x="-691" y="50649"/>
                      <a:pt x="-691" y="46077"/>
                      <a:pt x="2072" y="43315"/>
                    </a:cubicBezTo>
                    <a:lnTo>
                      <a:pt x="43315" y="2072"/>
                    </a:lnTo>
                    <a:cubicBezTo>
                      <a:pt x="46077" y="-691"/>
                      <a:pt x="50649" y="-691"/>
                      <a:pt x="53411" y="2072"/>
                    </a:cubicBezTo>
                    <a:cubicBezTo>
                      <a:pt x="56174" y="4834"/>
                      <a:pt x="56174" y="9406"/>
                      <a:pt x="53411" y="12168"/>
                    </a:cubicBezTo>
                    <a:lnTo>
                      <a:pt x="12168" y="53411"/>
                    </a:lnTo>
                    <a:cubicBezTo>
                      <a:pt x="10739" y="54840"/>
                      <a:pt x="8930" y="55507"/>
                      <a:pt x="7120" y="5550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84" name="Grafik 27">
              <a:extLst>
                <a:ext uri="{FF2B5EF4-FFF2-40B4-BE49-F238E27FC236}">
                  <a16:creationId xmlns:a16="http://schemas.microsoft.com/office/drawing/2014/main" id="{7CB23617-7F52-C1EF-C175-A9DE2A534BDD}"/>
                </a:ext>
              </a:extLst>
            </p:cNvPr>
            <p:cNvGrpSpPr/>
            <p:nvPr/>
          </p:nvGrpSpPr>
          <p:grpSpPr bwMode="gray">
            <a:xfrm>
              <a:off x="6029824" y="3306150"/>
              <a:ext cx="111609" cy="305919"/>
              <a:chOff x="6029824" y="3306150"/>
              <a:chExt cx="111609" cy="305919"/>
            </a:xfrm>
            <a:grpFill/>
          </p:grpSpPr>
          <p:sp>
            <p:nvSpPr>
              <p:cNvPr id="85" name="Grafik 27">
                <a:extLst>
                  <a:ext uri="{FF2B5EF4-FFF2-40B4-BE49-F238E27FC236}">
                    <a16:creationId xmlns:a16="http://schemas.microsoft.com/office/drawing/2014/main" id="{D3480091-D6E0-5863-5A1E-1CAABD673720}"/>
                  </a:ext>
                </a:extLst>
              </p:cNvPr>
              <p:cNvSpPr/>
              <p:nvPr/>
            </p:nvSpPr>
            <p:spPr bwMode="gray">
              <a:xfrm>
                <a:off x="6029895" y="3306222"/>
                <a:ext cx="111537" cy="305847"/>
              </a:xfrm>
              <a:custGeom>
                <a:avLst/>
                <a:gdLst>
                  <a:gd name="connsiteX0" fmla="*/ 104299 w 111537"/>
                  <a:gd name="connsiteY0" fmla="*/ 305848 h 305847"/>
                  <a:gd name="connsiteX1" fmla="*/ 7144 w 111537"/>
                  <a:gd name="connsiteY1" fmla="*/ 305848 h 305847"/>
                  <a:gd name="connsiteX2" fmla="*/ 0 w 111537"/>
                  <a:gd name="connsiteY2" fmla="*/ 298704 h 305847"/>
                  <a:gd name="connsiteX3" fmla="*/ 0 w 111537"/>
                  <a:gd name="connsiteY3" fmla="*/ 7144 h 305847"/>
                  <a:gd name="connsiteX4" fmla="*/ 7144 w 111537"/>
                  <a:gd name="connsiteY4" fmla="*/ 0 h 305847"/>
                  <a:gd name="connsiteX5" fmla="*/ 104394 w 111537"/>
                  <a:gd name="connsiteY5" fmla="*/ 0 h 305847"/>
                  <a:gd name="connsiteX6" fmla="*/ 111538 w 111537"/>
                  <a:gd name="connsiteY6" fmla="*/ 7144 h 305847"/>
                  <a:gd name="connsiteX7" fmla="*/ 111538 w 111537"/>
                  <a:gd name="connsiteY7" fmla="*/ 298704 h 305847"/>
                  <a:gd name="connsiteX8" fmla="*/ 104299 w 111537"/>
                  <a:gd name="connsiteY8" fmla="*/ 305848 h 305847"/>
                  <a:gd name="connsiteX9" fmla="*/ 14288 w 111537"/>
                  <a:gd name="connsiteY9" fmla="*/ 291560 h 305847"/>
                  <a:gd name="connsiteX10" fmla="*/ 97250 w 111537"/>
                  <a:gd name="connsiteY10" fmla="*/ 291560 h 305847"/>
                  <a:gd name="connsiteX11" fmla="*/ 97250 w 111537"/>
                  <a:gd name="connsiteY11" fmla="*/ 14288 h 305847"/>
                  <a:gd name="connsiteX12" fmla="*/ 14288 w 111537"/>
                  <a:gd name="connsiteY12" fmla="*/ 14288 h 305847"/>
                  <a:gd name="connsiteX13" fmla="*/ 14288 w 111537"/>
                  <a:gd name="connsiteY13" fmla="*/ 291560 h 305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11537" h="305847">
                    <a:moveTo>
                      <a:pt x="104299" y="305848"/>
                    </a:moveTo>
                    <a:lnTo>
                      <a:pt x="7144" y="305848"/>
                    </a:lnTo>
                    <a:cubicBezTo>
                      <a:pt x="3239" y="305848"/>
                      <a:pt x="0" y="302609"/>
                      <a:pt x="0" y="29870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104394" y="0"/>
                    </a:lnTo>
                    <a:cubicBezTo>
                      <a:pt x="108299" y="0"/>
                      <a:pt x="111538" y="3239"/>
                      <a:pt x="111538" y="7144"/>
                    </a:cubicBezTo>
                    <a:lnTo>
                      <a:pt x="111538" y="298704"/>
                    </a:lnTo>
                    <a:cubicBezTo>
                      <a:pt x="111443" y="302609"/>
                      <a:pt x="108299" y="305848"/>
                      <a:pt x="104299" y="305848"/>
                    </a:cubicBezTo>
                    <a:close/>
                    <a:moveTo>
                      <a:pt x="14288" y="291560"/>
                    </a:moveTo>
                    <a:lnTo>
                      <a:pt x="97250" y="291560"/>
                    </a:lnTo>
                    <a:lnTo>
                      <a:pt x="97250" y="14288"/>
                    </a:lnTo>
                    <a:lnTo>
                      <a:pt x="14288" y="14288"/>
                    </a:lnTo>
                    <a:lnTo>
                      <a:pt x="14288" y="29156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6" name="Grafik 27">
                <a:extLst>
                  <a:ext uri="{FF2B5EF4-FFF2-40B4-BE49-F238E27FC236}">
                    <a16:creationId xmlns:a16="http://schemas.microsoft.com/office/drawing/2014/main" id="{57062201-74D6-0909-61C7-D78B741B1427}"/>
                  </a:ext>
                </a:extLst>
              </p:cNvPr>
              <p:cNvSpPr/>
              <p:nvPr/>
            </p:nvSpPr>
            <p:spPr bwMode="gray">
              <a:xfrm>
                <a:off x="6029919" y="3306246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180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7" name="Grafik 27">
                <a:extLst>
                  <a:ext uri="{FF2B5EF4-FFF2-40B4-BE49-F238E27FC236}">
                    <a16:creationId xmlns:a16="http://schemas.microsoft.com/office/drawing/2014/main" id="{566774D0-4C90-5AE1-E08D-E7971F41C298}"/>
                  </a:ext>
                </a:extLst>
              </p:cNvPr>
              <p:cNvSpPr/>
              <p:nvPr/>
            </p:nvSpPr>
            <p:spPr bwMode="gray">
              <a:xfrm>
                <a:off x="6029824" y="3403496"/>
                <a:ext cx="111490" cy="111418"/>
              </a:xfrm>
              <a:custGeom>
                <a:avLst/>
                <a:gdLst>
                  <a:gd name="connsiteX0" fmla="*/ 104370 w 111490"/>
                  <a:gd name="connsiteY0" fmla="*/ 111419 h 111418"/>
                  <a:gd name="connsiteX1" fmla="*/ 99322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227 h 111418"/>
                  <a:gd name="connsiteX6" fmla="*/ 109418 w 111490"/>
                  <a:gd name="connsiteY6" fmla="*/ 109323 h 111418"/>
                  <a:gd name="connsiteX7" fmla="*/ 10437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370" y="111419"/>
                    </a:moveTo>
                    <a:cubicBezTo>
                      <a:pt x="102560" y="111419"/>
                      <a:pt x="100751" y="110752"/>
                      <a:pt x="99322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227"/>
                    </a:lnTo>
                    <a:cubicBezTo>
                      <a:pt x="112181" y="101989"/>
                      <a:pt x="112181" y="106561"/>
                      <a:pt x="109418" y="109323"/>
                    </a:cubicBezTo>
                    <a:cubicBezTo>
                      <a:pt x="108085" y="110657"/>
                      <a:pt x="106275" y="111419"/>
                      <a:pt x="10437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8" name="Grafik 27">
                <a:extLst>
                  <a:ext uri="{FF2B5EF4-FFF2-40B4-BE49-F238E27FC236}">
                    <a16:creationId xmlns:a16="http://schemas.microsoft.com/office/drawing/2014/main" id="{6152D50B-5A44-F5F0-C389-8A513BB64B6D}"/>
                  </a:ext>
                </a:extLst>
              </p:cNvPr>
              <p:cNvSpPr/>
              <p:nvPr/>
            </p:nvSpPr>
            <p:spPr bwMode="gray">
              <a:xfrm>
                <a:off x="6029919" y="3354823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180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9" name="Grafik 27">
                <a:extLst>
                  <a:ext uri="{FF2B5EF4-FFF2-40B4-BE49-F238E27FC236}">
                    <a16:creationId xmlns:a16="http://schemas.microsoft.com/office/drawing/2014/main" id="{12700791-4824-93B1-ECE9-2AAAA9FC2896}"/>
                  </a:ext>
                </a:extLst>
              </p:cNvPr>
              <p:cNvSpPr/>
              <p:nvPr/>
            </p:nvSpPr>
            <p:spPr bwMode="gray">
              <a:xfrm>
                <a:off x="6029824" y="3452073"/>
                <a:ext cx="111490" cy="111418"/>
              </a:xfrm>
              <a:custGeom>
                <a:avLst/>
                <a:gdLst>
                  <a:gd name="connsiteX0" fmla="*/ 104370 w 111490"/>
                  <a:gd name="connsiteY0" fmla="*/ 111419 h 111418"/>
                  <a:gd name="connsiteX1" fmla="*/ 99322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227 h 111418"/>
                  <a:gd name="connsiteX6" fmla="*/ 109418 w 111490"/>
                  <a:gd name="connsiteY6" fmla="*/ 109323 h 111418"/>
                  <a:gd name="connsiteX7" fmla="*/ 10437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370" y="111419"/>
                    </a:moveTo>
                    <a:cubicBezTo>
                      <a:pt x="102560" y="111419"/>
                      <a:pt x="100751" y="110752"/>
                      <a:pt x="99322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227"/>
                    </a:lnTo>
                    <a:cubicBezTo>
                      <a:pt x="112181" y="101989"/>
                      <a:pt x="112181" y="106561"/>
                      <a:pt x="109418" y="109323"/>
                    </a:cubicBezTo>
                    <a:cubicBezTo>
                      <a:pt x="108085" y="110657"/>
                      <a:pt x="106275" y="111419"/>
                      <a:pt x="10437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" name="Grafik 27">
                <a:extLst>
                  <a:ext uri="{FF2B5EF4-FFF2-40B4-BE49-F238E27FC236}">
                    <a16:creationId xmlns:a16="http://schemas.microsoft.com/office/drawing/2014/main" id="{41431D29-9578-BD0F-974D-59789BF04480}"/>
                  </a:ext>
                </a:extLst>
              </p:cNvPr>
              <p:cNvSpPr/>
              <p:nvPr/>
            </p:nvSpPr>
            <p:spPr bwMode="gray">
              <a:xfrm>
                <a:off x="6029919" y="3500651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180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1" name="Grafik 27">
                <a:extLst>
                  <a:ext uri="{FF2B5EF4-FFF2-40B4-BE49-F238E27FC236}">
                    <a16:creationId xmlns:a16="http://schemas.microsoft.com/office/drawing/2014/main" id="{211AED28-7A4A-6C99-572D-15F5EC9D3954}"/>
                  </a:ext>
                </a:extLst>
              </p:cNvPr>
              <p:cNvSpPr/>
              <p:nvPr/>
            </p:nvSpPr>
            <p:spPr bwMode="gray">
              <a:xfrm>
                <a:off x="6029919" y="3306150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2" name="Grafik 27">
                <a:extLst>
                  <a:ext uri="{FF2B5EF4-FFF2-40B4-BE49-F238E27FC236}">
                    <a16:creationId xmlns:a16="http://schemas.microsoft.com/office/drawing/2014/main" id="{8C786D72-5E02-BCA7-5F12-FABBD89EF994}"/>
                  </a:ext>
                </a:extLst>
              </p:cNvPr>
              <p:cNvSpPr/>
              <p:nvPr/>
            </p:nvSpPr>
            <p:spPr bwMode="gray">
              <a:xfrm>
                <a:off x="6029919" y="3306246"/>
                <a:ext cx="62817" cy="62841"/>
              </a:xfrm>
              <a:custGeom>
                <a:avLst/>
                <a:gdLst>
                  <a:gd name="connsiteX0" fmla="*/ 7120 w 62817"/>
                  <a:gd name="connsiteY0" fmla="*/ 62841 h 62841"/>
                  <a:gd name="connsiteX1" fmla="*/ 2072 w 62817"/>
                  <a:gd name="connsiteY1" fmla="*/ 60746 h 62841"/>
                  <a:gd name="connsiteX2" fmla="*/ 2072 w 62817"/>
                  <a:gd name="connsiteY2" fmla="*/ 50649 h 62841"/>
                  <a:gd name="connsiteX3" fmla="*/ 50649 w 62817"/>
                  <a:gd name="connsiteY3" fmla="*/ 2072 h 62841"/>
                  <a:gd name="connsiteX4" fmla="*/ 60746 w 62817"/>
                  <a:gd name="connsiteY4" fmla="*/ 2072 h 62841"/>
                  <a:gd name="connsiteX5" fmla="*/ 60746 w 62817"/>
                  <a:gd name="connsiteY5" fmla="*/ 12168 h 62841"/>
                  <a:gd name="connsiteX6" fmla="*/ 12168 w 62817"/>
                  <a:gd name="connsiteY6" fmla="*/ 60746 h 62841"/>
                  <a:gd name="connsiteX7" fmla="*/ 7120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7120" y="62841"/>
                    </a:moveTo>
                    <a:cubicBezTo>
                      <a:pt x="5310" y="62841"/>
                      <a:pt x="3500" y="62174"/>
                      <a:pt x="2072" y="60746"/>
                    </a:cubicBezTo>
                    <a:cubicBezTo>
                      <a:pt x="-691" y="57983"/>
                      <a:pt x="-691" y="53411"/>
                      <a:pt x="2072" y="50649"/>
                    </a:cubicBezTo>
                    <a:lnTo>
                      <a:pt x="50649" y="2072"/>
                    </a:lnTo>
                    <a:cubicBezTo>
                      <a:pt x="53411" y="-691"/>
                      <a:pt x="57983" y="-691"/>
                      <a:pt x="60746" y="2072"/>
                    </a:cubicBezTo>
                    <a:cubicBezTo>
                      <a:pt x="63508" y="4834"/>
                      <a:pt x="63508" y="9406"/>
                      <a:pt x="60746" y="12168"/>
                    </a:cubicBezTo>
                    <a:lnTo>
                      <a:pt x="12168" y="60746"/>
                    </a:lnTo>
                    <a:cubicBezTo>
                      <a:pt x="10739" y="62174"/>
                      <a:pt x="8930" y="62841"/>
                      <a:pt x="7120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3" name="Grafik 27">
                <a:extLst>
                  <a:ext uri="{FF2B5EF4-FFF2-40B4-BE49-F238E27FC236}">
                    <a16:creationId xmlns:a16="http://schemas.microsoft.com/office/drawing/2014/main" id="{A956F25C-B4D8-62ED-11AB-C3872311BE6A}"/>
                  </a:ext>
                </a:extLst>
              </p:cNvPr>
              <p:cNvSpPr/>
              <p:nvPr/>
            </p:nvSpPr>
            <p:spPr bwMode="gray">
              <a:xfrm>
                <a:off x="6029919" y="3403496"/>
                <a:ext cx="111490" cy="111418"/>
              </a:xfrm>
              <a:custGeom>
                <a:avLst/>
                <a:gdLst>
                  <a:gd name="connsiteX0" fmla="*/ 7120 w 111490"/>
                  <a:gd name="connsiteY0" fmla="*/ 111419 h 111418"/>
                  <a:gd name="connsiteX1" fmla="*/ 2072 w 111490"/>
                  <a:gd name="connsiteY1" fmla="*/ 109323 h 111418"/>
                  <a:gd name="connsiteX2" fmla="*/ 2072 w 111490"/>
                  <a:gd name="connsiteY2" fmla="*/ 99227 h 111418"/>
                  <a:gd name="connsiteX3" fmla="*/ 99322 w 111490"/>
                  <a:gd name="connsiteY3" fmla="*/ 2072 h 111418"/>
                  <a:gd name="connsiteX4" fmla="*/ 109418 w 111490"/>
                  <a:gd name="connsiteY4" fmla="*/ 2072 h 111418"/>
                  <a:gd name="connsiteX5" fmla="*/ 109418 w 111490"/>
                  <a:gd name="connsiteY5" fmla="*/ 12168 h 111418"/>
                  <a:gd name="connsiteX6" fmla="*/ 12168 w 111490"/>
                  <a:gd name="connsiteY6" fmla="*/ 109323 h 111418"/>
                  <a:gd name="connsiteX7" fmla="*/ 712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7120" y="111419"/>
                    </a:moveTo>
                    <a:cubicBezTo>
                      <a:pt x="5310" y="111419"/>
                      <a:pt x="3500" y="110752"/>
                      <a:pt x="2072" y="109323"/>
                    </a:cubicBezTo>
                    <a:cubicBezTo>
                      <a:pt x="-691" y="106561"/>
                      <a:pt x="-691" y="101989"/>
                      <a:pt x="2072" y="99227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323"/>
                    </a:lnTo>
                    <a:cubicBezTo>
                      <a:pt x="10739" y="110657"/>
                      <a:pt x="8930" y="111419"/>
                      <a:pt x="712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4" name="Grafik 27">
                <a:extLst>
                  <a:ext uri="{FF2B5EF4-FFF2-40B4-BE49-F238E27FC236}">
                    <a16:creationId xmlns:a16="http://schemas.microsoft.com/office/drawing/2014/main" id="{A1D97FF6-3F16-9482-9871-13F23A77ED18}"/>
                  </a:ext>
                </a:extLst>
              </p:cNvPr>
              <p:cNvSpPr/>
              <p:nvPr/>
            </p:nvSpPr>
            <p:spPr bwMode="gray">
              <a:xfrm>
                <a:off x="6029919" y="3354728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5" name="Grafik 27">
                <a:extLst>
                  <a:ext uri="{FF2B5EF4-FFF2-40B4-BE49-F238E27FC236}">
                    <a16:creationId xmlns:a16="http://schemas.microsoft.com/office/drawing/2014/main" id="{ED4111F2-EF2D-FAF0-C037-AF0E5FA14DFB}"/>
                  </a:ext>
                </a:extLst>
              </p:cNvPr>
              <p:cNvSpPr/>
              <p:nvPr/>
            </p:nvSpPr>
            <p:spPr bwMode="gray">
              <a:xfrm>
                <a:off x="6029919" y="3452073"/>
                <a:ext cx="111490" cy="111418"/>
              </a:xfrm>
              <a:custGeom>
                <a:avLst/>
                <a:gdLst>
                  <a:gd name="connsiteX0" fmla="*/ 7120 w 111490"/>
                  <a:gd name="connsiteY0" fmla="*/ 111419 h 111418"/>
                  <a:gd name="connsiteX1" fmla="*/ 2072 w 111490"/>
                  <a:gd name="connsiteY1" fmla="*/ 109323 h 111418"/>
                  <a:gd name="connsiteX2" fmla="*/ 2072 w 111490"/>
                  <a:gd name="connsiteY2" fmla="*/ 99227 h 111418"/>
                  <a:gd name="connsiteX3" fmla="*/ 99322 w 111490"/>
                  <a:gd name="connsiteY3" fmla="*/ 2072 h 111418"/>
                  <a:gd name="connsiteX4" fmla="*/ 109418 w 111490"/>
                  <a:gd name="connsiteY4" fmla="*/ 2072 h 111418"/>
                  <a:gd name="connsiteX5" fmla="*/ 109418 w 111490"/>
                  <a:gd name="connsiteY5" fmla="*/ 12168 h 111418"/>
                  <a:gd name="connsiteX6" fmla="*/ 12168 w 111490"/>
                  <a:gd name="connsiteY6" fmla="*/ 109323 h 111418"/>
                  <a:gd name="connsiteX7" fmla="*/ 712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7120" y="111419"/>
                    </a:moveTo>
                    <a:cubicBezTo>
                      <a:pt x="5310" y="111419"/>
                      <a:pt x="3500" y="110752"/>
                      <a:pt x="2072" y="109323"/>
                    </a:cubicBezTo>
                    <a:cubicBezTo>
                      <a:pt x="-691" y="106561"/>
                      <a:pt x="-691" y="101989"/>
                      <a:pt x="2072" y="99227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323"/>
                    </a:lnTo>
                    <a:cubicBezTo>
                      <a:pt x="10739" y="110657"/>
                      <a:pt x="8930" y="111419"/>
                      <a:pt x="712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6" name="Grafik 27">
                <a:extLst>
                  <a:ext uri="{FF2B5EF4-FFF2-40B4-BE49-F238E27FC236}">
                    <a16:creationId xmlns:a16="http://schemas.microsoft.com/office/drawing/2014/main" id="{A1150D55-5608-2AA1-7D1C-642B3572E69D}"/>
                  </a:ext>
                </a:extLst>
              </p:cNvPr>
              <p:cNvSpPr/>
              <p:nvPr/>
            </p:nvSpPr>
            <p:spPr bwMode="gray">
              <a:xfrm>
                <a:off x="6029919" y="3500556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7" name="Grafik 27">
                <a:extLst>
                  <a:ext uri="{FF2B5EF4-FFF2-40B4-BE49-F238E27FC236}">
                    <a16:creationId xmlns:a16="http://schemas.microsoft.com/office/drawing/2014/main" id="{11DF5664-C6E4-CF09-5E77-376594A8AC3A}"/>
                  </a:ext>
                </a:extLst>
              </p:cNvPr>
              <p:cNvSpPr/>
              <p:nvPr/>
            </p:nvSpPr>
            <p:spPr bwMode="gray">
              <a:xfrm>
                <a:off x="6078497" y="3549228"/>
                <a:ext cx="62817" cy="62841"/>
              </a:xfrm>
              <a:custGeom>
                <a:avLst/>
                <a:gdLst>
                  <a:gd name="connsiteX0" fmla="*/ 7120 w 62817"/>
                  <a:gd name="connsiteY0" fmla="*/ 62841 h 62841"/>
                  <a:gd name="connsiteX1" fmla="*/ 2072 w 62817"/>
                  <a:gd name="connsiteY1" fmla="*/ 60746 h 62841"/>
                  <a:gd name="connsiteX2" fmla="*/ 2072 w 62817"/>
                  <a:gd name="connsiteY2" fmla="*/ 50649 h 62841"/>
                  <a:gd name="connsiteX3" fmla="*/ 50649 w 62817"/>
                  <a:gd name="connsiteY3" fmla="*/ 2072 h 62841"/>
                  <a:gd name="connsiteX4" fmla="*/ 60746 w 62817"/>
                  <a:gd name="connsiteY4" fmla="*/ 2072 h 62841"/>
                  <a:gd name="connsiteX5" fmla="*/ 60746 w 62817"/>
                  <a:gd name="connsiteY5" fmla="*/ 12168 h 62841"/>
                  <a:gd name="connsiteX6" fmla="*/ 12168 w 62817"/>
                  <a:gd name="connsiteY6" fmla="*/ 60746 h 62841"/>
                  <a:gd name="connsiteX7" fmla="*/ 7120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7120" y="62841"/>
                    </a:moveTo>
                    <a:cubicBezTo>
                      <a:pt x="5310" y="62841"/>
                      <a:pt x="3500" y="62174"/>
                      <a:pt x="2072" y="60746"/>
                    </a:cubicBezTo>
                    <a:cubicBezTo>
                      <a:pt x="-691" y="57983"/>
                      <a:pt x="-691" y="53411"/>
                      <a:pt x="2072" y="50649"/>
                    </a:cubicBezTo>
                    <a:lnTo>
                      <a:pt x="50649" y="2072"/>
                    </a:lnTo>
                    <a:cubicBezTo>
                      <a:pt x="53411" y="-691"/>
                      <a:pt x="57983" y="-691"/>
                      <a:pt x="60746" y="2072"/>
                    </a:cubicBezTo>
                    <a:cubicBezTo>
                      <a:pt x="63508" y="4834"/>
                      <a:pt x="63508" y="9406"/>
                      <a:pt x="60746" y="12168"/>
                    </a:cubicBezTo>
                    <a:lnTo>
                      <a:pt x="12168" y="60746"/>
                    </a:lnTo>
                    <a:cubicBezTo>
                      <a:pt x="10835" y="62174"/>
                      <a:pt x="8930" y="62841"/>
                      <a:pt x="7120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8" name="Grafik 27">
                <a:extLst>
                  <a:ext uri="{FF2B5EF4-FFF2-40B4-BE49-F238E27FC236}">
                    <a16:creationId xmlns:a16="http://schemas.microsoft.com/office/drawing/2014/main" id="{345E5C50-732A-4705-C837-043F6FECC684}"/>
                  </a:ext>
                </a:extLst>
              </p:cNvPr>
              <p:cNvSpPr/>
              <p:nvPr/>
            </p:nvSpPr>
            <p:spPr bwMode="gray">
              <a:xfrm>
                <a:off x="6078497" y="3306246"/>
                <a:ext cx="62817" cy="62841"/>
              </a:xfrm>
              <a:custGeom>
                <a:avLst/>
                <a:gdLst>
                  <a:gd name="connsiteX0" fmla="*/ 55697 w 62817"/>
                  <a:gd name="connsiteY0" fmla="*/ 62841 h 62841"/>
                  <a:gd name="connsiteX1" fmla="*/ 50649 w 62817"/>
                  <a:gd name="connsiteY1" fmla="*/ 60746 h 62841"/>
                  <a:gd name="connsiteX2" fmla="*/ 2072 w 62817"/>
                  <a:gd name="connsiteY2" fmla="*/ 12168 h 62841"/>
                  <a:gd name="connsiteX3" fmla="*/ 2072 w 62817"/>
                  <a:gd name="connsiteY3" fmla="*/ 2072 h 62841"/>
                  <a:gd name="connsiteX4" fmla="*/ 12168 w 62817"/>
                  <a:gd name="connsiteY4" fmla="*/ 2072 h 62841"/>
                  <a:gd name="connsiteX5" fmla="*/ 60746 w 62817"/>
                  <a:gd name="connsiteY5" fmla="*/ 50649 h 62841"/>
                  <a:gd name="connsiteX6" fmla="*/ 60746 w 62817"/>
                  <a:gd name="connsiteY6" fmla="*/ 60746 h 62841"/>
                  <a:gd name="connsiteX7" fmla="*/ 55697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55697" y="62841"/>
                    </a:moveTo>
                    <a:cubicBezTo>
                      <a:pt x="53888" y="62841"/>
                      <a:pt x="52078" y="62174"/>
                      <a:pt x="50649" y="60746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60746" y="50649"/>
                    </a:lnTo>
                    <a:cubicBezTo>
                      <a:pt x="63508" y="53411"/>
                      <a:pt x="63508" y="57983"/>
                      <a:pt x="60746" y="60746"/>
                    </a:cubicBezTo>
                    <a:cubicBezTo>
                      <a:pt x="59412" y="62174"/>
                      <a:pt x="57602" y="62841"/>
                      <a:pt x="55697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9" name="Grafik 27">
                <a:extLst>
                  <a:ext uri="{FF2B5EF4-FFF2-40B4-BE49-F238E27FC236}">
                    <a16:creationId xmlns:a16="http://schemas.microsoft.com/office/drawing/2014/main" id="{509A4903-0D9E-6E2C-F517-73E0D4A7EE82}"/>
                  </a:ext>
                </a:extLst>
              </p:cNvPr>
              <p:cNvSpPr/>
              <p:nvPr/>
            </p:nvSpPr>
            <p:spPr bwMode="gray">
              <a:xfrm>
                <a:off x="6029919" y="3549228"/>
                <a:ext cx="62817" cy="62841"/>
              </a:xfrm>
              <a:custGeom>
                <a:avLst/>
                <a:gdLst>
                  <a:gd name="connsiteX0" fmla="*/ 55697 w 62817"/>
                  <a:gd name="connsiteY0" fmla="*/ 62841 h 62841"/>
                  <a:gd name="connsiteX1" fmla="*/ 50649 w 62817"/>
                  <a:gd name="connsiteY1" fmla="*/ 60746 h 62841"/>
                  <a:gd name="connsiteX2" fmla="*/ 2072 w 62817"/>
                  <a:gd name="connsiteY2" fmla="*/ 12168 h 62841"/>
                  <a:gd name="connsiteX3" fmla="*/ 2072 w 62817"/>
                  <a:gd name="connsiteY3" fmla="*/ 2072 h 62841"/>
                  <a:gd name="connsiteX4" fmla="*/ 12168 w 62817"/>
                  <a:gd name="connsiteY4" fmla="*/ 2072 h 62841"/>
                  <a:gd name="connsiteX5" fmla="*/ 60746 w 62817"/>
                  <a:gd name="connsiteY5" fmla="*/ 50649 h 62841"/>
                  <a:gd name="connsiteX6" fmla="*/ 60746 w 62817"/>
                  <a:gd name="connsiteY6" fmla="*/ 60746 h 62841"/>
                  <a:gd name="connsiteX7" fmla="*/ 55697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55697" y="62841"/>
                    </a:moveTo>
                    <a:cubicBezTo>
                      <a:pt x="53888" y="62841"/>
                      <a:pt x="52078" y="62174"/>
                      <a:pt x="50649" y="60746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60746" y="50649"/>
                    </a:lnTo>
                    <a:cubicBezTo>
                      <a:pt x="63508" y="53411"/>
                      <a:pt x="63508" y="57983"/>
                      <a:pt x="60746" y="60746"/>
                    </a:cubicBezTo>
                    <a:cubicBezTo>
                      <a:pt x="59412" y="62174"/>
                      <a:pt x="57507" y="62841"/>
                      <a:pt x="55697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06" name="Grafik 29">
            <a:extLst>
              <a:ext uri="{FF2B5EF4-FFF2-40B4-BE49-F238E27FC236}">
                <a16:creationId xmlns:a16="http://schemas.microsoft.com/office/drawing/2014/main" id="{E871E83E-C0A9-E886-9FB9-DCE7B74DDE3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18304" y="2939915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107" name="Grafik 29">
              <a:extLst>
                <a:ext uri="{FF2B5EF4-FFF2-40B4-BE49-F238E27FC236}">
                  <a16:creationId xmlns:a16="http://schemas.microsoft.com/office/drawing/2014/main" id="{C410AE98-03DB-8ECB-8926-D838DDA1774D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8" name="Grafik 29">
              <a:extLst>
                <a:ext uri="{FF2B5EF4-FFF2-40B4-BE49-F238E27FC236}">
                  <a16:creationId xmlns:a16="http://schemas.microsoft.com/office/drawing/2014/main" id="{35D1D22E-FC29-B9B9-734A-436CA9C6BBA8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9" name="Grafik 29">
              <a:extLst>
                <a:ext uri="{FF2B5EF4-FFF2-40B4-BE49-F238E27FC236}">
                  <a16:creationId xmlns:a16="http://schemas.microsoft.com/office/drawing/2014/main" id="{A8B99A0A-3217-70F6-7B2C-D191E5E03993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0" name="Grafik 29">
              <a:extLst>
                <a:ext uri="{FF2B5EF4-FFF2-40B4-BE49-F238E27FC236}">
                  <a16:creationId xmlns:a16="http://schemas.microsoft.com/office/drawing/2014/main" id="{9F97AD73-DCAD-2E1E-9A4D-C16C7791FC9F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1" name="Grafik 29">
              <a:extLst>
                <a:ext uri="{FF2B5EF4-FFF2-40B4-BE49-F238E27FC236}">
                  <a16:creationId xmlns:a16="http://schemas.microsoft.com/office/drawing/2014/main" id="{D86547AF-F440-E300-DE86-B4A73D141388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12" name="Grafik 29">
              <a:extLst>
                <a:ext uri="{FF2B5EF4-FFF2-40B4-BE49-F238E27FC236}">
                  <a16:creationId xmlns:a16="http://schemas.microsoft.com/office/drawing/2014/main" id="{64A0FD26-8A9A-AE32-075E-47C6C24C5347}"/>
                </a:ext>
              </a:extLst>
            </p:cNvPr>
            <p:cNvGrpSpPr/>
            <p:nvPr/>
          </p:nvGrpSpPr>
          <p:grpSpPr bwMode="gray">
            <a:xfrm>
              <a:off x="5875972" y="3431309"/>
              <a:ext cx="62936" cy="55602"/>
              <a:chOff x="5875972" y="3431309"/>
              <a:chExt cx="62936" cy="55602"/>
            </a:xfrm>
            <a:grpFill/>
          </p:grpSpPr>
          <p:sp>
            <p:nvSpPr>
              <p:cNvPr id="133" name="Grafik 29">
                <a:extLst>
                  <a:ext uri="{FF2B5EF4-FFF2-40B4-BE49-F238E27FC236}">
                    <a16:creationId xmlns:a16="http://schemas.microsoft.com/office/drawing/2014/main" id="{0041471C-09FC-EFE8-A9FF-3AA274025488}"/>
                  </a:ext>
                </a:extLst>
              </p:cNvPr>
              <p:cNvSpPr/>
              <p:nvPr/>
            </p:nvSpPr>
            <p:spPr bwMode="gray">
              <a:xfrm>
                <a:off x="5875972" y="3451954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722" y="14288"/>
                      <a:pt x="55721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34" name="Grafik 29">
                <a:extLst>
                  <a:ext uri="{FF2B5EF4-FFF2-40B4-BE49-F238E27FC236}">
                    <a16:creationId xmlns:a16="http://schemas.microsoft.com/office/drawing/2014/main" id="{8895252C-984E-A44A-B0DF-0716887ABE66}"/>
                  </a:ext>
                </a:extLst>
              </p:cNvPr>
              <p:cNvSpPr/>
              <p:nvPr/>
            </p:nvSpPr>
            <p:spPr bwMode="gray">
              <a:xfrm>
                <a:off x="5903904" y="3431309"/>
                <a:ext cx="34909" cy="34932"/>
              </a:xfrm>
              <a:custGeom>
                <a:avLst/>
                <a:gdLst>
                  <a:gd name="connsiteX0" fmla="*/ 27789 w 34909"/>
                  <a:gd name="connsiteY0" fmla="*/ 34933 h 34932"/>
                  <a:gd name="connsiteX1" fmla="*/ 22741 w 34909"/>
                  <a:gd name="connsiteY1" fmla="*/ 32837 h 34932"/>
                  <a:gd name="connsiteX2" fmla="*/ 2072 w 34909"/>
                  <a:gd name="connsiteY2" fmla="*/ 12168 h 34932"/>
                  <a:gd name="connsiteX3" fmla="*/ 2072 w 34909"/>
                  <a:gd name="connsiteY3" fmla="*/ 2072 h 34932"/>
                  <a:gd name="connsiteX4" fmla="*/ 12168 w 34909"/>
                  <a:gd name="connsiteY4" fmla="*/ 2072 h 34932"/>
                  <a:gd name="connsiteX5" fmla="*/ 32837 w 34909"/>
                  <a:gd name="connsiteY5" fmla="*/ 22741 h 34932"/>
                  <a:gd name="connsiteX6" fmla="*/ 32837 w 34909"/>
                  <a:gd name="connsiteY6" fmla="*/ 32837 h 34932"/>
                  <a:gd name="connsiteX7" fmla="*/ 27789 w 34909"/>
                  <a:gd name="connsiteY7" fmla="*/ 34933 h 349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909" h="34932">
                    <a:moveTo>
                      <a:pt x="27789" y="34933"/>
                    </a:moveTo>
                    <a:cubicBezTo>
                      <a:pt x="25979" y="34933"/>
                      <a:pt x="24170" y="34266"/>
                      <a:pt x="22741" y="32837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2837" y="22741"/>
                    </a:lnTo>
                    <a:cubicBezTo>
                      <a:pt x="35600" y="25503"/>
                      <a:pt x="35600" y="30075"/>
                      <a:pt x="32837" y="32837"/>
                    </a:cubicBezTo>
                    <a:cubicBezTo>
                      <a:pt x="31504" y="34266"/>
                      <a:pt x="29694" y="34933"/>
                      <a:pt x="27789" y="3493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35" name="Grafik 29">
                <a:extLst>
                  <a:ext uri="{FF2B5EF4-FFF2-40B4-BE49-F238E27FC236}">
                    <a16:creationId xmlns:a16="http://schemas.microsoft.com/office/drawing/2014/main" id="{B22ADE8B-15DD-453E-E524-E26424DDC595}"/>
                  </a:ext>
                </a:extLst>
              </p:cNvPr>
              <p:cNvSpPr/>
              <p:nvPr/>
            </p:nvSpPr>
            <p:spPr bwMode="gray">
              <a:xfrm>
                <a:off x="5903999" y="3452073"/>
                <a:ext cx="34909" cy="34837"/>
              </a:xfrm>
              <a:custGeom>
                <a:avLst/>
                <a:gdLst>
                  <a:gd name="connsiteX0" fmla="*/ 7120 w 34909"/>
                  <a:gd name="connsiteY0" fmla="*/ 34838 h 34837"/>
                  <a:gd name="connsiteX1" fmla="*/ 2072 w 34909"/>
                  <a:gd name="connsiteY1" fmla="*/ 32742 h 34837"/>
                  <a:gd name="connsiteX2" fmla="*/ 2072 w 34909"/>
                  <a:gd name="connsiteY2" fmla="*/ 22646 h 34837"/>
                  <a:gd name="connsiteX3" fmla="*/ 22741 w 34909"/>
                  <a:gd name="connsiteY3" fmla="*/ 2072 h 34837"/>
                  <a:gd name="connsiteX4" fmla="*/ 32837 w 34909"/>
                  <a:gd name="connsiteY4" fmla="*/ 2072 h 34837"/>
                  <a:gd name="connsiteX5" fmla="*/ 32837 w 34909"/>
                  <a:gd name="connsiteY5" fmla="*/ 12168 h 34837"/>
                  <a:gd name="connsiteX6" fmla="*/ 12168 w 34909"/>
                  <a:gd name="connsiteY6" fmla="*/ 32742 h 34837"/>
                  <a:gd name="connsiteX7" fmla="*/ 7120 w 34909"/>
                  <a:gd name="connsiteY7" fmla="*/ 34838 h 348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909" h="34837">
                    <a:moveTo>
                      <a:pt x="7120" y="34838"/>
                    </a:moveTo>
                    <a:cubicBezTo>
                      <a:pt x="5310" y="34838"/>
                      <a:pt x="3500" y="34171"/>
                      <a:pt x="2072" y="32742"/>
                    </a:cubicBezTo>
                    <a:cubicBezTo>
                      <a:pt x="-691" y="29980"/>
                      <a:pt x="-691" y="25408"/>
                      <a:pt x="2072" y="22646"/>
                    </a:cubicBezTo>
                    <a:lnTo>
                      <a:pt x="22741" y="2072"/>
                    </a:lnTo>
                    <a:cubicBezTo>
                      <a:pt x="25503" y="-691"/>
                      <a:pt x="30075" y="-691"/>
                      <a:pt x="32837" y="2072"/>
                    </a:cubicBezTo>
                    <a:cubicBezTo>
                      <a:pt x="35600" y="4834"/>
                      <a:pt x="35600" y="9406"/>
                      <a:pt x="32837" y="12168"/>
                    </a:cubicBezTo>
                    <a:lnTo>
                      <a:pt x="12168" y="32742"/>
                    </a:lnTo>
                    <a:cubicBezTo>
                      <a:pt x="10739" y="34076"/>
                      <a:pt x="8930" y="34838"/>
                      <a:pt x="7120" y="348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113" name="Grafik 29">
              <a:extLst>
                <a:ext uri="{FF2B5EF4-FFF2-40B4-BE49-F238E27FC236}">
                  <a16:creationId xmlns:a16="http://schemas.microsoft.com/office/drawing/2014/main" id="{89F6C633-F859-8084-8B18-F8D019D7667D}"/>
                </a:ext>
              </a:extLst>
            </p:cNvPr>
            <p:cNvGrpSpPr/>
            <p:nvPr/>
          </p:nvGrpSpPr>
          <p:grpSpPr bwMode="gray">
            <a:xfrm>
              <a:off x="5981247" y="3306150"/>
              <a:ext cx="111609" cy="305919"/>
              <a:chOff x="5981247" y="3306150"/>
              <a:chExt cx="111609" cy="305919"/>
            </a:xfrm>
            <a:grpFill/>
          </p:grpSpPr>
          <p:sp>
            <p:nvSpPr>
              <p:cNvPr id="118" name="Grafik 29">
                <a:extLst>
                  <a:ext uri="{FF2B5EF4-FFF2-40B4-BE49-F238E27FC236}">
                    <a16:creationId xmlns:a16="http://schemas.microsoft.com/office/drawing/2014/main" id="{D5B60EF4-73CA-CED0-9CFC-39CF3C37356F}"/>
                  </a:ext>
                </a:extLst>
              </p:cNvPr>
              <p:cNvSpPr/>
              <p:nvPr/>
            </p:nvSpPr>
            <p:spPr bwMode="gray">
              <a:xfrm>
                <a:off x="5981318" y="3306222"/>
                <a:ext cx="111537" cy="305847"/>
              </a:xfrm>
              <a:custGeom>
                <a:avLst/>
                <a:gdLst>
                  <a:gd name="connsiteX0" fmla="*/ 104299 w 111537"/>
                  <a:gd name="connsiteY0" fmla="*/ 305848 h 305847"/>
                  <a:gd name="connsiteX1" fmla="*/ 7144 w 111537"/>
                  <a:gd name="connsiteY1" fmla="*/ 305848 h 305847"/>
                  <a:gd name="connsiteX2" fmla="*/ 0 w 111537"/>
                  <a:gd name="connsiteY2" fmla="*/ 298704 h 305847"/>
                  <a:gd name="connsiteX3" fmla="*/ 0 w 111537"/>
                  <a:gd name="connsiteY3" fmla="*/ 7144 h 305847"/>
                  <a:gd name="connsiteX4" fmla="*/ 7144 w 111537"/>
                  <a:gd name="connsiteY4" fmla="*/ 0 h 305847"/>
                  <a:gd name="connsiteX5" fmla="*/ 104394 w 111537"/>
                  <a:gd name="connsiteY5" fmla="*/ 0 h 305847"/>
                  <a:gd name="connsiteX6" fmla="*/ 111538 w 111537"/>
                  <a:gd name="connsiteY6" fmla="*/ 7144 h 305847"/>
                  <a:gd name="connsiteX7" fmla="*/ 111538 w 111537"/>
                  <a:gd name="connsiteY7" fmla="*/ 298704 h 305847"/>
                  <a:gd name="connsiteX8" fmla="*/ 104299 w 111537"/>
                  <a:gd name="connsiteY8" fmla="*/ 305848 h 305847"/>
                  <a:gd name="connsiteX9" fmla="*/ 14288 w 111537"/>
                  <a:gd name="connsiteY9" fmla="*/ 291560 h 305847"/>
                  <a:gd name="connsiteX10" fmla="*/ 97250 w 111537"/>
                  <a:gd name="connsiteY10" fmla="*/ 291560 h 305847"/>
                  <a:gd name="connsiteX11" fmla="*/ 97250 w 111537"/>
                  <a:gd name="connsiteY11" fmla="*/ 14288 h 305847"/>
                  <a:gd name="connsiteX12" fmla="*/ 14288 w 111537"/>
                  <a:gd name="connsiteY12" fmla="*/ 14288 h 305847"/>
                  <a:gd name="connsiteX13" fmla="*/ 14288 w 111537"/>
                  <a:gd name="connsiteY13" fmla="*/ 291560 h 305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11537" h="305847">
                    <a:moveTo>
                      <a:pt x="104299" y="305848"/>
                    </a:moveTo>
                    <a:lnTo>
                      <a:pt x="7144" y="305848"/>
                    </a:lnTo>
                    <a:cubicBezTo>
                      <a:pt x="3239" y="305848"/>
                      <a:pt x="0" y="302609"/>
                      <a:pt x="0" y="29870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104394" y="0"/>
                    </a:lnTo>
                    <a:cubicBezTo>
                      <a:pt x="108299" y="0"/>
                      <a:pt x="111538" y="3239"/>
                      <a:pt x="111538" y="7144"/>
                    </a:cubicBezTo>
                    <a:lnTo>
                      <a:pt x="111538" y="298704"/>
                    </a:lnTo>
                    <a:cubicBezTo>
                      <a:pt x="111443" y="302609"/>
                      <a:pt x="108299" y="305848"/>
                      <a:pt x="104299" y="305848"/>
                    </a:cubicBezTo>
                    <a:close/>
                    <a:moveTo>
                      <a:pt x="14288" y="291560"/>
                    </a:moveTo>
                    <a:lnTo>
                      <a:pt x="97250" y="291560"/>
                    </a:lnTo>
                    <a:lnTo>
                      <a:pt x="97250" y="14288"/>
                    </a:lnTo>
                    <a:lnTo>
                      <a:pt x="14288" y="14288"/>
                    </a:lnTo>
                    <a:lnTo>
                      <a:pt x="14288" y="29156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9" name="Grafik 29">
                <a:extLst>
                  <a:ext uri="{FF2B5EF4-FFF2-40B4-BE49-F238E27FC236}">
                    <a16:creationId xmlns:a16="http://schemas.microsoft.com/office/drawing/2014/main" id="{E7A9AB9B-8945-E943-15B7-97748EAFF6D5}"/>
                  </a:ext>
                </a:extLst>
              </p:cNvPr>
              <p:cNvSpPr/>
              <p:nvPr/>
            </p:nvSpPr>
            <p:spPr bwMode="gray">
              <a:xfrm>
                <a:off x="5981342" y="3306246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085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0" name="Grafik 29">
                <a:extLst>
                  <a:ext uri="{FF2B5EF4-FFF2-40B4-BE49-F238E27FC236}">
                    <a16:creationId xmlns:a16="http://schemas.microsoft.com/office/drawing/2014/main" id="{97B08382-57AF-CEB3-24A5-D7D287C6F7AA}"/>
                  </a:ext>
                </a:extLst>
              </p:cNvPr>
              <p:cNvSpPr/>
              <p:nvPr/>
            </p:nvSpPr>
            <p:spPr bwMode="gray">
              <a:xfrm>
                <a:off x="5981247" y="3403496"/>
                <a:ext cx="111490" cy="111418"/>
              </a:xfrm>
              <a:custGeom>
                <a:avLst/>
                <a:gdLst>
                  <a:gd name="connsiteX0" fmla="*/ 104370 w 111490"/>
                  <a:gd name="connsiteY0" fmla="*/ 111419 h 111418"/>
                  <a:gd name="connsiteX1" fmla="*/ 99322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227 h 111418"/>
                  <a:gd name="connsiteX6" fmla="*/ 109418 w 111490"/>
                  <a:gd name="connsiteY6" fmla="*/ 109323 h 111418"/>
                  <a:gd name="connsiteX7" fmla="*/ 10437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370" y="111419"/>
                    </a:moveTo>
                    <a:cubicBezTo>
                      <a:pt x="102560" y="111419"/>
                      <a:pt x="100751" y="110752"/>
                      <a:pt x="99322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227"/>
                    </a:lnTo>
                    <a:cubicBezTo>
                      <a:pt x="112181" y="101989"/>
                      <a:pt x="112181" y="106561"/>
                      <a:pt x="109418" y="109323"/>
                    </a:cubicBezTo>
                    <a:cubicBezTo>
                      <a:pt x="108085" y="110657"/>
                      <a:pt x="106180" y="111419"/>
                      <a:pt x="10437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1" name="Grafik 29">
                <a:extLst>
                  <a:ext uri="{FF2B5EF4-FFF2-40B4-BE49-F238E27FC236}">
                    <a16:creationId xmlns:a16="http://schemas.microsoft.com/office/drawing/2014/main" id="{DA8D7CFB-27EF-4B9D-E1A6-FEB8F4BE739F}"/>
                  </a:ext>
                </a:extLst>
              </p:cNvPr>
              <p:cNvSpPr/>
              <p:nvPr/>
            </p:nvSpPr>
            <p:spPr bwMode="gray">
              <a:xfrm>
                <a:off x="5981342" y="3354823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085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2" name="Grafik 29">
                <a:extLst>
                  <a:ext uri="{FF2B5EF4-FFF2-40B4-BE49-F238E27FC236}">
                    <a16:creationId xmlns:a16="http://schemas.microsoft.com/office/drawing/2014/main" id="{26FB1B53-8438-D12A-5D82-ADE580EA1CE7}"/>
                  </a:ext>
                </a:extLst>
              </p:cNvPr>
              <p:cNvSpPr/>
              <p:nvPr/>
            </p:nvSpPr>
            <p:spPr bwMode="gray">
              <a:xfrm>
                <a:off x="5981247" y="3452073"/>
                <a:ext cx="111490" cy="111418"/>
              </a:xfrm>
              <a:custGeom>
                <a:avLst/>
                <a:gdLst>
                  <a:gd name="connsiteX0" fmla="*/ 104370 w 111490"/>
                  <a:gd name="connsiteY0" fmla="*/ 111419 h 111418"/>
                  <a:gd name="connsiteX1" fmla="*/ 99322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227 h 111418"/>
                  <a:gd name="connsiteX6" fmla="*/ 109418 w 111490"/>
                  <a:gd name="connsiteY6" fmla="*/ 109323 h 111418"/>
                  <a:gd name="connsiteX7" fmla="*/ 10437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370" y="111419"/>
                    </a:moveTo>
                    <a:cubicBezTo>
                      <a:pt x="102560" y="111419"/>
                      <a:pt x="100751" y="110752"/>
                      <a:pt x="99322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227"/>
                    </a:lnTo>
                    <a:cubicBezTo>
                      <a:pt x="112181" y="101989"/>
                      <a:pt x="112181" y="106561"/>
                      <a:pt x="109418" y="109323"/>
                    </a:cubicBezTo>
                    <a:cubicBezTo>
                      <a:pt x="108085" y="110657"/>
                      <a:pt x="106180" y="111419"/>
                      <a:pt x="10437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3" name="Grafik 29">
                <a:extLst>
                  <a:ext uri="{FF2B5EF4-FFF2-40B4-BE49-F238E27FC236}">
                    <a16:creationId xmlns:a16="http://schemas.microsoft.com/office/drawing/2014/main" id="{53AF2930-F580-8ACD-D461-26F824C377A4}"/>
                  </a:ext>
                </a:extLst>
              </p:cNvPr>
              <p:cNvSpPr/>
              <p:nvPr/>
            </p:nvSpPr>
            <p:spPr bwMode="gray">
              <a:xfrm>
                <a:off x="5981342" y="3500651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085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4" name="Grafik 29">
                <a:extLst>
                  <a:ext uri="{FF2B5EF4-FFF2-40B4-BE49-F238E27FC236}">
                    <a16:creationId xmlns:a16="http://schemas.microsoft.com/office/drawing/2014/main" id="{5D3B6FA9-C9F6-66BA-97DF-7938178A4DAE}"/>
                  </a:ext>
                </a:extLst>
              </p:cNvPr>
              <p:cNvSpPr/>
              <p:nvPr/>
            </p:nvSpPr>
            <p:spPr bwMode="gray">
              <a:xfrm>
                <a:off x="5981342" y="3306150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5" name="Grafik 29">
                <a:extLst>
                  <a:ext uri="{FF2B5EF4-FFF2-40B4-BE49-F238E27FC236}">
                    <a16:creationId xmlns:a16="http://schemas.microsoft.com/office/drawing/2014/main" id="{FABF92D9-2B37-0976-09AC-07256D9615FB}"/>
                  </a:ext>
                </a:extLst>
              </p:cNvPr>
              <p:cNvSpPr/>
              <p:nvPr/>
            </p:nvSpPr>
            <p:spPr bwMode="gray">
              <a:xfrm>
                <a:off x="5981342" y="3306246"/>
                <a:ext cx="62817" cy="62841"/>
              </a:xfrm>
              <a:custGeom>
                <a:avLst/>
                <a:gdLst>
                  <a:gd name="connsiteX0" fmla="*/ 7120 w 62817"/>
                  <a:gd name="connsiteY0" fmla="*/ 62841 h 62841"/>
                  <a:gd name="connsiteX1" fmla="*/ 2072 w 62817"/>
                  <a:gd name="connsiteY1" fmla="*/ 60746 h 62841"/>
                  <a:gd name="connsiteX2" fmla="*/ 2072 w 62817"/>
                  <a:gd name="connsiteY2" fmla="*/ 50649 h 62841"/>
                  <a:gd name="connsiteX3" fmla="*/ 50649 w 62817"/>
                  <a:gd name="connsiteY3" fmla="*/ 2072 h 62841"/>
                  <a:gd name="connsiteX4" fmla="*/ 60746 w 62817"/>
                  <a:gd name="connsiteY4" fmla="*/ 2072 h 62841"/>
                  <a:gd name="connsiteX5" fmla="*/ 60746 w 62817"/>
                  <a:gd name="connsiteY5" fmla="*/ 12168 h 62841"/>
                  <a:gd name="connsiteX6" fmla="*/ 12168 w 62817"/>
                  <a:gd name="connsiteY6" fmla="*/ 60746 h 62841"/>
                  <a:gd name="connsiteX7" fmla="*/ 7120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7120" y="62841"/>
                    </a:moveTo>
                    <a:cubicBezTo>
                      <a:pt x="5310" y="62841"/>
                      <a:pt x="3500" y="62174"/>
                      <a:pt x="2072" y="60746"/>
                    </a:cubicBezTo>
                    <a:cubicBezTo>
                      <a:pt x="-691" y="57983"/>
                      <a:pt x="-691" y="53411"/>
                      <a:pt x="2072" y="50649"/>
                    </a:cubicBezTo>
                    <a:lnTo>
                      <a:pt x="50649" y="2072"/>
                    </a:lnTo>
                    <a:cubicBezTo>
                      <a:pt x="53411" y="-691"/>
                      <a:pt x="57983" y="-691"/>
                      <a:pt x="60746" y="2072"/>
                    </a:cubicBezTo>
                    <a:cubicBezTo>
                      <a:pt x="63508" y="4834"/>
                      <a:pt x="63508" y="9406"/>
                      <a:pt x="60746" y="12168"/>
                    </a:cubicBezTo>
                    <a:lnTo>
                      <a:pt x="12168" y="60746"/>
                    </a:lnTo>
                    <a:cubicBezTo>
                      <a:pt x="10739" y="62174"/>
                      <a:pt x="8930" y="62841"/>
                      <a:pt x="7120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6" name="Grafik 29">
                <a:extLst>
                  <a:ext uri="{FF2B5EF4-FFF2-40B4-BE49-F238E27FC236}">
                    <a16:creationId xmlns:a16="http://schemas.microsoft.com/office/drawing/2014/main" id="{8A5BA2BD-C882-9C48-28D5-5D98CF2C8CAF}"/>
                  </a:ext>
                </a:extLst>
              </p:cNvPr>
              <p:cNvSpPr/>
              <p:nvPr/>
            </p:nvSpPr>
            <p:spPr bwMode="gray">
              <a:xfrm>
                <a:off x="5981342" y="3403496"/>
                <a:ext cx="111490" cy="111418"/>
              </a:xfrm>
              <a:custGeom>
                <a:avLst/>
                <a:gdLst>
                  <a:gd name="connsiteX0" fmla="*/ 7120 w 111490"/>
                  <a:gd name="connsiteY0" fmla="*/ 111419 h 111418"/>
                  <a:gd name="connsiteX1" fmla="*/ 2072 w 111490"/>
                  <a:gd name="connsiteY1" fmla="*/ 109323 h 111418"/>
                  <a:gd name="connsiteX2" fmla="*/ 2072 w 111490"/>
                  <a:gd name="connsiteY2" fmla="*/ 99227 h 111418"/>
                  <a:gd name="connsiteX3" fmla="*/ 99322 w 111490"/>
                  <a:gd name="connsiteY3" fmla="*/ 2072 h 111418"/>
                  <a:gd name="connsiteX4" fmla="*/ 109418 w 111490"/>
                  <a:gd name="connsiteY4" fmla="*/ 2072 h 111418"/>
                  <a:gd name="connsiteX5" fmla="*/ 109418 w 111490"/>
                  <a:gd name="connsiteY5" fmla="*/ 12168 h 111418"/>
                  <a:gd name="connsiteX6" fmla="*/ 12168 w 111490"/>
                  <a:gd name="connsiteY6" fmla="*/ 109323 h 111418"/>
                  <a:gd name="connsiteX7" fmla="*/ 712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7120" y="111419"/>
                    </a:moveTo>
                    <a:cubicBezTo>
                      <a:pt x="5310" y="111419"/>
                      <a:pt x="3500" y="110752"/>
                      <a:pt x="2072" y="109323"/>
                    </a:cubicBezTo>
                    <a:cubicBezTo>
                      <a:pt x="-691" y="106561"/>
                      <a:pt x="-691" y="101989"/>
                      <a:pt x="2072" y="99227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323"/>
                    </a:lnTo>
                    <a:cubicBezTo>
                      <a:pt x="10739" y="110657"/>
                      <a:pt x="8930" y="111419"/>
                      <a:pt x="712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7" name="Grafik 29">
                <a:extLst>
                  <a:ext uri="{FF2B5EF4-FFF2-40B4-BE49-F238E27FC236}">
                    <a16:creationId xmlns:a16="http://schemas.microsoft.com/office/drawing/2014/main" id="{B47A87D6-0D11-4F65-B206-AC12AAFCE708}"/>
                  </a:ext>
                </a:extLst>
              </p:cNvPr>
              <p:cNvSpPr/>
              <p:nvPr/>
            </p:nvSpPr>
            <p:spPr bwMode="gray">
              <a:xfrm>
                <a:off x="5981342" y="3354728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8" name="Grafik 29">
                <a:extLst>
                  <a:ext uri="{FF2B5EF4-FFF2-40B4-BE49-F238E27FC236}">
                    <a16:creationId xmlns:a16="http://schemas.microsoft.com/office/drawing/2014/main" id="{EC644620-42D1-AC4A-61A3-D25853DFEB12}"/>
                  </a:ext>
                </a:extLst>
              </p:cNvPr>
              <p:cNvSpPr/>
              <p:nvPr/>
            </p:nvSpPr>
            <p:spPr bwMode="gray">
              <a:xfrm>
                <a:off x="5981342" y="3452073"/>
                <a:ext cx="111490" cy="111418"/>
              </a:xfrm>
              <a:custGeom>
                <a:avLst/>
                <a:gdLst>
                  <a:gd name="connsiteX0" fmla="*/ 7120 w 111490"/>
                  <a:gd name="connsiteY0" fmla="*/ 111419 h 111418"/>
                  <a:gd name="connsiteX1" fmla="*/ 2072 w 111490"/>
                  <a:gd name="connsiteY1" fmla="*/ 109323 h 111418"/>
                  <a:gd name="connsiteX2" fmla="*/ 2072 w 111490"/>
                  <a:gd name="connsiteY2" fmla="*/ 99227 h 111418"/>
                  <a:gd name="connsiteX3" fmla="*/ 99322 w 111490"/>
                  <a:gd name="connsiteY3" fmla="*/ 2072 h 111418"/>
                  <a:gd name="connsiteX4" fmla="*/ 109418 w 111490"/>
                  <a:gd name="connsiteY4" fmla="*/ 2072 h 111418"/>
                  <a:gd name="connsiteX5" fmla="*/ 109418 w 111490"/>
                  <a:gd name="connsiteY5" fmla="*/ 12168 h 111418"/>
                  <a:gd name="connsiteX6" fmla="*/ 12168 w 111490"/>
                  <a:gd name="connsiteY6" fmla="*/ 109323 h 111418"/>
                  <a:gd name="connsiteX7" fmla="*/ 712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7120" y="111419"/>
                    </a:moveTo>
                    <a:cubicBezTo>
                      <a:pt x="5310" y="111419"/>
                      <a:pt x="3500" y="110752"/>
                      <a:pt x="2072" y="109323"/>
                    </a:cubicBezTo>
                    <a:cubicBezTo>
                      <a:pt x="-691" y="106561"/>
                      <a:pt x="-691" y="101989"/>
                      <a:pt x="2072" y="99227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323"/>
                    </a:lnTo>
                    <a:cubicBezTo>
                      <a:pt x="10739" y="110657"/>
                      <a:pt x="8930" y="111419"/>
                      <a:pt x="712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9" name="Grafik 29">
                <a:extLst>
                  <a:ext uri="{FF2B5EF4-FFF2-40B4-BE49-F238E27FC236}">
                    <a16:creationId xmlns:a16="http://schemas.microsoft.com/office/drawing/2014/main" id="{40933FEB-77A4-91FC-F217-CBAF3F078AD6}"/>
                  </a:ext>
                </a:extLst>
              </p:cNvPr>
              <p:cNvSpPr/>
              <p:nvPr/>
            </p:nvSpPr>
            <p:spPr bwMode="gray">
              <a:xfrm>
                <a:off x="5981342" y="3500556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30" name="Grafik 29">
                <a:extLst>
                  <a:ext uri="{FF2B5EF4-FFF2-40B4-BE49-F238E27FC236}">
                    <a16:creationId xmlns:a16="http://schemas.microsoft.com/office/drawing/2014/main" id="{25FAA55B-716D-245D-42BF-BF5B2F838DAF}"/>
                  </a:ext>
                </a:extLst>
              </p:cNvPr>
              <p:cNvSpPr/>
              <p:nvPr/>
            </p:nvSpPr>
            <p:spPr bwMode="gray">
              <a:xfrm>
                <a:off x="6029919" y="3549228"/>
                <a:ext cx="62817" cy="62841"/>
              </a:xfrm>
              <a:custGeom>
                <a:avLst/>
                <a:gdLst>
                  <a:gd name="connsiteX0" fmla="*/ 7120 w 62817"/>
                  <a:gd name="connsiteY0" fmla="*/ 62841 h 62841"/>
                  <a:gd name="connsiteX1" fmla="*/ 2072 w 62817"/>
                  <a:gd name="connsiteY1" fmla="*/ 60746 h 62841"/>
                  <a:gd name="connsiteX2" fmla="*/ 2072 w 62817"/>
                  <a:gd name="connsiteY2" fmla="*/ 50649 h 62841"/>
                  <a:gd name="connsiteX3" fmla="*/ 50649 w 62817"/>
                  <a:gd name="connsiteY3" fmla="*/ 2072 h 62841"/>
                  <a:gd name="connsiteX4" fmla="*/ 60746 w 62817"/>
                  <a:gd name="connsiteY4" fmla="*/ 2072 h 62841"/>
                  <a:gd name="connsiteX5" fmla="*/ 60746 w 62817"/>
                  <a:gd name="connsiteY5" fmla="*/ 12168 h 62841"/>
                  <a:gd name="connsiteX6" fmla="*/ 12168 w 62817"/>
                  <a:gd name="connsiteY6" fmla="*/ 60746 h 62841"/>
                  <a:gd name="connsiteX7" fmla="*/ 7120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7120" y="62841"/>
                    </a:moveTo>
                    <a:cubicBezTo>
                      <a:pt x="5310" y="62841"/>
                      <a:pt x="3500" y="62174"/>
                      <a:pt x="2072" y="60746"/>
                    </a:cubicBezTo>
                    <a:cubicBezTo>
                      <a:pt x="-691" y="57983"/>
                      <a:pt x="-691" y="53411"/>
                      <a:pt x="2072" y="50649"/>
                    </a:cubicBezTo>
                    <a:lnTo>
                      <a:pt x="50649" y="2072"/>
                    </a:lnTo>
                    <a:cubicBezTo>
                      <a:pt x="53411" y="-691"/>
                      <a:pt x="57983" y="-691"/>
                      <a:pt x="60746" y="2072"/>
                    </a:cubicBezTo>
                    <a:cubicBezTo>
                      <a:pt x="63508" y="4834"/>
                      <a:pt x="63508" y="9406"/>
                      <a:pt x="60746" y="12168"/>
                    </a:cubicBezTo>
                    <a:lnTo>
                      <a:pt x="12168" y="60746"/>
                    </a:lnTo>
                    <a:cubicBezTo>
                      <a:pt x="10739" y="62174"/>
                      <a:pt x="8930" y="62841"/>
                      <a:pt x="7120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31" name="Grafik 29">
                <a:extLst>
                  <a:ext uri="{FF2B5EF4-FFF2-40B4-BE49-F238E27FC236}">
                    <a16:creationId xmlns:a16="http://schemas.microsoft.com/office/drawing/2014/main" id="{CF47FCAB-A9D9-752C-B30A-7969DE46D1F5}"/>
                  </a:ext>
                </a:extLst>
              </p:cNvPr>
              <p:cNvSpPr/>
              <p:nvPr/>
            </p:nvSpPr>
            <p:spPr bwMode="gray">
              <a:xfrm>
                <a:off x="6029919" y="3306246"/>
                <a:ext cx="62817" cy="62841"/>
              </a:xfrm>
              <a:custGeom>
                <a:avLst/>
                <a:gdLst>
                  <a:gd name="connsiteX0" fmla="*/ 55697 w 62817"/>
                  <a:gd name="connsiteY0" fmla="*/ 62841 h 62841"/>
                  <a:gd name="connsiteX1" fmla="*/ 50649 w 62817"/>
                  <a:gd name="connsiteY1" fmla="*/ 60746 h 62841"/>
                  <a:gd name="connsiteX2" fmla="*/ 2072 w 62817"/>
                  <a:gd name="connsiteY2" fmla="*/ 12168 h 62841"/>
                  <a:gd name="connsiteX3" fmla="*/ 2072 w 62817"/>
                  <a:gd name="connsiteY3" fmla="*/ 2072 h 62841"/>
                  <a:gd name="connsiteX4" fmla="*/ 12168 w 62817"/>
                  <a:gd name="connsiteY4" fmla="*/ 2072 h 62841"/>
                  <a:gd name="connsiteX5" fmla="*/ 60746 w 62817"/>
                  <a:gd name="connsiteY5" fmla="*/ 50649 h 62841"/>
                  <a:gd name="connsiteX6" fmla="*/ 60746 w 62817"/>
                  <a:gd name="connsiteY6" fmla="*/ 60746 h 62841"/>
                  <a:gd name="connsiteX7" fmla="*/ 55697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55697" y="62841"/>
                    </a:moveTo>
                    <a:cubicBezTo>
                      <a:pt x="53888" y="62841"/>
                      <a:pt x="52078" y="62174"/>
                      <a:pt x="50649" y="60746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60746" y="50649"/>
                    </a:lnTo>
                    <a:cubicBezTo>
                      <a:pt x="63508" y="53411"/>
                      <a:pt x="63508" y="57983"/>
                      <a:pt x="60746" y="60746"/>
                    </a:cubicBezTo>
                    <a:cubicBezTo>
                      <a:pt x="59412" y="62174"/>
                      <a:pt x="57507" y="62841"/>
                      <a:pt x="55697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32" name="Grafik 29">
                <a:extLst>
                  <a:ext uri="{FF2B5EF4-FFF2-40B4-BE49-F238E27FC236}">
                    <a16:creationId xmlns:a16="http://schemas.microsoft.com/office/drawing/2014/main" id="{04496C58-6824-39C9-359B-A1FB28801FB8}"/>
                  </a:ext>
                </a:extLst>
              </p:cNvPr>
              <p:cNvSpPr/>
              <p:nvPr/>
            </p:nvSpPr>
            <p:spPr bwMode="gray">
              <a:xfrm>
                <a:off x="5981342" y="3549228"/>
                <a:ext cx="62817" cy="62841"/>
              </a:xfrm>
              <a:custGeom>
                <a:avLst/>
                <a:gdLst>
                  <a:gd name="connsiteX0" fmla="*/ 55697 w 62817"/>
                  <a:gd name="connsiteY0" fmla="*/ 62841 h 62841"/>
                  <a:gd name="connsiteX1" fmla="*/ 50649 w 62817"/>
                  <a:gd name="connsiteY1" fmla="*/ 60746 h 62841"/>
                  <a:gd name="connsiteX2" fmla="*/ 2072 w 62817"/>
                  <a:gd name="connsiteY2" fmla="*/ 12168 h 62841"/>
                  <a:gd name="connsiteX3" fmla="*/ 2072 w 62817"/>
                  <a:gd name="connsiteY3" fmla="*/ 2072 h 62841"/>
                  <a:gd name="connsiteX4" fmla="*/ 12168 w 62817"/>
                  <a:gd name="connsiteY4" fmla="*/ 2072 h 62841"/>
                  <a:gd name="connsiteX5" fmla="*/ 60746 w 62817"/>
                  <a:gd name="connsiteY5" fmla="*/ 50649 h 62841"/>
                  <a:gd name="connsiteX6" fmla="*/ 60746 w 62817"/>
                  <a:gd name="connsiteY6" fmla="*/ 60746 h 62841"/>
                  <a:gd name="connsiteX7" fmla="*/ 55697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55697" y="62841"/>
                    </a:moveTo>
                    <a:cubicBezTo>
                      <a:pt x="53888" y="62841"/>
                      <a:pt x="52078" y="62174"/>
                      <a:pt x="50649" y="60746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60746" y="50649"/>
                    </a:lnTo>
                    <a:cubicBezTo>
                      <a:pt x="63508" y="53411"/>
                      <a:pt x="63508" y="57983"/>
                      <a:pt x="60746" y="60746"/>
                    </a:cubicBezTo>
                    <a:cubicBezTo>
                      <a:pt x="59317" y="62174"/>
                      <a:pt x="57507" y="62841"/>
                      <a:pt x="55697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114" name="Grafik 29">
              <a:extLst>
                <a:ext uri="{FF2B5EF4-FFF2-40B4-BE49-F238E27FC236}">
                  <a16:creationId xmlns:a16="http://schemas.microsoft.com/office/drawing/2014/main" id="{B1901715-5F99-AA6D-7E93-1E1C7606DA77}"/>
                </a:ext>
              </a:extLst>
            </p:cNvPr>
            <p:cNvGrpSpPr/>
            <p:nvPr/>
          </p:nvGrpSpPr>
          <p:grpSpPr bwMode="gray">
            <a:xfrm>
              <a:off x="6135242" y="3410735"/>
              <a:ext cx="111537" cy="96750"/>
              <a:chOff x="6135242" y="3410735"/>
              <a:chExt cx="111537" cy="96750"/>
            </a:xfrm>
            <a:grpFill/>
          </p:grpSpPr>
          <p:sp>
            <p:nvSpPr>
              <p:cNvPr id="115" name="Grafik 29">
                <a:extLst>
                  <a:ext uri="{FF2B5EF4-FFF2-40B4-BE49-F238E27FC236}">
                    <a16:creationId xmlns:a16="http://schemas.microsoft.com/office/drawing/2014/main" id="{B108AFDE-CF82-4F5B-2ADC-7659CFAA610E}"/>
                  </a:ext>
                </a:extLst>
              </p:cNvPr>
              <p:cNvSpPr/>
              <p:nvPr/>
            </p:nvSpPr>
            <p:spPr bwMode="gray">
              <a:xfrm>
                <a:off x="6135242" y="3451954"/>
                <a:ext cx="111537" cy="14287"/>
              </a:xfrm>
              <a:custGeom>
                <a:avLst/>
                <a:gdLst>
                  <a:gd name="connsiteX0" fmla="*/ 104299 w 111537"/>
                  <a:gd name="connsiteY0" fmla="*/ 14288 h 14287"/>
                  <a:gd name="connsiteX1" fmla="*/ 7144 w 111537"/>
                  <a:gd name="connsiteY1" fmla="*/ 14288 h 14287"/>
                  <a:gd name="connsiteX2" fmla="*/ 0 w 111537"/>
                  <a:gd name="connsiteY2" fmla="*/ 7144 h 14287"/>
                  <a:gd name="connsiteX3" fmla="*/ 7144 w 111537"/>
                  <a:gd name="connsiteY3" fmla="*/ 0 h 14287"/>
                  <a:gd name="connsiteX4" fmla="*/ 104394 w 111537"/>
                  <a:gd name="connsiteY4" fmla="*/ 0 h 14287"/>
                  <a:gd name="connsiteX5" fmla="*/ 111538 w 111537"/>
                  <a:gd name="connsiteY5" fmla="*/ 7144 h 14287"/>
                  <a:gd name="connsiteX6" fmla="*/ 104299 w 11153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1537" h="14287">
                    <a:moveTo>
                      <a:pt x="104299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104394" y="0"/>
                    </a:lnTo>
                    <a:cubicBezTo>
                      <a:pt x="108299" y="0"/>
                      <a:pt x="111538" y="3239"/>
                      <a:pt x="111538" y="7144"/>
                    </a:cubicBezTo>
                    <a:cubicBezTo>
                      <a:pt x="111538" y="11049"/>
                      <a:pt x="108299" y="14288"/>
                      <a:pt x="104299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6" name="Grafik 29">
                <a:extLst>
                  <a:ext uri="{FF2B5EF4-FFF2-40B4-BE49-F238E27FC236}">
                    <a16:creationId xmlns:a16="http://schemas.microsoft.com/office/drawing/2014/main" id="{C329C1F5-3273-0B29-5C59-3E4ED238C849}"/>
                  </a:ext>
                </a:extLst>
              </p:cNvPr>
              <p:cNvSpPr/>
              <p:nvPr/>
            </p:nvSpPr>
            <p:spPr bwMode="gray">
              <a:xfrm>
                <a:off x="6191178" y="3410735"/>
                <a:ext cx="55483" cy="55506"/>
              </a:xfrm>
              <a:custGeom>
                <a:avLst/>
                <a:gdLst>
                  <a:gd name="connsiteX0" fmla="*/ 48363 w 55483"/>
                  <a:gd name="connsiteY0" fmla="*/ 55507 h 55506"/>
                  <a:gd name="connsiteX1" fmla="*/ 43315 w 55483"/>
                  <a:gd name="connsiteY1" fmla="*/ 53411 h 55506"/>
                  <a:gd name="connsiteX2" fmla="*/ 2072 w 55483"/>
                  <a:gd name="connsiteY2" fmla="*/ 12168 h 55506"/>
                  <a:gd name="connsiteX3" fmla="*/ 2072 w 55483"/>
                  <a:gd name="connsiteY3" fmla="*/ 2072 h 55506"/>
                  <a:gd name="connsiteX4" fmla="*/ 12168 w 55483"/>
                  <a:gd name="connsiteY4" fmla="*/ 2072 h 55506"/>
                  <a:gd name="connsiteX5" fmla="*/ 53411 w 55483"/>
                  <a:gd name="connsiteY5" fmla="*/ 43315 h 55506"/>
                  <a:gd name="connsiteX6" fmla="*/ 53411 w 55483"/>
                  <a:gd name="connsiteY6" fmla="*/ 53411 h 55506"/>
                  <a:gd name="connsiteX7" fmla="*/ 48363 w 55483"/>
                  <a:gd name="connsiteY7" fmla="*/ 55507 h 55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483" h="55506">
                    <a:moveTo>
                      <a:pt x="48363" y="55507"/>
                    </a:moveTo>
                    <a:cubicBezTo>
                      <a:pt x="46553" y="55507"/>
                      <a:pt x="44744" y="54840"/>
                      <a:pt x="43315" y="5341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53411" y="43315"/>
                    </a:lnTo>
                    <a:cubicBezTo>
                      <a:pt x="56174" y="46077"/>
                      <a:pt x="56174" y="50649"/>
                      <a:pt x="53411" y="53411"/>
                    </a:cubicBezTo>
                    <a:cubicBezTo>
                      <a:pt x="52078" y="54840"/>
                      <a:pt x="50173" y="55507"/>
                      <a:pt x="48363" y="5550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7" name="Grafik 29">
                <a:extLst>
                  <a:ext uri="{FF2B5EF4-FFF2-40B4-BE49-F238E27FC236}">
                    <a16:creationId xmlns:a16="http://schemas.microsoft.com/office/drawing/2014/main" id="{12F89E11-6DD7-9690-57EB-88B62DA1298F}"/>
                  </a:ext>
                </a:extLst>
              </p:cNvPr>
              <p:cNvSpPr/>
              <p:nvPr/>
            </p:nvSpPr>
            <p:spPr bwMode="gray">
              <a:xfrm>
                <a:off x="6191178" y="3451978"/>
                <a:ext cx="55483" cy="55506"/>
              </a:xfrm>
              <a:custGeom>
                <a:avLst/>
                <a:gdLst>
                  <a:gd name="connsiteX0" fmla="*/ 7120 w 55483"/>
                  <a:gd name="connsiteY0" fmla="*/ 55507 h 55506"/>
                  <a:gd name="connsiteX1" fmla="*/ 2072 w 55483"/>
                  <a:gd name="connsiteY1" fmla="*/ 53411 h 55506"/>
                  <a:gd name="connsiteX2" fmla="*/ 2072 w 55483"/>
                  <a:gd name="connsiteY2" fmla="*/ 43315 h 55506"/>
                  <a:gd name="connsiteX3" fmla="*/ 43315 w 55483"/>
                  <a:gd name="connsiteY3" fmla="*/ 2072 h 55506"/>
                  <a:gd name="connsiteX4" fmla="*/ 53411 w 55483"/>
                  <a:gd name="connsiteY4" fmla="*/ 2072 h 55506"/>
                  <a:gd name="connsiteX5" fmla="*/ 53411 w 55483"/>
                  <a:gd name="connsiteY5" fmla="*/ 12168 h 55506"/>
                  <a:gd name="connsiteX6" fmla="*/ 12168 w 55483"/>
                  <a:gd name="connsiteY6" fmla="*/ 53411 h 55506"/>
                  <a:gd name="connsiteX7" fmla="*/ 7120 w 55483"/>
                  <a:gd name="connsiteY7" fmla="*/ 55507 h 55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483" h="55506">
                    <a:moveTo>
                      <a:pt x="7120" y="55507"/>
                    </a:moveTo>
                    <a:cubicBezTo>
                      <a:pt x="5310" y="55507"/>
                      <a:pt x="3500" y="54840"/>
                      <a:pt x="2072" y="53411"/>
                    </a:cubicBezTo>
                    <a:cubicBezTo>
                      <a:pt x="-691" y="50649"/>
                      <a:pt x="-691" y="46077"/>
                      <a:pt x="2072" y="43315"/>
                    </a:cubicBezTo>
                    <a:lnTo>
                      <a:pt x="43315" y="2072"/>
                    </a:lnTo>
                    <a:cubicBezTo>
                      <a:pt x="46077" y="-691"/>
                      <a:pt x="50649" y="-691"/>
                      <a:pt x="53411" y="2072"/>
                    </a:cubicBezTo>
                    <a:cubicBezTo>
                      <a:pt x="56174" y="4834"/>
                      <a:pt x="56174" y="9406"/>
                      <a:pt x="53411" y="12168"/>
                    </a:cubicBezTo>
                    <a:lnTo>
                      <a:pt x="12168" y="53411"/>
                    </a:lnTo>
                    <a:cubicBezTo>
                      <a:pt x="10835" y="54840"/>
                      <a:pt x="8930" y="55507"/>
                      <a:pt x="7120" y="5550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36" name="Grafik 31">
            <a:extLst>
              <a:ext uri="{FF2B5EF4-FFF2-40B4-BE49-F238E27FC236}">
                <a16:creationId xmlns:a16="http://schemas.microsoft.com/office/drawing/2014/main" id="{C12C570E-E0FC-3D03-CBC6-863013F2407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18304" y="3477302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137" name="Grafik 31">
              <a:extLst>
                <a:ext uri="{FF2B5EF4-FFF2-40B4-BE49-F238E27FC236}">
                  <a16:creationId xmlns:a16="http://schemas.microsoft.com/office/drawing/2014/main" id="{DEC89827-4131-F504-E0A0-3485B93C7DE3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38" name="Grafik 31">
              <a:extLst>
                <a:ext uri="{FF2B5EF4-FFF2-40B4-BE49-F238E27FC236}">
                  <a16:creationId xmlns:a16="http://schemas.microsoft.com/office/drawing/2014/main" id="{6D180E0A-476B-47F4-82F7-12644798F688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39" name="Grafik 31">
              <a:extLst>
                <a:ext uri="{FF2B5EF4-FFF2-40B4-BE49-F238E27FC236}">
                  <a16:creationId xmlns:a16="http://schemas.microsoft.com/office/drawing/2014/main" id="{2CFF97DF-D04C-7DE7-F0AF-5AB8172F5FA2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40" name="Grafik 31">
              <a:extLst>
                <a:ext uri="{FF2B5EF4-FFF2-40B4-BE49-F238E27FC236}">
                  <a16:creationId xmlns:a16="http://schemas.microsoft.com/office/drawing/2014/main" id="{12AD31F1-0D54-7B78-4861-D9351D070186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41" name="Grafik 31">
              <a:extLst>
                <a:ext uri="{FF2B5EF4-FFF2-40B4-BE49-F238E27FC236}">
                  <a16:creationId xmlns:a16="http://schemas.microsoft.com/office/drawing/2014/main" id="{638454DE-9132-A67C-15DF-72877D5FB46E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42" name="Grafik 31">
              <a:extLst>
                <a:ext uri="{FF2B5EF4-FFF2-40B4-BE49-F238E27FC236}">
                  <a16:creationId xmlns:a16="http://schemas.microsoft.com/office/drawing/2014/main" id="{DA2650F5-01D6-5ABC-7A25-5E5091E812DE}"/>
                </a:ext>
              </a:extLst>
            </p:cNvPr>
            <p:cNvGrpSpPr/>
            <p:nvPr/>
          </p:nvGrpSpPr>
          <p:grpSpPr bwMode="gray">
            <a:xfrm>
              <a:off x="6005535" y="3306150"/>
              <a:ext cx="111609" cy="305919"/>
              <a:chOff x="6005535" y="3306150"/>
              <a:chExt cx="111609" cy="305919"/>
            </a:xfrm>
            <a:grpFill/>
          </p:grpSpPr>
          <p:sp>
            <p:nvSpPr>
              <p:cNvPr id="163" name="Grafik 31">
                <a:extLst>
                  <a:ext uri="{FF2B5EF4-FFF2-40B4-BE49-F238E27FC236}">
                    <a16:creationId xmlns:a16="http://schemas.microsoft.com/office/drawing/2014/main" id="{19F85491-45B9-4E86-72C5-2E717DFCFDFF}"/>
                  </a:ext>
                </a:extLst>
              </p:cNvPr>
              <p:cNvSpPr/>
              <p:nvPr/>
            </p:nvSpPr>
            <p:spPr bwMode="gray">
              <a:xfrm>
                <a:off x="6005607" y="3306222"/>
                <a:ext cx="111537" cy="305847"/>
              </a:xfrm>
              <a:custGeom>
                <a:avLst/>
                <a:gdLst>
                  <a:gd name="connsiteX0" fmla="*/ 104299 w 111537"/>
                  <a:gd name="connsiteY0" fmla="*/ 305848 h 305847"/>
                  <a:gd name="connsiteX1" fmla="*/ 7144 w 111537"/>
                  <a:gd name="connsiteY1" fmla="*/ 305848 h 305847"/>
                  <a:gd name="connsiteX2" fmla="*/ 0 w 111537"/>
                  <a:gd name="connsiteY2" fmla="*/ 298704 h 305847"/>
                  <a:gd name="connsiteX3" fmla="*/ 0 w 111537"/>
                  <a:gd name="connsiteY3" fmla="*/ 7144 h 305847"/>
                  <a:gd name="connsiteX4" fmla="*/ 7144 w 111537"/>
                  <a:gd name="connsiteY4" fmla="*/ 0 h 305847"/>
                  <a:gd name="connsiteX5" fmla="*/ 104394 w 111537"/>
                  <a:gd name="connsiteY5" fmla="*/ 0 h 305847"/>
                  <a:gd name="connsiteX6" fmla="*/ 111538 w 111537"/>
                  <a:gd name="connsiteY6" fmla="*/ 7144 h 305847"/>
                  <a:gd name="connsiteX7" fmla="*/ 111538 w 111537"/>
                  <a:gd name="connsiteY7" fmla="*/ 298704 h 305847"/>
                  <a:gd name="connsiteX8" fmla="*/ 104299 w 111537"/>
                  <a:gd name="connsiteY8" fmla="*/ 305848 h 305847"/>
                  <a:gd name="connsiteX9" fmla="*/ 14288 w 111537"/>
                  <a:gd name="connsiteY9" fmla="*/ 291560 h 305847"/>
                  <a:gd name="connsiteX10" fmla="*/ 97250 w 111537"/>
                  <a:gd name="connsiteY10" fmla="*/ 291560 h 305847"/>
                  <a:gd name="connsiteX11" fmla="*/ 97250 w 111537"/>
                  <a:gd name="connsiteY11" fmla="*/ 14288 h 305847"/>
                  <a:gd name="connsiteX12" fmla="*/ 14288 w 111537"/>
                  <a:gd name="connsiteY12" fmla="*/ 14288 h 305847"/>
                  <a:gd name="connsiteX13" fmla="*/ 14288 w 111537"/>
                  <a:gd name="connsiteY13" fmla="*/ 291560 h 305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11537" h="305847">
                    <a:moveTo>
                      <a:pt x="104299" y="305848"/>
                    </a:moveTo>
                    <a:lnTo>
                      <a:pt x="7144" y="305848"/>
                    </a:lnTo>
                    <a:cubicBezTo>
                      <a:pt x="3239" y="305848"/>
                      <a:pt x="0" y="302609"/>
                      <a:pt x="0" y="29870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104394" y="0"/>
                    </a:lnTo>
                    <a:cubicBezTo>
                      <a:pt x="108299" y="0"/>
                      <a:pt x="111538" y="3239"/>
                      <a:pt x="111538" y="7144"/>
                    </a:cubicBezTo>
                    <a:lnTo>
                      <a:pt x="111538" y="298704"/>
                    </a:lnTo>
                    <a:cubicBezTo>
                      <a:pt x="111442" y="302609"/>
                      <a:pt x="108299" y="305848"/>
                      <a:pt x="104299" y="305848"/>
                    </a:cubicBezTo>
                    <a:close/>
                    <a:moveTo>
                      <a:pt x="14288" y="291560"/>
                    </a:moveTo>
                    <a:lnTo>
                      <a:pt x="97250" y="291560"/>
                    </a:lnTo>
                    <a:lnTo>
                      <a:pt x="97250" y="14288"/>
                    </a:lnTo>
                    <a:lnTo>
                      <a:pt x="14288" y="14288"/>
                    </a:lnTo>
                    <a:lnTo>
                      <a:pt x="14288" y="29156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4" name="Grafik 31">
                <a:extLst>
                  <a:ext uri="{FF2B5EF4-FFF2-40B4-BE49-F238E27FC236}">
                    <a16:creationId xmlns:a16="http://schemas.microsoft.com/office/drawing/2014/main" id="{03A9CC52-D78C-C15B-CA33-59D5D858F320}"/>
                  </a:ext>
                </a:extLst>
              </p:cNvPr>
              <p:cNvSpPr/>
              <p:nvPr/>
            </p:nvSpPr>
            <p:spPr bwMode="gray">
              <a:xfrm>
                <a:off x="6005631" y="3306246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180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5" name="Grafik 31">
                <a:extLst>
                  <a:ext uri="{FF2B5EF4-FFF2-40B4-BE49-F238E27FC236}">
                    <a16:creationId xmlns:a16="http://schemas.microsoft.com/office/drawing/2014/main" id="{31A8A3C4-67F0-C710-8C52-70823715FABC}"/>
                  </a:ext>
                </a:extLst>
              </p:cNvPr>
              <p:cNvSpPr/>
              <p:nvPr/>
            </p:nvSpPr>
            <p:spPr bwMode="gray">
              <a:xfrm>
                <a:off x="6005535" y="3403496"/>
                <a:ext cx="111490" cy="111418"/>
              </a:xfrm>
              <a:custGeom>
                <a:avLst/>
                <a:gdLst>
                  <a:gd name="connsiteX0" fmla="*/ 104370 w 111490"/>
                  <a:gd name="connsiteY0" fmla="*/ 111419 h 111418"/>
                  <a:gd name="connsiteX1" fmla="*/ 99322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227 h 111418"/>
                  <a:gd name="connsiteX6" fmla="*/ 109418 w 111490"/>
                  <a:gd name="connsiteY6" fmla="*/ 109323 h 111418"/>
                  <a:gd name="connsiteX7" fmla="*/ 10437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370" y="111419"/>
                    </a:moveTo>
                    <a:cubicBezTo>
                      <a:pt x="102560" y="111419"/>
                      <a:pt x="100751" y="110752"/>
                      <a:pt x="99322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227"/>
                    </a:lnTo>
                    <a:cubicBezTo>
                      <a:pt x="112181" y="101989"/>
                      <a:pt x="112181" y="106561"/>
                      <a:pt x="109418" y="109323"/>
                    </a:cubicBezTo>
                    <a:cubicBezTo>
                      <a:pt x="108085" y="110657"/>
                      <a:pt x="106275" y="111419"/>
                      <a:pt x="10437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6" name="Grafik 31">
                <a:extLst>
                  <a:ext uri="{FF2B5EF4-FFF2-40B4-BE49-F238E27FC236}">
                    <a16:creationId xmlns:a16="http://schemas.microsoft.com/office/drawing/2014/main" id="{5282ABC0-D6B8-56CD-D582-695B4394C0B9}"/>
                  </a:ext>
                </a:extLst>
              </p:cNvPr>
              <p:cNvSpPr/>
              <p:nvPr/>
            </p:nvSpPr>
            <p:spPr bwMode="gray">
              <a:xfrm>
                <a:off x="6005631" y="3354823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180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7" name="Grafik 31">
                <a:extLst>
                  <a:ext uri="{FF2B5EF4-FFF2-40B4-BE49-F238E27FC236}">
                    <a16:creationId xmlns:a16="http://schemas.microsoft.com/office/drawing/2014/main" id="{89A65236-89B1-462A-4A90-1C610941A9DD}"/>
                  </a:ext>
                </a:extLst>
              </p:cNvPr>
              <p:cNvSpPr/>
              <p:nvPr/>
            </p:nvSpPr>
            <p:spPr bwMode="gray">
              <a:xfrm>
                <a:off x="6005535" y="3452073"/>
                <a:ext cx="111490" cy="111418"/>
              </a:xfrm>
              <a:custGeom>
                <a:avLst/>
                <a:gdLst>
                  <a:gd name="connsiteX0" fmla="*/ 104370 w 111490"/>
                  <a:gd name="connsiteY0" fmla="*/ 111419 h 111418"/>
                  <a:gd name="connsiteX1" fmla="*/ 99322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227 h 111418"/>
                  <a:gd name="connsiteX6" fmla="*/ 109418 w 111490"/>
                  <a:gd name="connsiteY6" fmla="*/ 109323 h 111418"/>
                  <a:gd name="connsiteX7" fmla="*/ 10437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370" y="111419"/>
                    </a:moveTo>
                    <a:cubicBezTo>
                      <a:pt x="102560" y="111419"/>
                      <a:pt x="100751" y="110752"/>
                      <a:pt x="99322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227"/>
                    </a:lnTo>
                    <a:cubicBezTo>
                      <a:pt x="112181" y="101989"/>
                      <a:pt x="112181" y="106561"/>
                      <a:pt x="109418" y="109323"/>
                    </a:cubicBezTo>
                    <a:cubicBezTo>
                      <a:pt x="108085" y="110657"/>
                      <a:pt x="106275" y="111419"/>
                      <a:pt x="10437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8" name="Grafik 31">
                <a:extLst>
                  <a:ext uri="{FF2B5EF4-FFF2-40B4-BE49-F238E27FC236}">
                    <a16:creationId xmlns:a16="http://schemas.microsoft.com/office/drawing/2014/main" id="{043B6488-C889-6664-4275-F008FE3B20FA}"/>
                  </a:ext>
                </a:extLst>
              </p:cNvPr>
              <p:cNvSpPr/>
              <p:nvPr/>
            </p:nvSpPr>
            <p:spPr bwMode="gray">
              <a:xfrm>
                <a:off x="6005631" y="3500651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180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9" name="Grafik 31">
                <a:extLst>
                  <a:ext uri="{FF2B5EF4-FFF2-40B4-BE49-F238E27FC236}">
                    <a16:creationId xmlns:a16="http://schemas.microsoft.com/office/drawing/2014/main" id="{767EF652-BD7B-0DD2-16EA-A5D10AC888C6}"/>
                  </a:ext>
                </a:extLst>
              </p:cNvPr>
              <p:cNvSpPr/>
              <p:nvPr/>
            </p:nvSpPr>
            <p:spPr bwMode="gray">
              <a:xfrm>
                <a:off x="6005631" y="3306150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0" name="Grafik 31">
                <a:extLst>
                  <a:ext uri="{FF2B5EF4-FFF2-40B4-BE49-F238E27FC236}">
                    <a16:creationId xmlns:a16="http://schemas.microsoft.com/office/drawing/2014/main" id="{2E53DE00-7022-3387-09EE-AE999B57888F}"/>
                  </a:ext>
                </a:extLst>
              </p:cNvPr>
              <p:cNvSpPr/>
              <p:nvPr/>
            </p:nvSpPr>
            <p:spPr bwMode="gray">
              <a:xfrm>
                <a:off x="6005631" y="3306246"/>
                <a:ext cx="62817" cy="62841"/>
              </a:xfrm>
              <a:custGeom>
                <a:avLst/>
                <a:gdLst>
                  <a:gd name="connsiteX0" fmla="*/ 7120 w 62817"/>
                  <a:gd name="connsiteY0" fmla="*/ 62841 h 62841"/>
                  <a:gd name="connsiteX1" fmla="*/ 2072 w 62817"/>
                  <a:gd name="connsiteY1" fmla="*/ 60746 h 62841"/>
                  <a:gd name="connsiteX2" fmla="*/ 2072 w 62817"/>
                  <a:gd name="connsiteY2" fmla="*/ 50649 h 62841"/>
                  <a:gd name="connsiteX3" fmla="*/ 50649 w 62817"/>
                  <a:gd name="connsiteY3" fmla="*/ 2072 h 62841"/>
                  <a:gd name="connsiteX4" fmla="*/ 60746 w 62817"/>
                  <a:gd name="connsiteY4" fmla="*/ 2072 h 62841"/>
                  <a:gd name="connsiteX5" fmla="*/ 60746 w 62817"/>
                  <a:gd name="connsiteY5" fmla="*/ 12168 h 62841"/>
                  <a:gd name="connsiteX6" fmla="*/ 12168 w 62817"/>
                  <a:gd name="connsiteY6" fmla="*/ 60746 h 62841"/>
                  <a:gd name="connsiteX7" fmla="*/ 7120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7120" y="62841"/>
                    </a:moveTo>
                    <a:cubicBezTo>
                      <a:pt x="5310" y="62841"/>
                      <a:pt x="3500" y="62174"/>
                      <a:pt x="2072" y="60746"/>
                    </a:cubicBezTo>
                    <a:cubicBezTo>
                      <a:pt x="-691" y="57983"/>
                      <a:pt x="-691" y="53411"/>
                      <a:pt x="2072" y="50649"/>
                    </a:cubicBezTo>
                    <a:lnTo>
                      <a:pt x="50649" y="2072"/>
                    </a:lnTo>
                    <a:cubicBezTo>
                      <a:pt x="53411" y="-691"/>
                      <a:pt x="57983" y="-691"/>
                      <a:pt x="60746" y="2072"/>
                    </a:cubicBezTo>
                    <a:cubicBezTo>
                      <a:pt x="63508" y="4834"/>
                      <a:pt x="63508" y="9406"/>
                      <a:pt x="60746" y="12168"/>
                    </a:cubicBezTo>
                    <a:lnTo>
                      <a:pt x="12168" y="60746"/>
                    </a:lnTo>
                    <a:cubicBezTo>
                      <a:pt x="10739" y="62174"/>
                      <a:pt x="8930" y="62841"/>
                      <a:pt x="7120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1" name="Grafik 31">
                <a:extLst>
                  <a:ext uri="{FF2B5EF4-FFF2-40B4-BE49-F238E27FC236}">
                    <a16:creationId xmlns:a16="http://schemas.microsoft.com/office/drawing/2014/main" id="{90FA5EEF-9D75-4A2D-C694-854EA0D8964A}"/>
                  </a:ext>
                </a:extLst>
              </p:cNvPr>
              <p:cNvSpPr/>
              <p:nvPr/>
            </p:nvSpPr>
            <p:spPr bwMode="gray">
              <a:xfrm>
                <a:off x="6005631" y="3403496"/>
                <a:ext cx="111490" cy="111418"/>
              </a:xfrm>
              <a:custGeom>
                <a:avLst/>
                <a:gdLst>
                  <a:gd name="connsiteX0" fmla="*/ 7120 w 111490"/>
                  <a:gd name="connsiteY0" fmla="*/ 111419 h 111418"/>
                  <a:gd name="connsiteX1" fmla="*/ 2072 w 111490"/>
                  <a:gd name="connsiteY1" fmla="*/ 109323 h 111418"/>
                  <a:gd name="connsiteX2" fmla="*/ 2072 w 111490"/>
                  <a:gd name="connsiteY2" fmla="*/ 99227 h 111418"/>
                  <a:gd name="connsiteX3" fmla="*/ 99322 w 111490"/>
                  <a:gd name="connsiteY3" fmla="*/ 2072 h 111418"/>
                  <a:gd name="connsiteX4" fmla="*/ 109418 w 111490"/>
                  <a:gd name="connsiteY4" fmla="*/ 2072 h 111418"/>
                  <a:gd name="connsiteX5" fmla="*/ 109418 w 111490"/>
                  <a:gd name="connsiteY5" fmla="*/ 12168 h 111418"/>
                  <a:gd name="connsiteX6" fmla="*/ 12168 w 111490"/>
                  <a:gd name="connsiteY6" fmla="*/ 109323 h 111418"/>
                  <a:gd name="connsiteX7" fmla="*/ 712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7120" y="111419"/>
                    </a:moveTo>
                    <a:cubicBezTo>
                      <a:pt x="5310" y="111419"/>
                      <a:pt x="3500" y="110752"/>
                      <a:pt x="2072" y="109323"/>
                    </a:cubicBezTo>
                    <a:cubicBezTo>
                      <a:pt x="-691" y="106561"/>
                      <a:pt x="-691" y="101989"/>
                      <a:pt x="2072" y="99227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323"/>
                    </a:lnTo>
                    <a:cubicBezTo>
                      <a:pt x="10739" y="110657"/>
                      <a:pt x="8930" y="111419"/>
                      <a:pt x="712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2" name="Grafik 31">
                <a:extLst>
                  <a:ext uri="{FF2B5EF4-FFF2-40B4-BE49-F238E27FC236}">
                    <a16:creationId xmlns:a16="http://schemas.microsoft.com/office/drawing/2014/main" id="{7F730055-944D-9C27-6FFF-0A74538D5340}"/>
                  </a:ext>
                </a:extLst>
              </p:cNvPr>
              <p:cNvSpPr/>
              <p:nvPr/>
            </p:nvSpPr>
            <p:spPr bwMode="gray">
              <a:xfrm>
                <a:off x="6005631" y="3354728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3" name="Grafik 31">
                <a:extLst>
                  <a:ext uri="{FF2B5EF4-FFF2-40B4-BE49-F238E27FC236}">
                    <a16:creationId xmlns:a16="http://schemas.microsoft.com/office/drawing/2014/main" id="{AB089731-EBF6-100D-557E-5FE2A885119E}"/>
                  </a:ext>
                </a:extLst>
              </p:cNvPr>
              <p:cNvSpPr/>
              <p:nvPr/>
            </p:nvSpPr>
            <p:spPr bwMode="gray">
              <a:xfrm>
                <a:off x="6005631" y="3452073"/>
                <a:ext cx="111490" cy="111418"/>
              </a:xfrm>
              <a:custGeom>
                <a:avLst/>
                <a:gdLst>
                  <a:gd name="connsiteX0" fmla="*/ 7120 w 111490"/>
                  <a:gd name="connsiteY0" fmla="*/ 111419 h 111418"/>
                  <a:gd name="connsiteX1" fmla="*/ 2072 w 111490"/>
                  <a:gd name="connsiteY1" fmla="*/ 109323 h 111418"/>
                  <a:gd name="connsiteX2" fmla="*/ 2072 w 111490"/>
                  <a:gd name="connsiteY2" fmla="*/ 99227 h 111418"/>
                  <a:gd name="connsiteX3" fmla="*/ 99322 w 111490"/>
                  <a:gd name="connsiteY3" fmla="*/ 2072 h 111418"/>
                  <a:gd name="connsiteX4" fmla="*/ 109418 w 111490"/>
                  <a:gd name="connsiteY4" fmla="*/ 2072 h 111418"/>
                  <a:gd name="connsiteX5" fmla="*/ 109418 w 111490"/>
                  <a:gd name="connsiteY5" fmla="*/ 12168 h 111418"/>
                  <a:gd name="connsiteX6" fmla="*/ 12168 w 111490"/>
                  <a:gd name="connsiteY6" fmla="*/ 109323 h 111418"/>
                  <a:gd name="connsiteX7" fmla="*/ 712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7120" y="111419"/>
                    </a:moveTo>
                    <a:cubicBezTo>
                      <a:pt x="5310" y="111419"/>
                      <a:pt x="3500" y="110752"/>
                      <a:pt x="2072" y="109323"/>
                    </a:cubicBezTo>
                    <a:cubicBezTo>
                      <a:pt x="-691" y="106561"/>
                      <a:pt x="-691" y="101989"/>
                      <a:pt x="2072" y="99227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323"/>
                    </a:lnTo>
                    <a:cubicBezTo>
                      <a:pt x="10739" y="110657"/>
                      <a:pt x="8930" y="111419"/>
                      <a:pt x="712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4" name="Grafik 31">
                <a:extLst>
                  <a:ext uri="{FF2B5EF4-FFF2-40B4-BE49-F238E27FC236}">
                    <a16:creationId xmlns:a16="http://schemas.microsoft.com/office/drawing/2014/main" id="{4E6948F0-70E1-5D30-C9A6-281A3CA0D988}"/>
                  </a:ext>
                </a:extLst>
              </p:cNvPr>
              <p:cNvSpPr/>
              <p:nvPr/>
            </p:nvSpPr>
            <p:spPr bwMode="gray">
              <a:xfrm>
                <a:off x="6005631" y="3500556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5" name="Grafik 31">
                <a:extLst>
                  <a:ext uri="{FF2B5EF4-FFF2-40B4-BE49-F238E27FC236}">
                    <a16:creationId xmlns:a16="http://schemas.microsoft.com/office/drawing/2014/main" id="{4B8C41CE-7609-5AB4-5FB0-794C1723A8FD}"/>
                  </a:ext>
                </a:extLst>
              </p:cNvPr>
              <p:cNvSpPr/>
              <p:nvPr/>
            </p:nvSpPr>
            <p:spPr bwMode="gray">
              <a:xfrm>
                <a:off x="6054208" y="3549228"/>
                <a:ext cx="62817" cy="62841"/>
              </a:xfrm>
              <a:custGeom>
                <a:avLst/>
                <a:gdLst>
                  <a:gd name="connsiteX0" fmla="*/ 7120 w 62817"/>
                  <a:gd name="connsiteY0" fmla="*/ 62841 h 62841"/>
                  <a:gd name="connsiteX1" fmla="*/ 2072 w 62817"/>
                  <a:gd name="connsiteY1" fmla="*/ 60746 h 62841"/>
                  <a:gd name="connsiteX2" fmla="*/ 2072 w 62817"/>
                  <a:gd name="connsiteY2" fmla="*/ 50649 h 62841"/>
                  <a:gd name="connsiteX3" fmla="*/ 50649 w 62817"/>
                  <a:gd name="connsiteY3" fmla="*/ 2072 h 62841"/>
                  <a:gd name="connsiteX4" fmla="*/ 60746 w 62817"/>
                  <a:gd name="connsiteY4" fmla="*/ 2072 h 62841"/>
                  <a:gd name="connsiteX5" fmla="*/ 60746 w 62817"/>
                  <a:gd name="connsiteY5" fmla="*/ 12168 h 62841"/>
                  <a:gd name="connsiteX6" fmla="*/ 12168 w 62817"/>
                  <a:gd name="connsiteY6" fmla="*/ 60746 h 62841"/>
                  <a:gd name="connsiteX7" fmla="*/ 7120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7120" y="62841"/>
                    </a:moveTo>
                    <a:cubicBezTo>
                      <a:pt x="5310" y="62841"/>
                      <a:pt x="3500" y="62174"/>
                      <a:pt x="2072" y="60746"/>
                    </a:cubicBezTo>
                    <a:cubicBezTo>
                      <a:pt x="-691" y="57983"/>
                      <a:pt x="-691" y="53411"/>
                      <a:pt x="2072" y="50649"/>
                    </a:cubicBezTo>
                    <a:lnTo>
                      <a:pt x="50649" y="2072"/>
                    </a:lnTo>
                    <a:cubicBezTo>
                      <a:pt x="53411" y="-691"/>
                      <a:pt x="57983" y="-691"/>
                      <a:pt x="60746" y="2072"/>
                    </a:cubicBezTo>
                    <a:cubicBezTo>
                      <a:pt x="63508" y="4834"/>
                      <a:pt x="63508" y="9406"/>
                      <a:pt x="60746" y="12168"/>
                    </a:cubicBezTo>
                    <a:lnTo>
                      <a:pt x="12168" y="60746"/>
                    </a:lnTo>
                    <a:cubicBezTo>
                      <a:pt x="10739" y="62174"/>
                      <a:pt x="8930" y="62841"/>
                      <a:pt x="7120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6" name="Grafik 31">
                <a:extLst>
                  <a:ext uri="{FF2B5EF4-FFF2-40B4-BE49-F238E27FC236}">
                    <a16:creationId xmlns:a16="http://schemas.microsoft.com/office/drawing/2014/main" id="{C19CCBCD-DA0A-3BEC-DA91-DFE4E256E0E4}"/>
                  </a:ext>
                </a:extLst>
              </p:cNvPr>
              <p:cNvSpPr/>
              <p:nvPr/>
            </p:nvSpPr>
            <p:spPr bwMode="gray">
              <a:xfrm>
                <a:off x="6054208" y="3306246"/>
                <a:ext cx="62817" cy="62841"/>
              </a:xfrm>
              <a:custGeom>
                <a:avLst/>
                <a:gdLst>
                  <a:gd name="connsiteX0" fmla="*/ 55697 w 62817"/>
                  <a:gd name="connsiteY0" fmla="*/ 62841 h 62841"/>
                  <a:gd name="connsiteX1" fmla="*/ 50649 w 62817"/>
                  <a:gd name="connsiteY1" fmla="*/ 60746 h 62841"/>
                  <a:gd name="connsiteX2" fmla="*/ 2072 w 62817"/>
                  <a:gd name="connsiteY2" fmla="*/ 12168 h 62841"/>
                  <a:gd name="connsiteX3" fmla="*/ 2072 w 62817"/>
                  <a:gd name="connsiteY3" fmla="*/ 2072 h 62841"/>
                  <a:gd name="connsiteX4" fmla="*/ 12168 w 62817"/>
                  <a:gd name="connsiteY4" fmla="*/ 2072 h 62841"/>
                  <a:gd name="connsiteX5" fmla="*/ 60746 w 62817"/>
                  <a:gd name="connsiteY5" fmla="*/ 50649 h 62841"/>
                  <a:gd name="connsiteX6" fmla="*/ 60746 w 62817"/>
                  <a:gd name="connsiteY6" fmla="*/ 60746 h 62841"/>
                  <a:gd name="connsiteX7" fmla="*/ 55697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55697" y="62841"/>
                    </a:moveTo>
                    <a:cubicBezTo>
                      <a:pt x="53888" y="62841"/>
                      <a:pt x="52078" y="62174"/>
                      <a:pt x="50649" y="60746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60746" y="50649"/>
                    </a:lnTo>
                    <a:cubicBezTo>
                      <a:pt x="63508" y="53411"/>
                      <a:pt x="63508" y="57983"/>
                      <a:pt x="60746" y="60746"/>
                    </a:cubicBezTo>
                    <a:cubicBezTo>
                      <a:pt x="59412" y="62174"/>
                      <a:pt x="57602" y="62841"/>
                      <a:pt x="55697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7" name="Grafik 31">
                <a:extLst>
                  <a:ext uri="{FF2B5EF4-FFF2-40B4-BE49-F238E27FC236}">
                    <a16:creationId xmlns:a16="http://schemas.microsoft.com/office/drawing/2014/main" id="{366C9ED9-3465-2023-0424-C5DBC6A30CDE}"/>
                  </a:ext>
                </a:extLst>
              </p:cNvPr>
              <p:cNvSpPr/>
              <p:nvPr/>
            </p:nvSpPr>
            <p:spPr bwMode="gray">
              <a:xfrm>
                <a:off x="6005631" y="3549228"/>
                <a:ext cx="62817" cy="62841"/>
              </a:xfrm>
              <a:custGeom>
                <a:avLst/>
                <a:gdLst>
                  <a:gd name="connsiteX0" fmla="*/ 55697 w 62817"/>
                  <a:gd name="connsiteY0" fmla="*/ 62841 h 62841"/>
                  <a:gd name="connsiteX1" fmla="*/ 50649 w 62817"/>
                  <a:gd name="connsiteY1" fmla="*/ 60746 h 62841"/>
                  <a:gd name="connsiteX2" fmla="*/ 2072 w 62817"/>
                  <a:gd name="connsiteY2" fmla="*/ 12168 h 62841"/>
                  <a:gd name="connsiteX3" fmla="*/ 2072 w 62817"/>
                  <a:gd name="connsiteY3" fmla="*/ 2072 h 62841"/>
                  <a:gd name="connsiteX4" fmla="*/ 12168 w 62817"/>
                  <a:gd name="connsiteY4" fmla="*/ 2072 h 62841"/>
                  <a:gd name="connsiteX5" fmla="*/ 60746 w 62817"/>
                  <a:gd name="connsiteY5" fmla="*/ 50649 h 62841"/>
                  <a:gd name="connsiteX6" fmla="*/ 60746 w 62817"/>
                  <a:gd name="connsiteY6" fmla="*/ 60746 h 62841"/>
                  <a:gd name="connsiteX7" fmla="*/ 55697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55697" y="62841"/>
                    </a:moveTo>
                    <a:cubicBezTo>
                      <a:pt x="53888" y="62841"/>
                      <a:pt x="52078" y="62174"/>
                      <a:pt x="50649" y="60746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60746" y="50649"/>
                    </a:lnTo>
                    <a:cubicBezTo>
                      <a:pt x="63508" y="53411"/>
                      <a:pt x="63508" y="57983"/>
                      <a:pt x="60746" y="60746"/>
                    </a:cubicBezTo>
                    <a:cubicBezTo>
                      <a:pt x="59317" y="62174"/>
                      <a:pt x="57507" y="62841"/>
                      <a:pt x="55697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143" name="Grafik 31">
              <a:extLst>
                <a:ext uri="{FF2B5EF4-FFF2-40B4-BE49-F238E27FC236}">
                  <a16:creationId xmlns:a16="http://schemas.microsoft.com/office/drawing/2014/main" id="{0C563054-CEF5-2034-CB04-0F3BA941F794}"/>
                </a:ext>
              </a:extLst>
            </p:cNvPr>
            <p:cNvGrpSpPr/>
            <p:nvPr/>
          </p:nvGrpSpPr>
          <p:grpSpPr bwMode="gray">
            <a:xfrm>
              <a:off x="6135147" y="3424451"/>
              <a:ext cx="111537" cy="69318"/>
              <a:chOff x="6135147" y="3424451"/>
              <a:chExt cx="111537" cy="69318"/>
            </a:xfrm>
            <a:grpFill/>
          </p:grpSpPr>
          <p:sp>
            <p:nvSpPr>
              <p:cNvPr id="160" name="Grafik 31">
                <a:extLst>
                  <a:ext uri="{FF2B5EF4-FFF2-40B4-BE49-F238E27FC236}">
                    <a16:creationId xmlns:a16="http://schemas.microsoft.com/office/drawing/2014/main" id="{74D40741-3183-BDC5-EE24-A60ED4B5E442}"/>
                  </a:ext>
                </a:extLst>
              </p:cNvPr>
              <p:cNvSpPr/>
              <p:nvPr/>
            </p:nvSpPr>
            <p:spPr bwMode="gray">
              <a:xfrm>
                <a:off x="6135147" y="3451954"/>
                <a:ext cx="111537" cy="14287"/>
              </a:xfrm>
              <a:custGeom>
                <a:avLst/>
                <a:gdLst>
                  <a:gd name="connsiteX0" fmla="*/ 104394 w 111537"/>
                  <a:gd name="connsiteY0" fmla="*/ 14288 h 14287"/>
                  <a:gd name="connsiteX1" fmla="*/ 7144 w 111537"/>
                  <a:gd name="connsiteY1" fmla="*/ 14288 h 14287"/>
                  <a:gd name="connsiteX2" fmla="*/ 0 w 111537"/>
                  <a:gd name="connsiteY2" fmla="*/ 7144 h 14287"/>
                  <a:gd name="connsiteX3" fmla="*/ 7144 w 111537"/>
                  <a:gd name="connsiteY3" fmla="*/ 0 h 14287"/>
                  <a:gd name="connsiteX4" fmla="*/ 104394 w 111537"/>
                  <a:gd name="connsiteY4" fmla="*/ 0 h 14287"/>
                  <a:gd name="connsiteX5" fmla="*/ 111538 w 111537"/>
                  <a:gd name="connsiteY5" fmla="*/ 7144 h 14287"/>
                  <a:gd name="connsiteX6" fmla="*/ 104394 w 11153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1537" h="14287">
                    <a:moveTo>
                      <a:pt x="10439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04394" y="0"/>
                    </a:lnTo>
                    <a:cubicBezTo>
                      <a:pt x="108299" y="0"/>
                      <a:pt x="111538" y="3239"/>
                      <a:pt x="111538" y="7144"/>
                    </a:cubicBezTo>
                    <a:cubicBezTo>
                      <a:pt x="111538" y="11049"/>
                      <a:pt x="108299" y="14288"/>
                      <a:pt x="10439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1" name="Grafik 31">
                <a:extLst>
                  <a:ext uri="{FF2B5EF4-FFF2-40B4-BE49-F238E27FC236}">
                    <a16:creationId xmlns:a16="http://schemas.microsoft.com/office/drawing/2014/main" id="{86D2738D-6D7D-0D9F-CBC7-3CB9FCE0215C}"/>
                  </a:ext>
                </a:extLst>
              </p:cNvPr>
              <p:cNvSpPr/>
              <p:nvPr/>
            </p:nvSpPr>
            <p:spPr bwMode="gray">
              <a:xfrm>
                <a:off x="6204894" y="3424451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124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2" name="Grafik 31">
                <a:extLst>
                  <a:ext uri="{FF2B5EF4-FFF2-40B4-BE49-F238E27FC236}">
                    <a16:creationId xmlns:a16="http://schemas.microsoft.com/office/drawing/2014/main" id="{209AFB4F-AEEB-BD28-DBFC-086A1887DAC7}"/>
                  </a:ext>
                </a:extLst>
              </p:cNvPr>
              <p:cNvSpPr/>
              <p:nvPr/>
            </p:nvSpPr>
            <p:spPr bwMode="gray">
              <a:xfrm>
                <a:off x="6204894" y="3451978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835" y="41124"/>
                      <a:pt x="9025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144" name="Grafik 31">
              <a:extLst>
                <a:ext uri="{FF2B5EF4-FFF2-40B4-BE49-F238E27FC236}">
                  <a16:creationId xmlns:a16="http://schemas.microsoft.com/office/drawing/2014/main" id="{110D8EB2-8135-0F32-55DA-41AC4079283F}"/>
                </a:ext>
              </a:extLst>
            </p:cNvPr>
            <p:cNvGrpSpPr/>
            <p:nvPr/>
          </p:nvGrpSpPr>
          <p:grpSpPr bwMode="gray">
            <a:xfrm>
              <a:off x="6135171" y="3424451"/>
              <a:ext cx="41767" cy="69318"/>
              <a:chOff x="6135171" y="3424451"/>
              <a:chExt cx="41767" cy="69318"/>
            </a:xfrm>
            <a:grpFill/>
          </p:grpSpPr>
          <p:sp>
            <p:nvSpPr>
              <p:cNvPr id="158" name="Grafik 31">
                <a:extLst>
                  <a:ext uri="{FF2B5EF4-FFF2-40B4-BE49-F238E27FC236}">
                    <a16:creationId xmlns:a16="http://schemas.microsoft.com/office/drawing/2014/main" id="{1395BC2E-4D31-1469-831A-0D71CBBF5D2B}"/>
                  </a:ext>
                </a:extLst>
              </p:cNvPr>
              <p:cNvSpPr/>
              <p:nvPr/>
            </p:nvSpPr>
            <p:spPr bwMode="gray">
              <a:xfrm>
                <a:off x="6135171" y="3451978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124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59" name="Grafik 31">
                <a:extLst>
                  <a:ext uri="{FF2B5EF4-FFF2-40B4-BE49-F238E27FC236}">
                    <a16:creationId xmlns:a16="http://schemas.microsoft.com/office/drawing/2014/main" id="{DBCD1F50-E66B-BAF2-6DD9-0AB3027D3CA6}"/>
                  </a:ext>
                </a:extLst>
              </p:cNvPr>
              <p:cNvSpPr/>
              <p:nvPr/>
            </p:nvSpPr>
            <p:spPr bwMode="gray">
              <a:xfrm>
                <a:off x="6135171" y="3424451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835" y="41124"/>
                      <a:pt x="9025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145" name="Grafik 31">
              <a:extLst>
                <a:ext uri="{FF2B5EF4-FFF2-40B4-BE49-F238E27FC236}">
                  <a16:creationId xmlns:a16="http://schemas.microsoft.com/office/drawing/2014/main" id="{842DFDA0-0472-D4E6-5DF4-5EA154BC7BD5}"/>
                </a:ext>
              </a:extLst>
            </p:cNvPr>
            <p:cNvGrpSpPr/>
            <p:nvPr/>
          </p:nvGrpSpPr>
          <p:grpSpPr bwMode="gray">
            <a:xfrm>
              <a:off x="5875972" y="3307865"/>
              <a:ext cx="111537" cy="302490"/>
              <a:chOff x="5875972" y="3307865"/>
              <a:chExt cx="111537" cy="302490"/>
            </a:xfrm>
            <a:grpFill/>
          </p:grpSpPr>
          <p:grpSp>
            <p:nvGrpSpPr>
              <p:cNvPr id="146" name="Grafik 31">
                <a:extLst>
                  <a:ext uri="{FF2B5EF4-FFF2-40B4-BE49-F238E27FC236}">
                    <a16:creationId xmlns:a16="http://schemas.microsoft.com/office/drawing/2014/main" id="{145FD164-89EB-7E95-C790-FE05D25D19F8}"/>
                  </a:ext>
                </a:extLst>
              </p:cNvPr>
              <p:cNvGrpSpPr/>
              <p:nvPr/>
            </p:nvGrpSpPr>
            <p:grpSpPr bwMode="gray">
              <a:xfrm>
                <a:off x="5875972" y="3410735"/>
                <a:ext cx="111537" cy="96750"/>
                <a:chOff x="5875972" y="3410735"/>
                <a:chExt cx="111537" cy="96750"/>
              </a:xfrm>
              <a:grpFill/>
            </p:grpSpPr>
            <p:sp>
              <p:nvSpPr>
                <p:cNvPr id="155" name="Grafik 31">
                  <a:extLst>
                    <a:ext uri="{FF2B5EF4-FFF2-40B4-BE49-F238E27FC236}">
                      <a16:creationId xmlns:a16="http://schemas.microsoft.com/office/drawing/2014/main" id="{0AB1C0BB-28BE-BB98-B4E2-E7B54873639E}"/>
                    </a:ext>
                  </a:extLst>
                </p:cNvPr>
                <p:cNvSpPr/>
                <p:nvPr/>
              </p:nvSpPr>
              <p:spPr bwMode="gray">
                <a:xfrm>
                  <a:off x="5875972" y="3451954"/>
                  <a:ext cx="111537" cy="14287"/>
                </a:xfrm>
                <a:custGeom>
                  <a:avLst/>
                  <a:gdLst>
                    <a:gd name="connsiteX0" fmla="*/ 104394 w 111537"/>
                    <a:gd name="connsiteY0" fmla="*/ 14288 h 14287"/>
                    <a:gd name="connsiteX1" fmla="*/ 7144 w 111537"/>
                    <a:gd name="connsiteY1" fmla="*/ 14288 h 14287"/>
                    <a:gd name="connsiteX2" fmla="*/ 0 w 111537"/>
                    <a:gd name="connsiteY2" fmla="*/ 7144 h 14287"/>
                    <a:gd name="connsiteX3" fmla="*/ 7144 w 111537"/>
                    <a:gd name="connsiteY3" fmla="*/ 0 h 14287"/>
                    <a:gd name="connsiteX4" fmla="*/ 104394 w 111537"/>
                    <a:gd name="connsiteY4" fmla="*/ 0 h 14287"/>
                    <a:gd name="connsiteX5" fmla="*/ 111538 w 111537"/>
                    <a:gd name="connsiteY5" fmla="*/ 7144 h 14287"/>
                    <a:gd name="connsiteX6" fmla="*/ 104394 w 11153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1537" h="14287">
                      <a:moveTo>
                        <a:pt x="10439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04394" y="0"/>
                      </a:lnTo>
                      <a:cubicBezTo>
                        <a:pt x="108299" y="0"/>
                        <a:pt x="111538" y="3239"/>
                        <a:pt x="111538" y="7144"/>
                      </a:cubicBezTo>
                      <a:cubicBezTo>
                        <a:pt x="111538" y="11049"/>
                        <a:pt x="108299" y="14288"/>
                        <a:pt x="10439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156" name="Grafik 31">
                  <a:extLst>
                    <a:ext uri="{FF2B5EF4-FFF2-40B4-BE49-F238E27FC236}">
                      <a16:creationId xmlns:a16="http://schemas.microsoft.com/office/drawing/2014/main" id="{7C7CE83B-7130-E273-8369-8D98880337AA}"/>
                    </a:ext>
                  </a:extLst>
                </p:cNvPr>
                <p:cNvSpPr/>
                <p:nvPr/>
              </p:nvSpPr>
              <p:spPr bwMode="gray">
                <a:xfrm>
                  <a:off x="5932002" y="3451978"/>
                  <a:ext cx="55483" cy="55506"/>
                </a:xfrm>
                <a:custGeom>
                  <a:avLst/>
                  <a:gdLst>
                    <a:gd name="connsiteX0" fmla="*/ 7120 w 55483"/>
                    <a:gd name="connsiteY0" fmla="*/ 55507 h 55506"/>
                    <a:gd name="connsiteX1" fmla="*/ 2072 w 55483"/>
                    <a:gd name="connsiteY1" fmla="*/ 53411 h 55506"/>
                    <a:gd name="connsiteX2" fmla="*/ 2072 w 55483"/>
                    <a:gd name="connsiteY2" fmla="*/ 43315 h 55506"/>
                    <a:gd name="connsiteX3" fmla="*/ 43315 w 55483"/>
                    <a:gd name="connsiteY3" fmla="*/ 2072 h 55506"/>
                    <a:gd name="connsiteX4" fmla="*/ 53411 w 55483"/>
                    <a:gd name="connsiteY4" fmla="*/ 2072 h 55506"/>
                    <a:gd name="connsiteX5" fmla="*/ 53411 w 55483"/>
                    <a:gd name="connsiteY5" fmla="*/ 12168 h 55506"/>
                    <a:gd name="connsiteX6" fmla="*/ 12168 w 55483"/>
                    <a:gd name="connsiteY6" fmla="*/ 53411 h 55506"/>
                    <a:gd name="connsiteX7" fmla="*/ 7120 w 55483"/>
                    <a:gd name="connsiteY7" fmla="*/ 55507 h 555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5483" h="55506">
                      <a:moveTo>
                        <a:pt x="7120" y="55507"/>
                      </a:moveTo>
                      <a:cubicBezTo>
                        <a:pt x="5310" y="55507"/>
                        <a:pt x="3500" y="54840"/>
                        <a:pt x="2072" y="53411"/>
                      </a:cubicBezTo>
                      <a:cubicBezTo>
                        <a:pt x="-691" y="50649"/>
                        <a:pt x="-691" y="46077"/>
                        <a:pt x="2072" y="43315"/>
                      </a:cubicBezTo>
                      <a:lnTo>
                        <a:pt x="43315" y="2072"/>
                      </a:lnTo>
                      <a:cubicBezTo>
                        <a:pt x="46077" y="-691"/>
                        <a:pt x="50649" y="-691"/>
                        <a:pt x="53411" y="2072"/>
                      </a:cubicBezTo>
                      <a:cubicBezTo>
                        <a:pt x="56174" y="4834"/>
                        <a:pt x="56174" y="9406"/>
                        <a:pt x="53411" y="12168"/>
                      </a:cubicBezTo>
                      <a:lnTo>
                        <a:pt x="12168" y="53411"/>
                      </a:lnTo>
                      <a:cubicBezTo>
                        <a:pt x="10739" y="54840"/>
                        <a:pt x="8930" y="55507"/>
                        <a:pt x="7120" y="5550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157" name="Grafik 31">
                  <a:extLst>
                    <a:ext uri="{FF2B5EF4-FFF2-40B4-BE49-F238E27FC236}">
                      <a16:creationId xmlns:a16="http://schemas.microsoft.com/office/drawing/2014/main" id="{C9B6685C-DF5B-85A8-3D35-272083BDBB52}"/>
                    </a:ext>
                  </a:extLst>
                </p:cNvPr>
                <p:cNvSpPr/>
                <p:nvPr/>
              </p:nvSpPr>
              <p:spPr bwMode="gray">
                <a:xfrm>
                  <a:off x="5932002" y="3410735"/>
                  <a:ext cx="55483" cy="55506"/>
                </a:xfrm>
                <a:custGeom>
                  <a:avLst/>
                  <a:gdLst>
                    <a:gd name="connsiteX0" fmla="*/ 48363 w 55483"/>
                    <a:gd name="connsiteY0" fmla="*/ 55507 h 55506"/>
                    <a:gd name="connsiteX1" fmla="*/ 43315 w 55483"/>
                    <a:gd name="connsiteY1" fmla="*/ 53411 h 55506"/>
                    <a:gd name="connsiteX2" fmla="*/ 2072 w 55483"/>
                    <a:gd name="connsiteY2" fmla="*/ 12168 h 55506"/>
                    <a:gd name="connsiteX3" fmla="*/ 2072 w 55483"/>
                    <a:gd name="connsiteY3" fmla="*/ 2072 h 55506"/>
                    <a:gd name="connsiteX4" fmla="*/ 12168 w 55483"/>
                    <a:gd name="connsiteY4" fmla="*/ 2072 h 55506"/>
                    <a:gd name="connsiteX5" fmla="*/ 53411 w 55483"/>
                    <a:gd name="connsiteY5" fmla="*/ 43315 h 55506"/>
                    <a:gd name="connsiteX6" fmla="*/ 53411 w 55483"/>
                    <a:gd name="connsiteY6" fmla="*/ 53411 h 55506"/>
                    <a:gd name="connsiteX7" fmla="*/ 48363 w 55483"/>
                    <a:gd name="connsiteY7" fmla="*/ 55507 h 555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5483" h="55506">
                      <a:moveTo>
                        <a:pt x="48363" y="55507"/>
                      </a:moveTo>
                      <a:cubicBezTo>
                        <a:pt x="46553" y="55507"/>
                        <a:pt x="44744" y="54840"/>
                        <a:pt x="43315" y="5341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53411" y="43315"/>
                      </a:lnTo>
                      <a:cubicBezTo>
                        <a:pt x="56174" y="46077"/>
                        <a:pt x="56174" y="50649"/>
                        <a:pt x="53411" y="53411"/>
                      </a:cubicBezTo>
                      <a:cubicBezTo>
                        <a:pt x="51983" y="54840"/>
                        <a:pt x="50173" y="55507"/>
                        <a:pt x="48363" y="5550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147" name="Grafik 31">
                <a:extLst>
                  <a:ext uri="{FF2B5EF4-FFF2-40B4-BE49-F238E27FC236}">
                    <a16:creationId xmlns:a16="http://schemas.microsoft.com/office/drawing/2014/main" id="{6EC5BD1E-1BB5-8D22-201E-4DDBC6A40AA5}"/>
                  </a:ext>
                </a:extLst>
              </p:cNvPr>
              <p:cNvGrpSpPr/>
              <p:nvPr/>
            </p:nvGrpSpPr>
            <p:grpSpPr bwMode="gray">
              <a:xfrm>
                <a:off x="5876067" y="3541132"/>
                <a:ext cx="79057" cy="69222"/>
                <a:chOff x="5876067" y="3541132"/>
                <a:chExt cx="79057" cy="69222"/>
              </a:xfrm>
              <a:grpFill/>
            </p:grpSpPr>
            <p:sp>
              <p:nvSpPr>
                <p:cNvPr id="152" name="Grafik 31">
                  <a:extLst>
                    <a:ext uri="{FF2B5EF4-FFF2-40B4-BE49-F238E27FC236}">
                      <a16:creationId xmlns:a16="http://schemas.microsoft.com/office/drawing/2014/main" id="{27683CAF-C8DC-AE1B-1248-01A87475DA01}"/>
                    </a:ext>
                  </a:extLst>
                </p:cNvPr>
                <p:cNvSpPr/>
                <p:nvPr/>
              </p:nvSpPr>
              <p:spPr bwMode="gray">
                <a:xfrm>
                  <a:off x="5876067" y="3568635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153" name="Grafik 31">
                  <a:extLst>
                    <a:ext uri="{FF2B5EF4-FFF2-40B4-BE49-F238E27FC236}">
                      <a16:creationId xmlns:a16="http://schemas.microsoft.com/office/drawing/2014/main" id="{10CDF451-DB00-E643-2FC5-D66C7C5A6B5A}"/>
                    </a:ext>
                  </a:extLst>
                </p:cNvPr>
                <p:cNvSpPr/>
                <p:nvPr/>
              </p:nvSpPr>
              <p:spPr bwMode="gray">
                <a:xfrm>
                  <a:off x="5913333" y="3568564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739" y="41124"/>
                        <a:pt x="8930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154" name="Grafik 31">
                  <a:extLst>
                    <a:ext uri="{FF2B5EF4-FFF2-40B4-BE49-F238E27FC236}">
                      <a16:creationId xmlns:a16="http://schemas.microsoft.com/office/drawing/2014/main" id="{28038152-D22A-63CE-4028-1805E9296DF8}"/>
                    </a:ext>
                  </a:extLst>
                </p:cNvPr>
                <p:cNvSpPr/>
                <p:nvPr/>
              </p:nvSpPr>
              <p:spPr bwMode="gray">
                <a:xfrm>
                  <a:off x="5913333" y="3541132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267" y="41029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148" name="Grafik 31">
                <a:extLst>
                  <a:ext uri="{FF2B5EF4-FFF2-40B4-BE49-F238E27FC236}">
                    <a16:creationId xmlns:a16="http://schemas.microsoft.com/office/drawing/2014/main" id="{9EDEB14E-72E3-2DE0-7071-393DDD7D1B54}"/>
                  </a:ext>
                </a:extLst>
              </p:cNvPr>
              <p:cNvGrpSpPr/>
              <p:nvPr/>
            </p:nvGrpSpPr>
            <p:grpSpPr bwMode="gray">
              <a:xfrm>
                <a:off x="5876067" y="3307865"/>
                <a:ext cx="79057" cy="69318"/>
                <a:chOff x="5876067" y="3307865"/>
                <a:chExt cx="79057" cy="69318"/>
              </a:xfrm>
              <a:grpFill/>
            </p:grpSpPr>
            <p:sp>
              <p:nvSpPr>
                <p:cNvPr id="149" name="Grafik 31">
                  <a:extLst>
                    <a:ext uri="{FF2B5EF4-FFF2-40B4-BE49-F238E27FC236}">
                      <a16:creationId xmlns:a16="http://schemas.microsoft.com/office/drawing/2014/main" id="{5E4741E0-0B06-7A64-A807-6954D54C9A6A}"/>
                    </a:ext>
                  </a:extLst>
                </p:cNvPr>
                <p:cNvSpPr/>
                <p:nvPr/>
              </p:nvSpPr>
              <p:spPr bwMode="gray">
                <a:xfrm>
                  <a:off x="5876067" y="333536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150" name="Grafik 31">
                  <a:extLst>
                    <a:ext uri="{FF2B5EF4-FFF2-40B4-BE49-F238E27FC236}">
                      <a16:creationId xmlns:a16="http://schemas.microsoft.com/office/drawing/2014/main" id="{9EDC75FD-07B3-3443-8520-2D1649CC61AE}"/>
                    </a:ext>
                  </a:extLst>
                </p:cNvPr>
                <p:cNvSpPr/>
                <p:nvPr/>
              </p:nvSpPr>
              <p:spPr bwMode="gray">
                <a:xfrm>
                  <a:off x="5913333" y="3335392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739" y="41029"/>
                        <a:pt x="8930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151" name="Grafik 31">
                  <a:extLst>
                    <a:ext uri="{FF2B5EF4-FFF2-40B4-BE49-F238E27FC236}">
                      <a16:creationId xmlns:a16="http://schemas.microsoft.com/office/drawing/2014/main" id="{6275EBF4-E644-FC5C-E754-2A7EC6513860}"/>
                    </a:ext>
                  </a:extLst>
                </p:cNvPr>
                <p:cNvSpPr/>
                <p:nvPr/>
              </p:nvSpPr>
              <p:spPr bwMode="gray">
                <a:xfrm>
                  <a:off x="5913333" y="3307865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267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178" name="Grafik 3852">
            <a:extLst>
              <a:ext uri="{FF2B5EF4-FFF2-40B4-BE49-F238E27FC236}">
                <a16:creationId xmlns:a16="http://schemas.microsoft.com/office/drawing/2014/main" id="{B51754AB-7D36-118E-5B60-B4D813EC56A6}"/>
              </a:ext>
            </a:extLst>
          </p:cNvPr>
          <p:cNvGrpSpPr/>
          <p:nvPr/>
        </p:nvGrpSpPr>
        <p:grpSpPr bwMode="gray">
          <a:xfrm>
            <a:off x="318304" y="4014689"/>
            <a:ext cx="374400" cy="374400"/>
            <a:chOff x="5843587" y="3176587"/>
            <a:chExt cx="500348" cy="500253"/>
          </a:xfrm>
          <a:solidFill>
            <a:schemeClr val="tx1"/>
          </a:solidFill>
        </p:grpSpPr>
        <p:sp>
          <p:nvSpPr>
            <p:cNvPr id="179" name="Grafik 3852">
              <a:extLst>
                <a:ext uri="{FF2B5EF4-FFF2-40B4-BE49-F238E27FC236}">
                  <a16:creationId xmlns:a16="http://schemas.microsoft.com/office/drawing/2014/main" id="{32B15C21-57B8-C39D-5342-FB41CAE9E9C3}"/>
                </a:ext>
              </a:extLst>
            </p:cNvPr>
            <p:cNvSpPr/>
            <p:nvPr/>
          </p:nvSpPr>
          <p:spPr bwMode="gray">
            <a:xfrm>
              <a:off x="5892164" y="3241357"/>
              <a:ext cx="338327" cy="435483"/>
            </a:xfrm>
            <a:custGeom>
              <a:avLst/>
              <a:gdLst>
                <a:gd name="connsiteX0" fmla="*/ 331184 w 338327"/>
                <a:gd name="connsiteY0" fmla="*/ 435483 h 435483"/>
                <a:gd name="connsiteX1" fmla="*/ 7144 w 338327"/>
                <a:gd name="connsiteY1" fmla="*/ 435483 h 435483"/>
                <a:gd name="connsiteX2" fmla="*/ 0 w 338327"/>
                <a:gd name="connsiteY2" fmla="*/ 428339 h 435483"/>
                <a:gd name="connsiteX3" fmla="*/ 0 w 338327"/>
                <a:gd name="connsiteY3" fmla="*/ 7144 h 435483"/>
                <a:gd name="connsiteX4" fmla="*/ 7144 w 338327"/>
                <a:gd name="connsiteY4" fmla="*/ 0 h 435483"/>
                <a:gd name="connsiteX5" fmla="*/ 331184 w 338327"/>
                <a:gd name="connsiteY5" fmla="*/ 0 h 435483"/>
                <a:gd name="connsiteX6" fmla="*/ 338328 w 338327"/>
                <a:gd name="connsiteY6" fmla="*/ 7144 h 435483"/>
                <a:gd name="connsiteX7" fmla="*/ 338328 w 338327"/>
                <a:gd name="connsiteY7" fmla="*/ 428339 h 435483"/>
                <a:gd name="connsiteX8" fmla="*/ 331184 w 338327"/>
                <a:gd name="connsiteY8" fmla="*/ 435483 h 435483"/>
                <a:gd name="connsiteX9" fmla="*/ 14288 w 338327"/>
                <a:gd name="connsiteY9" fmla="*/ 421196 h 435483"/>
                <a:gd name="connsiteX10" fmla="*/ 324041 w 338327"/>
                <a:gd name="connsiteY10" fmla="*/ 421196 h 435483"/>
                <a:gd name="connsiteX11" fmla="*/ 324041 w 338327"/>
                <a:gd name="connsiteY11" fmla="*/ 14288 h 435483"/>
                <a:gd name="connsiteX12" fmla="*/ 14288 w 338327"/>
                <a:gd name="connsiteY12" fmla="*/ 14288 h 435483"/>
                <a:gd name="connsiteX13" fmla="*/ 14288 w 33832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8327" h="435483">
                  <a:moveTo>
                    <a:pt x="33118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331184" y="0"/>
                  </a:lnTo>
                  <a:cubicBezTo>
                    <a:pt x="335090" y="0"/>
                    <a:pt x="338328" y="3238"/>
                    <a:pt x="338328" y="7144"/>
                  </a:cubicBezTo>
                  <a:lnTo>
                    <a:pt x="338328" y="428339"/>
                  </a:lnTo>
                  <a:cubicBezTo>
                    <a:pt x="338328" y="432340"/>
                    <a:pt x="335090" y="435483"/>
                    <a:pt x="331184" y="435483"/>
                  </a:cubicBezTo>
                  <a:close/>
                  <a:moveTo>
                    <a:pt x="14288" y="421196"/>
                  </a:moveTo>
                  <a:lnTo>
                    <a:pt x="324041" y="421196"/>
                  </a:lnTo>
                  <a:lnTo>
                    <a:pt x="324041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0" name="Grafik 3852">
              <a:extLst>
                <a:ext uri="{FF2B5EF4-FFF2-40B4-BE49-F238E27FC236}">
                  <a16:creationId xmlns:a16="http://schemas.microsoft.com/office/drawing/2014/main" id="{5CED695D-C23D-049F-0446-E5EAED618EAC}"/>
                </a:ext>
              </a:extLst>
            </p:cNvPr>
            <p:cNvSpPr/>
            <p:nvPr/>
          </p:nvSpPr>
          <p:spPr bwMode="gray">
            <a:xfrm>
              <a:off x="5957029" y="3176587"/>
              <a:ext cx="338328" cy="435483"/>
            </a:xfrm>
            <a:custGeom>
              <a:avLst/>
              <a:gdLst>
                <a:gd name="connsiteX0" fmla="*/ 331089 w 338328"/>
                <a:gd name="connsiteY0" fmla="*/ 435483 h 435483"/>
                <a:gd name="connsiteX1" fmla="*/ 323945 w 338328"/>
                <a:gd name="connsiteY1" fmla="*/ 428339 h 435483"/>
                <a:gd name="connsiteX2" fmla="*/ 323945 w 338328"/>
                <a:gd name="connsiteY2" fmla="*/ 14288 h 435483"/>
                <a:gd name="connsiteX3" fmla="*/ 7144 w 338328"/>
                <a:gd name="connsiteY3" fmla="*/ 14288 h 435483"/>
                <a:gd name="connsiteX4" fmla="*/ 0 w 338328"/>
                <a:gd name="connsiteY4" fmla="*/ 7144 h 435483"/>
                <a:gd name="connsiteX5" fmla="*/ 7144 w 338328"/>
                <a:gd name="connsiteY5" fmla="*/ 0 h 435483"/>
                <a:gd name="connsiteX6" fmla="*/ 331184 w 338328"/>
                <a:gd name="connsiteY6" fmla="*/ 0 h 435483"/>
                <a:gd name="connsiteX7" fmla="*/ 338328 w 338328"/>
                <a:gd name="connsiteY7" fmla="*/ 7144 h 435483"/>
                <a:gd name="connsiteX8" fmla="*/ 338328 w 338328"/>
                <a:gd name="connsiteY8" fmla="*/ 428339 h 435483"/>
                <a:gd name="connsiteX9" fmla="*/ 331089 w 338328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38328" h="435483">
                  <a:moveTo>
                    <a:pt x="331089" y="435483"/>
                  </a:moveTo>
                  <a:cubicBezTo>
                    <a:pt x="327184" y="435483"/>
                    <a:pt x="323945" y="432245"/>
                    <a:pt x="323945" y="428339"/>
                  </a:cubicBezTo>
                  <a:lnTo>
                    <a:pt x="323945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331184" y="0"/>
                  </a:lnTo>
                  <a:cubicBezTo>
                    <a:pt x="335090" y="0"/>
                    <a:pt x="338328" y="3239"/>
                    <a:pt x="338328" y="7144"/>
                  </a:cubicBezTo>
                  <a:lnTo>
                    <a:pt x="338328" y="428339"/>
                  </a:lnTo>
                  <a:cubicBezTo>
                    <a:pt x="338233" y="432245"/>
                    <a:pt x="335090" y="435483"/>
                    <a:pt x="33108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1" name="Grafik 3852">
              <a:extLst>
                <a:ext uri="{FF2B5EF4-FFF2-40B4-BE49-F238E27FC236}">
                  <a16:creationId xmlns:a16="http://schemas.microsoft.com/office/drawing/2014/main" id="{CB3F54FC-6519-433E-EC39-F3BD90650E53}"/>
                </a:ext>
              </a:extLst>
            </p:cNvPr>
            <p:cNvSpPr/>
            <p:nvPr/>
          </p:nvSpPr>
          <p:spPr bwMode="gray">
            <a:xfrm>
              <a:off x="6216228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2" name="Grafik 3852">
              <a:extLst>
                <a:ext uri="{FF2B5EF4-FFF2-40B4-BE49-F238E27FC236}">
                  <a16:creationId xmlns:a16="http://schemas.microsoft.com/office/drawing/2014/main" id="{39A6400A-C050-DF84-9C2D-659C9A92CA24}"/>
                </a:ext>
              </a:extLst>
            </p:cNvPr>
            <p:cNvSpPr/>
            <p:nvPr/>
          </p:nvSpPr>
          <p:spPr bwMode="gray">
            <a:xfrm>
              <a:off x="5892188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3" name="Grafik 3852">
              <a:extLst>
                <a:ext uri="{FF2B5EF4-FFF2-40B4-BE49-F238E27FC236}">
                  <a16:creationId xmlns:a16="http://schemas.microsoft.com/office/drawing/2014/main" id="{53DA2E61-4E21-6CAD-7D90-D5F64DB23256}"/>
                </a:ext>
              </a:extLst>
            </p:cNvPr>
            <p:cNvSpPr/>
            <p:nvPr/>
          </p:nvSpPr>
          <p:spPr bwMode="gray">
            <a:xfrm>
              <a:off x="6216228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184" name="Grafik 3852">
              <a:extLst>
                <a:ext uri="{FF2B5EF4-FFF2-40B4-BE49-F238E27FC236}">
                  <a16:creationId xmlns:a16="http://schemas.microsoft.com/office/drawing/2014/main" id="{5F456762-CE44-61B1-5348-5305D5480AD1}"/>
                </a:ext>
              </a:extLst>
            </p:cNvPr>
            <p:cNvGrpSpPr/>
            <p:nvPr/>
          </p:nvGrpSpPr>
          <p:grpSpPr bwMode="gray">
            <a:xfrm>
              <a:off x="5843587" y="3322414"/>
              <a:ext cx="500348" cy="208692"/>
              <a:chOff x="5843587" y="3322414"/>
              <a:chExt cx="500348" cy="208692"/>
            </a:xfrm>
            <a:grpFill/>
          </p:grpSpPr>
          <p:sp>
            <p:nvSpPr>
              <p:cNvPr id="185" name="Grafik 3852">
                <a:extLst>
                  <a:ext uri="{FF2B5EF4-FFF2-40B4-BE49-F238E27FC236}">
                    <a16:creationId xmlns:a16="http://schemas.microsoft.com/office/drawing/2014/main" id="{3D1B57B8-6B94-6B3B-CD68-8A6395FD129C}"/>
                  </a:ext>
                </a:extLst>
              </p:cNvPr>
              <p:cNvSpPr/>
              <p:nvPr/>
            </p:nvSpPr>
            <p:spPr bwMode="gray">
              <a:xfrm>
                <a:off x="5843587" y="3396733"/>
                <a:ext cx="171545" cy="134373"/>
              </a:xfrm>
              <a:custGeom>
                <a:avLst/>
                <a:gdLst>
                  <a:gd name="connsiteX0" fmla="*/ 55721 w 171545"/>
                  <a:gd name="connsiteY0" fmla="*/ 134374 h 134373"/>
                  <a:gd name="connsiteX1" fmla="*/ 0 w 171545"/>
                  <a:gd name="connsiteY1" fmla="*/ 78557 h 134373"/>
                  <a:gd name="connsiteX2" fmla="*/ 55721 w 171545"/>
                  <a:gd name="connsiteY2" fmla="*/ 22836 h 134373"/>
                  <a:gd name="connsiteX3" fmla="*/ 147161 w 171545"/>
                  <a:gd name="connsiteY3" fmla="*/ 22836 h 134373"/>
                  <a:gd name="connsiteX4" fmla="*/ 136493 w 171545"/>
                  <a:gd name="connsiteY4" fmla="*/ 12168 h 134373"/>
                  <a:gd name="connsiteX5" fmla="*/ 134398 w 171545"/>
                  <a:gd name="connsiteY5" fmla="*/ 7120 h 134373"/>
                  <a:gd name="connsiteX6" fmla="*/ 136493 w 171545"/>
                  <a:gd name="connsiteY6" fmla="*/ 2072 h 134373"/>
                  <a:gd name="connsiteX7" fmla="*/ 146590 w 171545"/>
                  <a:gd name="connsiteY7" fmla="*/ 2072 h 134373"/>
                  <a:gd name="connsiteX8" fmla="*/ 169545 w 171545"/>
                  <a:gd name="connsiteY8" fmla="*/ 25027 h 134373"/>
                  <a:gd name="connsiteX9" fmla="*/ 169545 w 171545"/>
                  <a:gd name="connsiteY9" fmla="*/ 25027 h 134373"/>
                  <a:gd name="connsiteX10" fmla="*/ 169545 w 171545"/>
                  <a:gd name="connsiteY10" fmla="*/ 25027 h 134373"/>
                  <a:gd name="connsiteX11" fmla="*/ 169545 w 171545"/>
                  <a:gd name="connsiteY11" fmla="*/ 25027 h 134373"/>
                  <a:gd name="connsiteX12" fmla="*/ 169545 w 171545"/>
                  <a:gd name="connsiteY12" fmla="*/ 25027 h 134373"/>
                  <a:gd name="connsiteX13" fmla="*/ 169545 w 171545"/>
                  <a:gd name="connsiteY13" fmla="*/ 25027 h 134373"/>
                  <a:gd name="connsiteX14" fmla="*/ 171545 w 171545"/>
                  <a:gd name="connsiteY14" fmla="*/ 29599 h 134373"/>
                  <a:gd name="connsiteX15" fmla="*/ 171545 w 171545"/>
                  <a:gd name="connsiteY15" fmla="*/ 29599 h 134373"/>
                  <a:gd name="connsiteX16" fmla="*/ 171545 w 171545"/>
                  <a:gd name="connsiteY16" fmla="*/ 29599 h 134373"/>
                  <a:gd name="connsiteX17" fmla="*/ 171545 w 171545"/>
                  <a:gd name="connsiteY17" fmla="*/ 30932 h 134373"/>
                  <a:gd name="connsiteX18" fmla="*/ 169831 w 171545"/>
                  <a:gd name="connsiteY18" fmla="*/ 34742 h 134373"/>
                  <a:gd name="connsiteX19" fmla="*/ 169450 w 171545"/>
                  <a:gd name="connsiteY19" fmla="*/ 35123 h 134373"/>
                  <a:gd name="connsiteX20" fmla="*/ 146590 w 171545"/>
                  <a:gd name="connsiteY20" fmla="*/ 57983 h 134373"/>
                  <a:gd name="connsiteX21" fmla="*/ 136493 w 171545"/>
                  <a:gd name="connsiteY21" fmla="*/ 57983 h 134373"/>
                  <a:gd name="connsiteX22" fmla="*/ 136493 w 171545"/>
                  <a:gd name="connsiteY22" fmla="*/ 47887 h 134373"/>
                  <a:gd name="connsiteX23" fmla="*/ 147161 w 171545"/>
                  <a:gd name="connsiteY23" fmla="*/ 37219 h 134373"/>
                  <a:gd name="connsiteX24" fmla="*/ 55721 w 171545"/>
                  <a:gd name="connsiteY24" fmla="*/ 37219 h 134373"/>
                  <a:gd name="connsiteX25" fmla="*/ 14288 w 171545"/>
                  <a:gd name="connsiteY25" fmla="*/ 78653 h 134373"/>
                  <a:gd name="connsiteX26" fmla="*/ 55721 w 171545"/>
                  <a:gd name="connsiteY26" fmla="*/ 120086 h 134373"/>
                  <a:gd name="connsiteX27" fmla="*/ 62865 w 171545"/>
                  <a:gd name="connsiteY27" fmla="*/ 127230 h 134373"/>
                  <a:gd name="connsiteX28" fmla="*/ 55721 w 171545"/>
                  <a:gd name="connsiteY28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71545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147161" y="22836"/>
                    </a:lnTo>
                    <a:lnTo>
                      <a:pt x="136493" y="12168"/>
                    </a:lnTo>
                    <a:cubicBezTo>
                      <a:pt x="135065" y="10739"/>
                      <a:pt x="134398" y="8930"/>
                      <a:pt x="134398" y="7120"/>
                    </a:cubicBezTo>
                    <a:cubicBezTo>
                      <a:pt x="134398" y="5310"/>
                      <a:pt x="135065" y="3500"/>
                      <a:pt x="136493" y="2072"/>
                    </a:cubicBezTo>
                    <a:cubicBezTo>
                      <a:pt x="139256" y="-691"/>
                      <a:pt x="143828" y="-691"/>
                      <a:pt x="146590" y="2072"/>
                    </a:cubicBezTo>
                    <a:lnTo>
                      <a:pt x="169545" y="25027"/>
                    </a:lnTo>
                    <a:cubicBezTo>
                      <a:pt x="169545" y="25027"/>
                      <a:pt x="169545" y="25027"/>
                      <a:pt x="169545" y="25027"/>
                    </a:cubicBezTo>
                    <a:cubicBezTo>
                      <a:pt x="169545" y="25027"/>
                      <a:pt x="169545" y="25027"/>
                      <a:pt x="169545" y="25027"/>
                    </a:cubicBezTo>
                    <a:cubicBezTo>
                      <a:pt x="169545" y="25027"/>
                      <a:pt x="169545" y="25027"/>
                      <a:pt x="169545" y="25027"/>
                    </a:cubicBezTo>
                    <a:cubicBezTo>
                      <a:pt x="169545" y="25027"/>
                      <a:pt x="169545" y="25027"/>
                      <a:pt x="169545" y="25027"/>
                    </a:cubicBezTo>
                    <a:cubicBezTo>
                      <a:pt x="169545" y="25027"/>
                      <a:pt x="169545" y="25027"/>
                      <a:pt x="169545" y="25027"/>
                    </a:cubicBezTo>
                    <a:cubicBezTo>
                      <a:pt x="170783" y="26265"/>
                      <a:pt x="171450" y="27884"/>
                      <a:pt x="171545" y="29599"/>
                    </a:cubicBezTo>
                    <a:lnTo>
                      <a:pt x="171545" y="29599"/>
                    </a:lnTo>
                    <a:cubicBezTo>
                      <a:pt x="171545" y="29599"/>
                      <a:pt x="171545" y="29599"/>
                      <a:pt x="171545" y="29599"/>
                    </a:cubicBezTo>
                    <a:cubicBezTo>
                      <a:pt x="171545" y="30075"/>
                      <a:pt x="171545" y="30456"/>
                      <a:pt x="171545" y="30932"/>
                    </a:cubicBezTo>
                    <a:cubicBezTo>
                      <a:pt x="171355" y="32266"/>
                      <a:pt x="170783" y="33599"/>
                      <a:pt x="169831" y="34742"/>
                    </a:cubicBezTo>
                    <a:cubicBezTo>
                      <a:pt x="169736" y="34933"/>
                      <a:pt x="169545" y="35028"/>
                      <a:pt x="169450" y="35123"/>
                    </a:cubicBezTo>
                    <a:lnTo>
                      <a:pt x="146590" y="57983"/>
                    </a:lnTo>
                    <a:cubicBezTo>
                      <a:pt x="143828" y="60746"/>
                      <a:pt x="139256" y="60746"/>
                      <a:pt x="136493" y="57983"/>
                    </a:cubicBezTo>
                    <a:cubicBezTo>
                      <a:pt x="133731" y="55221"/>
                      <a:pt x="133731" y="50649"/>
                      <a:pt x="136493" y="47887"/>
                    </a:cubicBezTo>
                    <a:lnTo>
                      <a:pt x="147161" y="37219"/>
                    </a:lnTo>
                    <a:lnTo>
                      <a:pt x="55721" y="37219"/>
                    </a:lnTo>
                    <a:cubicBezTo>
                      <a:pt x="32861" y="37219"/>
                      <a:pt x="14288" y="55793"/>
                      <a:pt x="14288" y="78653"/>
                    </a:cubicBezTo>
                    <a:cubicBezTo>
                      <a:pt x="14288" y="101513"/>
                      <a:pt x="32861" y="120086"/>
                      <a:pt x="55721" y="120086"/>
                    </a:cubicBezTo>
                    <a:cubicBezTo>
                      <a:pt x="59627" y="120086"/>
                      <a:pt x="62865" y="123325"/>
                      <a:pt x="62865" y="127230"/>
                    </a:cubicBezTo>
                    <a:cubicBezTo>
                      <a:pt x="62865" y="131135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" name="Grafik 3852">
                <a:extLst>
                  <a:ext uri="{FF2B5EF4-FFF2-40B4-BE49-F238E27FC236}">
                    <a16:creationId xmlns:a16="http://schemas.microsoft.com/office/drawing/2014/main" id="{62390282-94F3-C01C-987A-36E931433C18}"/>
                  </a:ext>
                </a:extLst>
              </p:cNvPr>
              <p:cNvSpPr/>
              <p:nvPr/>
            </p:nvSpPr>
            <p:spPr bwMode="gray">
              <a:xfrm>
                <a:off x="6102857" y="3322509"/>
                <a:ext cx="241077" cy="134302"/>
              </a:xfrm>
              <a:custGeom>
                <a:avLst/>
                <a:gdLst>
                  <a:gd name="connsiteX0" fmla="*/ 30004 w 241077"/>
                  <a:gd name="connsiteY0" fmla="*/ 134303 h 134302"/>
                  <a:gd name="connsiteX1" fmla="*/ 24956 w 241077"/>
                  <a:gd name="connsiteY1" fmla="*/ 132207 h 134302"/>
                  <a:gd name="connsiteX2" fmla="*/ 2000 w 241077"/>
                  <a:gd name="connsiteY2" fmla="*/ 109252 h 134302"/>
                  <a:gd name="connsiteX3" fmla="*/ 2000 w 241077"/>
                  <a:gd name="connsiteY3" fmla="*/ 109252 h 134302"/>
                  <a:gd name="connsiteX4" fmla="*/ 2000 w 241077"/>
                  <a:gd name="connsiteY4" fmla="*/ 109252 h 134302"/>
                  <a:gd name="connsiteX5" fmla="*/ 2000 w 241077"/>
                  <a:gd name="connsiteY5" fmla="*/ 109252 h 134302"/>
                  <a:gd name="connsiteX6" fmla="*/ 2000 w 241077"/>
                  <a:gd name="connsiteY6" fmla="*/ 109252 h 134302"/>
                  <a:gd name="connsiteX7" fmla="*/ 2000 w 241077"/>
                  <a:gd name="connsiteY7" fmla="*/ 109252 h 134302"/>
                  <a:gd name="connsiteX8" fmla="*/ 2000 w 241077"/>
                  <a:gd name="connsiteY8" fmla="*/ 109252 h 134302"/>
                  <a:gd name="connsiteX9" fmla="*/ 0 w 241077"/>
                  <a:gd name="connsiteY9" fmla="*/ 104870 h 134302"/>
                  <a:gd name="connsiteX10" fmla="*/ 0 w 241077"/>
                  <a:gd name="connsiteY10" fmla="*/ 103346 h 134302"/>
                  <a:gd name="connsiteX11" fmla="*/ 1715 w 241077"/>
                  <a:gd name="connsiteY11" fmla="*/ 99632 h 134302"/>
                  <a:gd name="connsiteX12" fmla="*/ 1715 w 241077"/>
                  <a:gd name="connsiteY12" fmla="*/ 99632 h 134302"/>
                  <a:gd name="connsiteX13" fmla="*/ 1715 w 241077"/>
                  <a:gd name="connsiteY13" fmla="*/ 99632 h 134302"/>
                  <a:gd name="connsiteX14" fmla="*/ 2096 w 241077"/>
                  <a:gd name="connsiteY14" fmla="*/ 99251 h 134302"/>
                  <a:gd name="connsiteX15" fmla="*/ 24956 w 241077"/>
                  <a:gd name="connsiteY15" fmla="*/ 76391 h 134302"/>
                  <a:gd name="connsiteX16" fmla="*/ 35052 w 241077"/>
                  <a:gd name="connsiteY16" fmla="*/ 76391 h 134302"/>
                  <a:gd name="connsiteX17" fmla="*/ 35052 w 241077"/>
                  <a:gd name="connsiteY17" fmla="*/ 86487 h 134302"/>
                  <a:gd name="connsiteX18" fmla="*/ 24384 w 241077"/>
                  <a:gd name="connsiteY18" fmla="*/ 97155 h 134302"/>
                  <a:gd name="connsiteX19" fmla="*/ 185357 w 241077"/>
                  <a:gd name="connsiteY19" fmla="*/ 97155 h 134302"/>
                  <a:gd name="connsiteX20" fmla="*/ 226790 w 241077"/>
                  <a:gd name="connsiteY20" fmla="*/ 55721 h 134302"/>
                  <a:gd name="connsiteX21" fmla="*/ 185357 w 241077"/>
                  <a:gd name="connsiteY21" fmla="*/ 14288 h 134302"/>
                  <a:gd name="connsiteX22" fmla="*/ 178213 w 241077"/>
                  <a:gd name="connsiteY22" fmla="*/ 7144 h 134302"/>
                  <a:gd name="connsiteX23" fmla="*/ 185357 w 241077"/>
                  <a:gd name="connsiteY23" fmla="*/ 0 h 134302"/>
                  <a:gd name="connsiteX24" fmla="*/ 241078 w 241077"/>
                  <a:gd name="connsiteY24" fmla="*/ 55721 h 134302"/>
                  <a:gd name="connsiteX25" fmla="*/ 185357 w 241077"/>
                  <a:gd name="connsiteY25" fmla="*/ 111443 h 134302"/>
                  <a:gd name="connsiteX26" fmla="*/ 24384 w 241077"/>
                  <a:gd name="connsiteY26" fmla="*/ 111443 h 134302"/>
                  <a:gd name="connsiteX27" fmla="*/ 35052 w 241077"/>
                  <a:gd name="connsiteY27" fmla="*/ 122111 h 134302"/>
                  <a:gd name="connsiteX28" fmla="*/ 37148 w 241077"/>
                  <a:gd name="connsiteY28" fmla="*/ 127159 h 134302"/>
                  <a:gd name="connsiteX29" fmla="*/ 35052 w 241077"/>
                  <a:gd name="connsiteY29" fmla="*/ 132207 h 134302"/>
                  <a:gd name="connsiteX30" fmla="*/ 30004 w 241077"/>
                  <a:gd name="connsiteY30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241077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6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347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762" y="108014"/>
                      <a:pt x="95" y="106490"/>
                      <a:pt x="0" y="104870"/>
                    </a:cubicBez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1" y="102013"/>
                      <a:pt x="762" y="100679"/>
                      <a:pt x="1715" y="99632"/>
                    </a:cubicBezTo>
                    <a:cubicBezTo>
                      <a:pt x="1715" y="99632"/>
                      <a:pt x="1715" y="99632"/>
                      <a:pt x="1715" y="99632"/>
                    </a:cubicBezTo>
                    <a:lnTo>
                      <a:pt x="1715" y="99632"/>
                    </a:lnTo>
                    <a:cubicBezTo>
                      <a:pt x="1810" y="99536"/>
                      <a:pt x="1905" y="99346"/>
                      <a:pt x="2096" y="99251"/>
                    </a:cubicBezTo>
                    <a:lnTo>
                      <a:pt x="24956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85357" y="97155"/>
                    </a:lnTo>
                    <a:cubicBezTo>
                      <a:pt x="208217" y="97155"/>
                      <a:pt x="226790" y="78581"/>
                      <a:pt x="226790" y="55721"/>
                    </a:cubicBezTo>
                    <a:cubicBezTo>
                      <a:pt x="226790" y="32861"/>
                      <a:pt x="208217" y="14288"/>
                      <a:pt x="185357" y="14288"/>
                    </a:cubicBezTo>
                    <a:cubicBezTo>
                      <a:pt x="181451" y="14288"/>
                      <a:pt x="178213" y="11049"/>
                      <a:pt x="178213" y="7144"/>
                    </a:cubicBezTo>
                    <a:cubicBezTo>
                      <a:pt x="178213" y="3239"/>
                      <a:pt x="181451" y="0"/>
                      <a:pt x="185357" y="0"/>
                    </a:cubicBezTo>
                    <a:cubicBezTo>
                      <a:pt x="216122" y="0"/>
                      <a:pt x="241078" y="24956"/>
                      <a:pt x="241078" y="55721"/>
                    </a:cubicBezTo>
                    <a:cubicBezTo>
                      <a:pt x="241078" y="86487"/>
                      <a:pt x="216122" y="111443"/>
                      <a:pt x="185357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8" y="125349"/>
                      <a:pt x="37148" y="127159"/>
                    </a:cubicBezTo>
                    <a:cubicBezTo>
                      <a:pt x="37148" y="128969"/>
                      <a:pt x="36481" y="130778"/>
                      <a:pt x="35052" y="132207"/>
                    </a:cubicBezTo>
                    <a:cubicBezTo>
                      <a:pt x="33623" y="133636"/>
                      <a:pt x="31814" y="134303"/>
                      <a:pt x="30004" y="1343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" name="Grafik 3852">
                <a:extLst>
                  <a:ext uri="{FF2B5EF4-FFF2-40B4-BE49-F238E27FC236}">
                    <a16:creationId xmlns:a16="http://schemas.microsoft.com/office/drawing/2014/main" id="{3332BE28-81DD-A08D-C498-76A33B3C80A7}"/>
                  </a:ext>
                </a:extLst>
              </p:cNvPr>
              <p:cNvSpPr/>
              <p:nvPr/>
            </p:nvSpPr>
            <p:spPr bwMode="gray">
              <a:xfrm>
                <a:off x="5843587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" name="Grafik 3852">
                <a:extLst>
                  <a:ext uri="{FF2B5EF4-FFF2-40B4-BE49-F238E27FC236}">
                    <a16:creationId xmlns:a16="http://schemas.microsoft.com/office/drawing/2014/main" id="{6C752811-73B5-E651-82BB-646BF2E97A1F}"/>
                  </a:ext>
                </a:extLst>
              </p:cNvPr>
              <p:cNvSpPr/>
              <p:nvPr/>
            </p:nvSpPr>
            <p:spPr bwMode="gray">
              <a:xfrm>
                <a:off x="6280974" y="3516820"/>
                <a:ext cx="62865" cy="14287"/>
              </a:xfrm>
              <a:custGeom>
                <a:avLst/>
                <a:gdLst>
                  <a:gd name="connsiteX0" fmla="*/ 55721 w 62865"/>
                  <a:gd name="connsiteY0" fmla="*/ 14288 h 14287"/>
                  <a:gd name="connsiteX1" fmla="*/ 7144 w 62865"/>
                  <a:gd name="connsiteY1" fmla="*/ 14288 h 14287"/>
                  <a:gd name="connsiteX2" fmla="*/ 0 w 62865"/>
                  <a:gd name="connsiteY2" fmla="*/ 7144 h 14287"/>
                  <a:gd name="connsiteX3" fmla="*/ 7144 w 62865"/>
                  <a:gd name="connsiteY3" fmla="*/ 0 h 14287"/>
                  <a:gd name="connsiteX4" fmla="*/ 55721 w 62865"/>
                  <a:gd name="connsiteY4" fmla="*/ 0 h 14287"/>
                  <a:gd name="connsiteX5" fmla="*/ 62865 w 62865"/>
                  <a:gd name="connsiteY5" fmla="*/ 7144 h 14287"/>
                  <a:gd name="connsiteX6" fmla="*/ 55721 w 62865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5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9"/>
                      <a:pt x="62865" y="7144"/>
                    </a:cubicBezTo>
                    <a:cubicBezTo>
                      <a:pt x="62865" y="11049"/>
                      <a:pt x="59722" y="14288"/>
                      <a:pt x="55721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sp>
        <p:nvSpPr>
          <p:cNvPr id="189" name="Text Box 60">
            <a:extLst>
              <a:ext uri="{FF2B5EF4-FFF2-40B4-BE49-F238E27FC236}">
                <a16:creationId xmlns:a16="http://schemas.microsoft.com/office/drawing/2014/main" id="{443C1989-ADD9-0491-DAE9-FC70B00E030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4097338"/>
            <a:ext cx="31579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BSC</a:t>
            </a:r>
          </a:p>
        </p:txBody>
      </p:sp>
      <p:sp>
        <p:nvSpPr>
          <p:cNvPr id="190" name="Text Box 61">
            <a:extLst>
              <a:ext uri="{FF2B5EF4-FFF2-40B4-BE49-F238E27FC236}">
                <a16:creationId xmlns:a16="http://schemas.microsoft.com/office/drawing/2014/main" id="{E077E680-86FF-F70B-333E-4CEEA9836C7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4643438"/>
            <a:ext cx="33182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RNC</a:t>
            </a:r>
          </a:p>
        </p:txBody>
      </p:sp>
      <p:sp>
        <p:nvSpPr>
          <p:cNvPr id="191" name="Text Box 62">
            <a:extLst>
              <a:ext uri="{FF2B5EF4-FFF2-40B4-BE49-F238E27FC236}">
                <a16:creationId xmlns:a16="http://schemas.microsoft.com/office/drawing/2014/main" id="{7BE14962-2D5F-2E6A-7A75-4DA1790904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5189538"/>
            <a:ext cx="74219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4G Control</a:t>
            </a:r>
          </a:p>
        </p:txBody>
      </p:sp>
      <p:grpSp>
        <p:nvGrpSpPr>
          <p:cNvPr id="192" name="Grafik 15">
            <a:extLst>
              <a:ext uri="{FF2B5EF4-FFF2-40B4-BE49-F238E27FC236}">
                <a16:creationId xmlns:a16="http://schemas.microsoft.com/office/drawing/2014/main" id="{83C2FE2B-2C9D-DF5F-FB70-BED2D5CB2A5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724270" y="132775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93" name="Grafik 15">
              <a:extLst>
                <a:ext uri="{FF2B5EF4-FFF2-40B4-BE49-F238E27FC236}">
                  <a16:creationId xmlns:a16="http://schemas.microsoft.com/office/drawing/2014/main" id="{1DD6F1F7-BB9C-FADA-0B7C-DA2D3F1DB61A}"/>
                </a:ext>
              </a:extLst>
            </p:cNvPr>
            <p:cNvGrpSpPr/>
            <p:nvPr/>
          </p:nvGrpSpPr>
          <p:grpSpPr bwMode="gray">
            <a:xfrm>
              <a:off x="5937574" y="3306150"/>
              <a:ext cx="247507" cy="305919"/>
              <a:chOff x="5937574" y="3306150"/>
              <a:chExt cx="247507" cy="305919"/>
            </a:xfrm>
            <a:grpFill/>
          </p:grpSpPr>
          <p:grpSp>
            <p:nvGrpSpPr>
              <p:cNvPr id="199" name="Grafik 15">
                <a:extLst>
                  <a:ext uri="{FF2B5EF4-FFF2-40B4-BE49-F238E27FC236}">
                    <a16:creationId xmlns:a16="http://schemas.microsoft.com/office/drawing/2014/main" id="{BA1A12EA-18CD-9EED-0DD5-AD2981DD4858}"/>
                  </a:ext>
                </a:extLst>
              </p:cNvPr>
              <p:cNvGrpSpPr/>
              <p:nvPr/>
            </p:nvGrpSpPr>
            <p:grpSpPr bwMode="gray">
              <a:xfrm>
                <a:off x="5979627" y="3417855"/>
                <a:ext cx="163401" cy="194214"/>
                <a:chOff x="5979627" y="3417855"/>
                <a:chExt cx="163401" cy="194214"/>
              </a:xfrm>
              <a:grpFill/>
            </p:grpSpPr>
            <p:sp>
              <p:nvSpPr>
                <p:cNvPr id="206" name="Grafik 15">
                  <a:extLst>
                    <a:ext uri="{FF2B5EF4-FFF2-40B4-BE49-F238E27FC236}">
                      <a16:creationId xmlns:a16="http://schemas.microsoft.com/office/drawing/2014/main" id="{7675406B-939C-EA72-2D7A-4F4751BF75A0}"/>
                    </a:ext>
                  </a:extLst>
                </p:cNvPr>
                <p:cNvSpPr/>
                <p:nvPr/>
              </p:nvSpPr>
              <p:spPr bwMode="gray">
                <a:xfrm>
                  <a:off x="6054184" y="3417855"/>
                  <a:ext cx="88844" cy="194214"/>
                </a:xfrm>
                <a:custGeom>
                  <a:avLst/>
                  <a:gdLst>
                    <a:gd name="connsiteX0" fmla="*/ 81725 w 88844"/>
                    <a:gd name="connsiteY0" fmla="*/ 194215 h 194214"/>
                    <a:gd name="connsiteX1" fmla="*/ 76676 w 88844"/>
                    <a:gd name="connsiteY1" fmla="*/ 192119 h 194214"/>
                    <a:gd name="connsiteX2" fmla="*/ 0 w 88844"/>
                    <a:gd name="connsiteY2" fmla="*/ 7144 h 194214"/>
                    <a:gd name="connsiteX3" fmla="*/ 7144 w 88844"/>
                    <a:gd name="connsiteY3" fmla="*/ 0 h 194214"/>
                    <a:gd name="connsiteX4" fmla="*/ 14288 w 88844"/>
                    <a:gd name="connsiteY4" fmla="*/ 7144 h 194214"/>
                    <a:gd name="connsiteX5" fmla="*/ 86773 w 88844"/>
                    <a:gd name="connsiteY5" fmla="*/ 182023 h 194214"/>
                    <a:gd name="connsiteX6" fmla="*/ 86773 w 88844"/>
                    <a:gd name="connsiteY6" fmla="*/ 192119 h 194214"/>
                    <a:gd name="connsiteX7" fmla="*/ 81725 w 88844"/>
                    <a:gd name="connsiteY7" fmla="*/ 194215 h 1942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8844" h="194214">
                      <a:moveTo>
                        <a:pt x="81725" y="194215"/>
                      </a:moveTo>
                      <a:cubicBezTo>
                        <a:pt x="79915" y="194215"/>
                        <a:pt x="78105" y="193548"/>
                        <a:pt x="76676" y="192119"/>
                      </a:cubicBezTo>
                      <a:cubicBezTo>
                        <a:pt x="27241" y="142685"/>
                        <a:pt x="0" y="76962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cubicBezTo>
                        <a:pt x="14288" y="73247"/>
                        <a:pt x="40005" y="135350"/>
                        <a:pt x="86773" y="182023"/>
                      </a:cubicBezTo>
                      <a:cubicBezTo>
                        <a:pt x="89535" y="184785"/>
                        <a:pt x="89535" y="189357"/>
                        <a:pt x="86773" y="192119"/>
                      </a:cubicBezTo>
                      <a:cubicBezTo>
                        <a:pt x="85344" y="193548"/>
                        <a:pt x="83534" y="194215"/>
                        <a:pt x="81725" y="19421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207" name="Grafik 15">
                  <a:extLst>
                    <a:ext uri="{FF2B5EF4-FFF2-40B4-BE49-F238E27FC236}">
                      <a16:creationId xmlns:a16="http://schemas.microsoft.com/office/drawing/2014/main" id="{7608A9A6-FCA7-74A3-0AB1-7AFC4A321AE4}"/>
                    </a:ext>
                  </a:extLst>
                </p:cNvPr>
                <p:cNvSpPr/>
                <p:nvPr/>
              </p:nvSpPr>
              <p:spPr bwMode="gray">
                <a:xfrm>
                  <a:off x="5979627" y="3417855"/>
                  <a:ext cx="88844" cy="194214"/>
                </a:xfrm>
                <a:custGeom>
                  <a:avLst/>
                  <a:gdLst>
                    <a:gd name="connsiteX0" fmla="*/ 7120 w 88844"/>
                    <a:gd name="connsiteY0" fmla="*/ 194215 h 194214"/>
                    <a:gd name="connsiteX1" fmla="*/ 2072 w 88844"/>
                    <a:gd name="connsiteY1" fmla="*/ 192119 h 194214"/>
                    <a:gd name="connsiteX2" fmla="*/ 2072 w 88844"/>
                    <a:gd name="connsiteY2" fmla="*/ 182023 h 194214"/>
                    <a:gd name="connsiteX3" fmla="*/ 74557 w 88844"/>
                    <a:gd name="connsiteY3" fmla="*/ 7144 h 194214"/>
                    <a:gd name="connsiteX4" fmla="*/ 81701 w 88844"/>
                    <a:gd name="connsiteY4" fmla="*/ 0 h 194214"/>
                    <a:gd name="connsiteX5" fmla="*/ 88844 w 88844"/>
                    <a:gd name="connsiteY5" fmla="*/ 7144 h 194214"/>
                    <a:gd name="connsiteX6" fmla="*/ 12168 w 88844"/>
                    <a:gd name="connsiteY6" fmla="*/ 192119 h 194214"/>
                    <a:gd name="connsiteX7" fmla="*/ 7120 w 88844"/>
                    <a:gd name="connsiteY7" fmla="*/ 194215 h 1942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8844" h="194214">
                      <a:moveTo>
                        <a:pt x="7120" y="194215"/>
                      </a:moveTo>
                      <a:cubicBezTo>
                        <a:pt x="5310" y="194215"/>
                        <a:pt x="3500" y="193548"/>
                        <a:pt x="2072" y="192119"/>
                      </a:cubicBezTo>
                      <a:cubicBezTo>
                        <a:pt x="-691" y="189357"/>
                        <a:pt x="-691" y="184785"/>
                        <a:pt x="2072" y="182023"/>
                      </a:cubicBezTo>
                      <a:cubicBezTo>
                        <a:pt x="48839" y="135350"/>
                        <a:pt x="74557" y="73152"/>
                        <a:pt x="74557" y="7144"/>
                      </a:cubicBezTo>
                      <a:cubicBezTo>
                        <a:pt x="74557" y="3239"/>
                        <a:pt x="77795" y="0"/>
                        <a:pt x="81701" y="0"/>
                      </a:cubicBezTo>
                      <a:cubicBezTo>
                        <a:pt x="85606" y="0"/>
                        <a:pt x="88844" y="3239"/>
                        <a:pt x="88844" y="7144"/>
                      </a:cubicBezTo>
                      <a:cubicBezTo>
                        <a:pt x="88844" y="77057"/>
                        <a:pt x="61603" y="142780"/>
                        <a:pt x="12168" y="192119"/>
                      </a:cubicBezTo>
                      <a:cubicBezTo>
                        <a:pt x="10835" y="193548"/>
                        <a:pt x="9025" y="194215"/>
                        <a:pt x="7120" y="19421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208" name="Grafik 15">
                  <a:extLst>
                    <a:ext uri="{FF2B5EF4-FFF2-40B4-BE49-F238E27FC236}">
                      <a16:creationId xmlns:a16="http://schemas.microsoft.com/office/drawing/2014/main" id="{BED133B1-E618-B950-9336-829545BFF732}"/>
                    </a:ext>
                  </a:extLst>
                </p:cNvPr>
                <p:cNvSpPr/>
                <p:nvPr/>
              </p:nvSpPr>
              <p:spPr bwMode="gray">
                <a:xfrm>
                  <a:off x="5979627" y="3566945"/>
                  <a:ext cx="163306" cy="45124"/>
                </a:xfrm>
                <a:custGeom>
                  <a:avLst/>
                  <a:gdLst>
                    <a:gd name="connsiteX0" fmla="*/ 7120 w 163306"/>
                    <a:gd name="connsiteY0" fmla="*/ 45125 h 45124"/>
                    <a:gd name="connsiteX1" fmla="*/ 2072 w 163306"/>
                    <a:gd name="connsiteY1" fmla="*/ 43029 h 45124"/>
                    <a:gd name="connsiteX2" fmla="*/ 2072 w 163306"/>
                    <a:gd name="connsiteY2" fmla="*/ 32933 h 45124"/>
                    <a:gd name="connsiteX3" fmla="*/ 161234 w 163306"/>
                    <a:gd name="connsiteY3" fmla="*/ 32933 h 45124"/>
                    <a:gd name="connsiteX4" fmla="*/ 161234 w 163306"/>
                    <a:gd name="connsiteY4" fmla="*/ 43029 h 45124"/>
                    <a:gd name="connsiteX5" fmla="*/ 151138 w 163306"/>
                    <a:gd name="connsiteY5" fmla="*/ 43029 h 45124"/>
                    <a:gd name="connsiteX6" fmla="*/ 12168 w 163306"/>
                    <a:gd name="connsiteY6" fmla="*/ 43029 h 45124"/>
                    <a:gd name="connsiteX7" fmla="*/ 7120 w 163306"/>
                    <a:gd name="connsiteY7" fmla="*/ 45125 h 451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63306" h="45124">
                      <a:moveTo>
                        <a:pt x="7120" y="45125"/>
                      </a:moveTo>
                      <a:cubicBezTo>
                        <a:pt x="5310" y="45125"/>
                        <a:pt x="3500" y="44458"/>
                        <a:pt x="2072" y="43029"/>
                      </a:cubicBezTo>
                      <a:cubicBezTo>
                        <a:pt x="-691" y="40267"/>
                        <a:pt x="-691" y="35695"/>
                        <a:pt x="2072" y="32933"/>
                      </a:cubicBezTo>
                      <a:cubicBezTo>
                        <a:pt x="45982" y="-10978"/>
                        <a:pt x="117324" y="-10978"/>
                        <a:pt x="161234" y="32933"/>
                      </a:cubicBezTo>
                      <a:cubicBezTo>
                        <a:pt x="163997" y="35695"/>
                        <a:pt x="163997" y="40267"/>
                        <a:pt x="161234" y="43029"/>
                      </a:cubicBezTo>
                      <a:cubicBezTo>
                        <a:pt x="158472" y="45791"/>
                        <a:pt x="153900" y="45791"/>
                        <a:pt x="151138" y="43029"/>
                      </a:cubicBezTo>
                      <a:cubicBezTo>
                        <a:pt x="112847" y="4739"/>
                        <a:pt x="50459" y="4739"/>
                        <a:pt x="12168" y="43029"/>
                      </a:cubicBezTo>
                      <a:cubicBezTo>
                        <a:pt x="10835" y="44458"/>
                        <a:pt x="9025" y="45125"/>
                        <a:pt x="7120" y="4512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200" name="Grafik 15">
                <a:extLst>
                  <a:ext uri="{FF2B5EF4-FFF2-40B4-BE49-F238E27FC236}">
                    <a16:creationId xmlns:a16="http://schemas.microsoft.com/office/drawing/2014/main" id="{201A8898-A28F-E88D-96BC-83E8B0119DCF}"/>
                  </a:ext>
                </a:extLst>
              </p:cNvPr>
              <p:cNvSpPr/>
              <p:nvPr/>
            </p:nvSpPr>
            <p:spPr bwMode="gray">
              <a:xfrm>
                <a:off x="6031134" y="3523773"/>
                <a:ext cx="60388" cy="14287"/>
              </a:xfrm>
              <a:custGeom>
                <a:avLst/>
                <a:gdLst>
                  <a:gd name="connsiteX0" fmla="*/ 53245 w 60388"/>
                  <a:gd name="connsiteY0" fmla="*/ 14288 h 14287"/>
                  <a:gd name="connsiteX1" fmla="*/ 7144 w 60388"/>
                  <a:gd name="connsiteY1" fmla="*/ 14288 h 14287"/>
                  <a:gd name="connsiteX2" fmla="*/ 0 w 60388"/>
                  <a:gd name="connsiteY2" fmla="*/ 7144 h 14287"/>
                  <a:gd name="connsiteX3" fmla="*/ 7144 w 60388"/>
                  <a:gd name="connsiteY3" fmla="*/ 0 h 14287"/>
                  <a:gd name="connsiteX4" fmla="*/ 53245 w 60388"/>
                  <a:gd name="connsiteY4" fmla="*/ 0 h 14287"/>
                  <a:gd name="connsiteX5" fmla="*/ 60389 w 60388"/>
                  <a:gd name="connsiteY5" fmla="*/ 7144 h 14287"/>
                  <a:gd name="connsiteX6" fmla="*/ 53245 w 60388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0388" h="14287">
                    <a:moveTo>
                      <a:pt x="53245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3245" y="0"/>
                    </a:lnTo>
                    <a:cubicBezTo>
                      <a:pt x="57150" y="0"/>
                      <a:pt x="60389" y="3239"/>
                      <a:pt x="60389" y="7144"/>
                    </a:cubicBezTo>
                    <a:cubicBezTo>
                      <a:pt x="60389" y="11049"/>
                      <a:pt x="57150" y="14288"/>
                      <a:pt x="53245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01" name="Grafik 15">
                <a:extLst>
                  <a:ext uri="{FF2B5EF4-FFF2-40B4-BE49-F238E27FC236}">
                    <a16:creationId xmlns:a16="http://schemas.microsoft.com/office/drawing/2014/main" id="{828045F1-58EA-AF96-BA39-C19CF3FDF00B}"/>
                  </a:ext>
                </a:extLst>
              </p:cNvPr>
              <p:cNvSpPr/>
              <p:nvPr/>
            </p:nvSpPr>
            <p:spPr bwMode="gray">
              <a:xfrm>
                <a:off x="6025038" y="3359562"/>
                <a:ext cx="72580" cy="72580"/>
              </a:xfrm>
              <a:custGeom>
                <a:avLst/>
                <a:gdLst>
                  <a:gd name="connsiteX0" fmla="*/ 36290 w 72580"/>
                  <a:gd name="connsiteY0" fmla="*/ 72581 h 72580"/>
                  <a:gd name="connsiteX1" fmla="*/ 0 w 72580"/>
                  <a:gd name="connsiteY1" fmla="*/ 36290 h 72580"/>
                  <a:gd name="connsiteX2" fmla="*/ 36290 w 72580"/>
                  <a:gd name="connsiteY2" fmla="*/ 0 h 72580"/>
                  <a:gd name="connsiteX3" fmla="*/ 72581 w 72580"/>
                  <a:gd name="connsiteY3" fmla="*/ 36290 h 72580"/>
                  <a:gd name="connsiteX4" fmla="*/ 36290 w 72580"/>
                  <a:gd name="connsiteY4" fmla="*/ 72581 h 72580"/>
                  <a:gd name="connsiteX5" fmla="*/ 36290 w 72580"/>
                  <a:gd name="connsiteY5" fmla="*/ 14192 h 72580"/>
                  <a:gd name="connsiteX6" fmla="*/ 14288 w 72580"/>
                  <a:gd name="connsiteY6" fmla="*/ 36195 h 72580"/>
                  <a:gd name="connsiteX7" fmla="*/ 36290 w 72580"/>
                  <a:gd name="connsiteY7" fmla="*/ 58198 h 72580"/>
                  <a:gd name="connsiteX8" fmla="*/ 58293 w 72580"/>
                  <a:gd name="connsiteY8" fmla="*/ 36195 h 72580"/>
                  <a:gd name="connsiteX9" fmla="*/ 36290 w 72580"/>
                  <a:gd name="connsiteY9" fmla="*/ 14192 h 72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2580" h="72580">
                    <a:moveTo>
                      <a:pt x="36290" y="72581"/>
                    </a:moveTo>
                    <a:cubicBezTo>
                      <a:pt x="16288" y="72581"/>
                      <a:pt x="0" y="56293"/>
                      <a:pt x="0" y="36290"/>
                    </a:cubicBezTo>
                    <a:cubicBezTo>
                      <a:pt x="0" y="16288"/>
                      <a:pt x="16288" y="0"/>
                      <a:pt x="36290" y="0"/>
                    </a:cubicBezTo>
                    <a:cubicBezTo>
                      <a:pt x="56293" y="0"/>
                      <a:pt x="72581" y="16288"/>
                      <a:pt x="72581" y="36290"/>
                    </a:cubicBezTo>
                    <a:cubicBezTo>
                      <a:pt x="72581" y="56293"/>
                      <a:pt x="56293" y="72581"/>
                      <a:pt x="36290" y="72581"/>
                    </a:cubicBezTo>
                    <a:close/>
                    <a:moveTo>
                      <a:pt x="36290" y="14192"/>
                    </a:moveTo>
                    <a:cubicBezTo>
                      <a:pt x="24194" y="14192"/>
                      <a:pt x="14288" y="24098"/>
                      <a:pt x="14288" y="36195"/>
                    </a:cubicBezTo>
                    <a:cubicBezTo>
                      <a:pt x="14288" y="48292"/>
                      <a:pt x="24194" y="58198"/>
                      <a:pt x="36290" y="58198"/>
                    </a:cubicBezTo>
                    <a:cubicBezTo>
                      <a:pt x="48387" y="58198"/>
                      <a:pt x="58293" y="48292"/>
                      <a:pt x="58293" y="36195"/>
                    </a:cubicBezTo>
                    <a:cubicBezTo>
                      <a:pt x="58293" y="24098"/>
                      <a:pt x="48387" y="14192"/>
                      <a:pt x="36290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02" name="Grafik 15">
                <a:extLst>
                  <a:ext uri="{FF2B5EF4-FFF2-40B4-BE49-F238E27FC236}">
                    <a16:creationId xmlns:a16="http://schemas.microsoft.com/office/drawing/2014/main" id="{3108E256-D771-CE34-A9A0-F0DAECD0199E}"/>
                  </a:ext>
                </a:extLst>
              </p:cNvPr>
              <p:cNvSpPr/>
              <p:nvPr/>
            </p:nvSpPr>
            <p:spPr bwMode="gray">
              <a:xfrm>
                <a:off x="5976460" y="3333773"/>
                <a:ext cx="37028" cy="124182"/>
              </a:xfrm>
              <a:custGeom>
                <a:avLst/>
                <a:gdLst>
                  <a:gd name="connsiteX0" fmla="*/ 29909 w 37028"/>
                  <a:gd name="connsiteY0" fmla="*/ 124182 h 124182"/>
                  <a:gd name="connsiteX1" fmla="*/ 24860 w 37028"/>
                  <a:gd name="connsiteY1" fmla="*/ 122087 h 124182"/>
                  <a:gd name="connsiteX2" fmla="*/ 0 w 37028"/>
                  <a:gd name="connsiteY2" fmla="*/ 62079 h 124182"/>
                  <a:gd name="connsiteX3" fmla="*/ 24860 w 37028"/>
                  <a:gd name="connsiteY3" fmla="*/ 2072 h 124182"/>
                  <a:gd name="connsiteX4" fmla="*/ 34957 w 37028"/>
                  <a:gd name="connsiteY4" fmla="*/ 2072 h 124182"/>
                  <a:gd name="connsiteX5" fmla="*/ 34957 w 37028"/>
                  <a:gd name="connsiteY5" fmla="*/ 12168 h 124182"/>
                  <a:gd name="connsiteX6" fmla="*/ 14288 w 37028"/>
                  <a:gd name="connsiteY6" fmla="*/ 62079 h 124182"/>
                  <a:gd name="connsiteX7" fmla="*/ 34957 w 37028"/>
                  <a:gd name="connsiteY7" fmla="*/ 111990 h 124182"/>
                  <a:gd name="connsiteX8" fmla="*/ 34957 w 37028"/>
                  <a:gd name="connsiteY8" fmla="*/ 122087 h 124182"/>
                  <a:gd name="connsiteX9" fmla="*/ 29909 w 37028"/>
                  <a:gd name="connsiteY9" fmla="*/ 124182 h 124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7028" h="124182">
                    <a:moveTo>
                      <a:pt x="29909" y="124182"/>
                    </a:moveTo>
                    <a:cubicBezTo>
                      <a:pt x="28099" y="124182"/>
                      <a:pt x="26289" y="123515"/>
                      <a:pt x="24860" y="122087"/>
                    </a:cubicBezTo>
                    <a:cubicBezTo>
                      <a:pt x="8858" y="106085"/>
                      <a:pt x="0" y="84749"/>
                      <a:pt x="0" y="62079"/>
                    </a:cubicBezTo>
                    <a:cubicBezTo>
                      <a:pt x="0" y="39410"/>
                      <a:pt x="8858" y="18074"/>
                      <a:pt x="24860" y="2072"/>
                    </a:cubicBezTo>
                    <a:cubicBezTo>
                      <a:pt x="27623" y="-691"/>
                      <a:pt x="32195" y="-691"/>
                      <a:pt x="34957" y="2072"/>
                    </a:cubicBezTo>
                    <a:cubicBezTo>
                      <a:pt x="37719" y="4834"/>
                      <a:pt x="37719" y="9406"/>
                      <a:pt x="34957" y="12168"/>
                    </a:cubicBezTo>
                    <a:cubicBezTo>
                      <a:pt x="21622" y="25503"/>
                      <a:pt x="14288" y="43220"/>
                      <a:pt x="14288" y="62079"/>
                    </a:cubicBezTo>
                    <a:cubicBezTo>
                      <a:pt x="14288" y="80939"/>
                      <a:pt x="21622" y="98655"/>
                      <a:pt x="34957" y="111990"/>
                    </a:cubicBezTo>
                    <a:cubicBezTo>
                      <a:pt x="37719" y="114752"/>
                      <a:pt x="37719" y="119324"/>
                      <a:pt x="34957" y="122087"/>
                    </a:cubicBezTo>
                    <a:cubicBezTo>
                      <a:pt x="33528" y="123420"/>
                      <a:pt x="31718" y="124182"/>
                      <a:pt x="29909" y="12418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03" name="Grafik 15">
                <a:extLst>
                  <a:ext uri="{FF2B5EF4-FFF2-40B4-BE49-F238E27FC236}">
                    <a16:creationId xmlns:a16="http://schemas.microsoft.com/office/drawing/2014/main" id="{EF5D2F56-8700-0177-86A0-160C9C7D7FEF}"/>
                  </a:ext>
                </a:extLst>
              </p:cNvPr>
              <p:cNvSpPr/>
              <p:nvPr/>
            </p:nvSpPr>
            <p:spPr bwMode="gray">
              <a:xfrm>
                <a:off x="6109167" y="3333773"/>
                <a:ext cx="37028" cy="124182"/>
              </a:xfrm>
              <a:custGeom>
                <a:avLst/>
                <a:gdLst>
                  <a:gd name="connsiteX0" fmla="*/ 7120 w 37028"/>
                  <a:gd name="connsiteY0" fmla="*/ 124182 h 124182"/>
                  <a:gd name="connsiteX1" fmla="*/ 2072 w 37028"/>
                  <a:gd name="connsiteY1" fmla="*/ 122087 h 124182"/>
                  <a:gd name="connsiteX2" fmla="*/ 2072 w 37028"/>
                  <a:gd name="connsiteY2" fmla="*/ 111990 h 124182"/>
                  <a:gd name="connsiteX3" fmla="*/ 22741 w 37028"/>
                  <a:gd name="connsiteY3" fmla="*/ 62079 h 124182"/>
                  <a:gd name="connsiteX4" fmla="*/ 2072 w 37028"/>
                  <a:gd name="connsiteY4" fmla="*/ 12168 h 124182"/>
                  <a:gd name="connsiteX5" fmla="*/ 2072 w 37028"/>
                  <a:gd name="connsiteY5" fmla="*/ 2072 h 124182"/>
                  <a:gd name="connsiteX6" fmla="*/ 12168 w 37028"/>
                  <a:gd name="connsiteY6" fmla="*/ 2072 h 124182"/>
                  <a:gd name="connsiteX7" fmla="*/ 37028 w 37028"/>
                  <a:gd name="connsiteY7" fmla="*/ 62079 h 124182"/>
                  <a:gd name="connsiteX8" fmla="*/ 12168 w 37028"/>
                  <a:gd name="connsiteY8" fmla="*/ 122087 h 124182"/>
                  <a:gd name="connsiteX9" fmla="*/ 7120 w 37028"/>
                  <a:gd name="connsiteY9" fmla="*/ 124182 h 124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7028" h="124182">
                    <a:moveTo>
                      <a:pt x="7120" y="124182"/>
                    </a:moveTo>
                    <a:cubicBezTo>
                      <a:pt x="5310" y="124182"/>
                      <a:pt x="3500" y="123515"/>
                      <a:pt x="2072" y="122087"/>
                    </a:cubicBezTo>
                    <a:cubicBezTo>
                      <a:pt x="-691" y="119324"/>
                      <a:pt x="-691" y="114752"/>
                      <a:pt x="2072" y="111990"/>
                    </a:cubicBezTo>
                    <a:cubicBezTo>
                      <a:pt x="15407" y="98655"/>
                      <a:pt x="22741" y="80939"/>
                      <a:pt x="22741" y="62079"/>
                    </a:cubicBezTo>
                    <a:cubicBezTo>
                      <a:pt x="22741" y="43220"/>
                      <a:pt x="15407" y="25503"/>
                      <a:pt x="2072" y="12168"/>
                    </a:cubicBez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cubicBezTo>
                      <a:pt x="28170" y="18074"/>
                      <a:pt x="37028" y="39410"/>
                      <a:pt x="37028" y="62079"/>
                    </a:cubicBezTo>
                    <a:cubicBezTo>
                      <a:pt x="37028" y="84749"/>
                      <a:pt x="28170" y="106085"/>
                      <a:pt x="12168" y="122087"/>
                    </a:cubicBezTo>
                    <a:cubicBezTo>
                      <a:pt x="10835" y="123420"/>
                      <a:pt x="8930" y="124182"/>
                      <a:pt x="7120" y="12418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04" name="Grafik 15">
                <a:extLst>
                  <a:ext uri="{FF2B5EF4-FFF2-40B4-BE49-F238E27FC236}">
                    <a16:creationId xmlns:a16="http://schemas.microsoft.com/office/drawing/2014/main" id="{6A79F436-22A3-F999-E28A-39ED70994B75}"/>
                  </a:ext>
                </a:extLst>
              </p:cNvPr>
              <p:cNvSpPr/>
              <p:nvPr/>
            </p:nvSpPr>
            <p:spPr bwMode="gray">
              <a:xfrm>
                <a:off x="5937574" y="3306150"/>
                <a:ext cx="48386" cy="179236"/>
              </a:xfrm>
              <a:custGeom>
                <a:avLst/>
                <a:gdLst>
                  <a:gd name="connsiteX0" fmla="*/ 41267 w 48386"/>
                  <a:gd name="connsiteY0" fmla="*/ 179237 h 179236"/>
                  <a:gd name="connsiteX1" fmla="*/ 36219 w 48386"/>
                  <a:gd name="connsiteY1" fmla="*/ 177141 h 179236"/>
                  <a:gd name="connsiteX2" fmla="*/ 36219 w 48386"/>
                  <a:gd name="connsiteY2" fmla="*/ 2072 h 179236"/>
                  <a:gd name="connsiteX3" fmla="*/ 46315 w 48386"/>
                  <a:gd name="connsiteY3" fmla="*/ 2072 h 179236"/>
                  <a:gd name="connsiteX4" fmla="*/ 46315 w 48386"/>
                  <a:gd name="connsiteY4" fmla="*/ 12168 h 179236"/>
                  <a:gd name="connsiteX5" fmla="*/ 46315 w 48386"/>
                  <a:gd name="connsiteY5" fmla="*/ 167045 h 179236"/>
                  <a:gd name="connsiteX6" fmla="*/ 46315 w 48386"/>
                  <a:gd name="connsiteY6" fmla="*/ 177141 h 179236"/>
                  <a:gd name="connsiteX7" fmla="*/ 41267 w 48386"/>
                  <a:gd name="connsiteY7" fmla="*/ 179237 h 179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386" h="179236">
                    <a:moveTo>
                      <a:pt x="41267" y="179237"/>
                    </a:moveTo>
                    <a:cubicBezTo>
                      <a:pt x="39457" y="179237"/>
                      <a:pt x="37648" y="178570"/>
                      <a:pt x="36219" y="177141"/>
                    </a:cubicBezTo>
                    <a:cubicBezTo>
                      <a:pt x="-12073" y="128849"/>
                      <a:pt x="-12073" y="50363"/>
                      <a:pt x="36219" y="2072"/>
                    </a:cubicBezTo>
                    <a:cubicBezTo>
                      <a:pt x="38981" y="-691"/>
                      <a:pt x="43553" y="-691"/>
                      <a:pt x="46315" y="2072"/>
                    </a:cubicBezTo>
                    <a:cubicBezTo>
                      <a:pt x="49078" y="4834"/>
                      <a:pt x="49078" y="9406"/>
                      <a:pt x="46315" y="12168"/>
                    </a:cubicBezTo>
                    <a:cubicBezTo>
                      <a:pt x="3643" y="54840"/>
                      <a:pt x="3643" y="124373"/>
                      <a:pt x="46315" y="167045"/>
                    </a:cubicBezTo>
                    <a:cubicBezTo>
                      <a:pt x="49078" y="169807"/>
                      <a:pt x="49078" y="174379"/>
                      <a:pt x="46315" y="177141"/>
                    </a:cubicBezTo>
                    <a:cubicBezTo>
                      <a:pt x="44982" y="178570"/>
                      <a:pt x="43077" y="179237"/>
                      <a:pt x="41267" y="17923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05" name="Grafik 15">
                <a:extLst>
                  <a:ext uri="{FF2B5EF4-FFF2-40B4-BE49-F238E27FC236}">
                    <a16:creationId xmlns:a16="http://schemas.microsoft.com/office/drawing/2014/main" id="{234F3305-AA31-CB54-B519-888FF6622DEC}"/>
                  </a:ext>
                </a:extLst>
              </p:cNvPr>
              <p:cNvSpPr/>
              <p:nvPr/>
            </p:nvSpPr>
            <p:spPr bwMode="gray">
              <a:xfrm>
                <a:off x="6136695" y="3306150"/>
                <a:ext cx="48386" cy="179236"/>
              </a:xfrm>
              <a:custGeom>
                <a:avLst/>
                <a:gdLst>
                  <a:gd name="connsiteX0" fmla="*/ 7120 w 48386"/>
                  <a:gd name="connsiteY0" fmla="*/ 179237 h 179236"/>
                  <a:gd name="connsiteX1" fmla="*/ 2072 w 48386"/>
                  <a:gd name="connsiteY1" fmla="*/ 177141 h 179236"/>
                  <a:gd name="connsiteX2" fmla="*/ 2072 w 48386"/>
                  <a:gd name="connsiteY2" fmla="*/ 167045 h 179236"/>
                  <a:gd name="connsiteX3" fmla="*/ 2072 w 48386"/>
                  <a:gd name="connsiteY3" fmla="*/ 12168 h 179236"/>
                  <a:gd name="connsiteX4" fmla="*/ 2072 w 48386"/>
                  <a:gd name="connsiteY4" fmla="*/ 2072 h 179236"/>
                  <a:gd name="connsiteX5" fmla="*/ 12168 w 48386"/>
                  <a:gd name="connsiteY5" fmla="*/ 2072 h 179236"/>
                  <a:gd name="connsiteX6" fmla="*/ 12168 w 48386"/>
                  <a:gd name="connsiteY6" fmla="*/ 177141 h 179236"/>
                  <a:gd name="connsiteX7" fmla="*/ 7120 w 48386"/>
                  <a:gd name="connsiteY7" fmla="*/ 179237 h 179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386" h="179236">
                    <a:moveTo>
                      <a:pt x="7120" y="179237"/>
                    </a:moveTo>
                    <a:cubicBezTo>
                      <a:pt x="5310" y="179237"/>
                      <a:pt x="3500" y="178570"/>
                      <a:pt x="2072" y="177141"/>
                    </a:cubicBezTo>
                    <a:cubicBezTo>
                      <a:pt x="-691" y="174379"/>
                      <a:pt x="-691" y="169807"/>
                      <a:pt x="2072" y="167045"/>
                    </a:cubicBezTo>
                    <a:cubicBezTo>
                      <a:pt x="44744" y="124373"/>
                      <a:pt x="44744" y="54840"/>
                      <a:pt x="2072" y="12168"/>
                    </a:cubicBez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cubicBezTo>
                      <a:pt x="60460" y="50363"/>
                      <a:pt x="60460" y="128849"/>
                      <a:pt x="12168" y="177141"/>
                    </a:cubicBezTo>
                    <a:cubicBezTo>
                      <a:pt x="10739" y="178570"/>
                      <a:pt x="8930" y="179237"/>
                      <a:pt x="7120" y="17923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194" name="Grafik 15">
              <a:extLst>
                <a:ext uri="{FF2B5EF4-FFF2-40B4-BE49-F238E27FC236}">
                  <a16:creationId xmlns:a16="http://schemas.microsoft.com/office/drawing/2014/main" id="{359F2A3E-FB75-5DEF-0263-CBCBEC7F9ACC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95" name="Grafik 15">
              <a:extLst>
                <a:ext uri="{FF2B5EF4-FFF2-40B4-BE49-F238E27FC236}">
                  <a16:creationId xmlns:a16="http://schemas.microsoft.com/office/drawing/2014/main" id="{95AD9C0C-C7DC-8B98-CF5C-930B952A043F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96" name="Grafik 15">
              <a:extLst>
                <a:ext uri="{FF2B5EF4-FFF2-40B4-BE49-F238E27FC236}">
                  <a16:creationId xmlns:a16="http://schemas.microsoft.com/office/drawing/2014/main" id="{D97E691B-AC5F-4757-1969-4F021ECA83D5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97" name="Grafik 15">
              <a:extLst>
                <a:ext uri="{FF2B5EF4-FFF2-40B4-BE49-F238E27FC236}">
                  <a16:creationId xmlns:a16="http://schemas.microsoft.com/office/drawing/2014/main" id="{6E0B3366-B83C-6A20-F125-76EBA5307B68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98" name="Grafik 15">
              <a:extLst>
                <a:ext uri="{FF2B5EF4-FFF2-40B4-BE49-F238E27FC236}">
                  <a16:creationId xmlns:a16="http://schemas.microsoft.com/office/drawing/2014/main" id="{B3AFF7B4-13FE-9B10-5E98-D5064F57E7DB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</p:grpSp>
      <p:grpSp>
        <p:nvGrpSpPr>
          <p:cNvPr id="209" name="Grafik 3854">
            <a:extLst>
              <a:ext uri="{FF2B5EF4-FFF2-40B4-BE49-F238E27FC236}">
                <a16:creationId xmlns:a16="http://schemas.microsoft.com/office/drawing/2014/main" id="{D87A0714-25D2-874C-65D1-DF639D768293}"/>
              </a:ext>
            </a:extLst>
          </p:cNvPr>
          <p:cNvGrpSpPr/>
          <p:nvPr/>
        </p:nvGrpSpPr>
        <p:grpSpPr bwMode="gray">
          <a:xfrm>
            <a:off x="2724270" y="1865000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10" name="Grafik 3854">
              <a:extLst>
                <a:ext uri="{FF2B5EF4-FFF2-40B4-BE49-F238E27FC236}">
                  <a16:creationId xmlns:a16="http://schemas.microsoft.com/office/drawing/2014/main" id="{DE165770-0DCF-A835-BC89-DC14606CEE43}"/>
                </a:ext>
              </a:extLst>
            </p:cNvPr>
            <p:cNvGrpSpPr/>
            <p:nvPr/>
          </p:nvGrpSpPr>
          <p:grpSpPr bwMode="gray">
            <a:xfrm>
              <a:off x="5951066" y="3351772"/>
              <a:ext cx="285352" cy="149807"/>
              <a:chOff x="5951066" y="3351772"/>
              <a:chExt cx="285352" cy="149807"/>
            </a:xfrm>
            <a:grpFill/>
          </p:grpSpPr>
          <p:grpSp>
            <p:nvGrpSpPr>
              <p:cNvPr id="219" name="Grafik 3854">
                <a:extLst>
                  <a:ext uri="{FF2B5EF4-FFF2-40B4-BE49-F238E27FC236}">
                    <a16:creationId xmlns:a16="http://schemas.microsoft.com/office/drawing/2014/main" id="{F5D2D1B7-EC36-DF76-6A9D-DB7CBF6C0875}"/>
                  </a:ext>
                </a:extLst>
              </p:cNvPr>
              <p:cNvGrpSpPr/>
              <p:nvPr/>
            </p:nvGrpSpPr>
            <p:grpSpPr bwMode="gray">
              <a:xfrm>
                <a:off x="6118933" y="3351772"/>
                <a:ext cx="117485" cy="65892"/>
                <a:chOff x="6118933" y="3351772"/>
                <a:chExt cx="117485" cy="65892"/>
              </a:xfrm>
              <a:grpFill/>
            </p:grpSpPr>
            <p:sp>
              <p:nvSpPr>
                <p:cNvPr id="232" name="Grafik 3854">
                  <a:extLst>
                    <a:ext uri="{FF2B5EF4-FFF2-40B4-BE49-F238E27FC236}">
                      <a16:creationId xmlns:a16="http://schemas.microsoft.com/office/drawing/2014/main" id="{6B6483A9-118D-FF31-7EA4-103DABBEB5D6}"/>
                    </a:ext>
                  </a:extLst>
                </p:cNvPr>
                <p:cNvSpPr/>
                <p:nvPr/>
              </p:nvSpPr>
              <p:spPr bwMode="gray">
                <a:xfrm>
                  <a:off x="6118933" y="3351772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3" name="Grafik 3854">
                  <a:extLst>
                    <a:ext uri="{FF2B5EF4-FFF2-40B4-BE49-F238E27FC236}">
                      <a16:creationId xmlns:a16="http://schemas.microsoft.com/office/drawing/2014/main" id="{765998AB-2B86-693E-561B-5F4FBFE43390}"/>
                    </a:ext>
                  </a:extLst>
                </p:cNvPr>
                <p:cNvSpPr/>
                <p:nvPr/>
              </p:nvSpPr>
              <p:spPr bwMode="gray">
                <a:xfrm>
                  <a:off x="6157245" y="3351846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4" name="Grafik 3854">
                  <a:extLst>
                    <a:ext uri="{FF2B5EF4-FFF2-40B4-BE49-F238E27FC236}">
                      <a16:creationId xmlns:a16="http://schemas.microsoft.com/office/drawing/2014/main" id="{8C69C30F-BB90-CB88-83C8-B90C1898A732}"/>
                    </a:ext>
                  </a:extLst>
                </p:cNvPr>
                <p:cNvSpPr/>
                <p:nvPr/>
              </p:nvSpPr>
              <p:spPr bwMode="gray">
                <a:xfrm>
                  <a:off x="6222015" y="3351846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2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2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2"/>
                      </a:moveTo>
                      <a:cubicBezTo>
                        <a:pt x="3239" y="46672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144" y="46672"/>
                        <a:pt x="7144" y="46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20" name="Grafik 3854">
                <a:extLst>
                  <a:ext uri="{FF2B5EF4-FFF2-40B4-BE49-F238E27FC236}">
                    <a16:creationId xmlns:a16="http://schemas.microsoft.com/office/drawing/2014/main" id="{A6C0833E-E8CD-1532-F39B-1543BBD09361}"/>
                  </a:ext>
                </a:extLst>
              </p:cNvPr>
              <p:cNvGrpSpPr/>
              <p:nvPr/>
            </p:nvGrpSpPr>
            <p:grpSpPr bwMode="gray">
              <a:xfrm>
                <a:off x="5951103" y="3435687"/>
                <a:ext cx="117485" cy="65892"/>
                <a:chOff x="5951103" y="3435687"/>
                <a:chExt cx="117485" cy="65892"/>
              </a:xfrm>
              <a:grpFill/>
            </p:grpSpPr>
            <p:sp>
              <p:nvSpPr>
                <p:cNvPr id="229" name="Grafik 3854">
                  <a:extLst>
                    <a:ext uri="{FF2B5EF4-FFF2-40B4-BE49-F238E27FC236}">
                      <a16:creationId xmlns:a16="http://schemas.microsoft.com/office/drawing/2014/main" id="{0EBB0765-9C25-A9DF-4AFA-2394F770EEFD}"/>
                    </a:ext>
                  </a:extLst>
                </p:cNvPr>
                <p:cNvSpPr/>
                <p:nvPr/>
              </p:nvSpPr>
              <p:spPr bwMode="gray">
                <a:xfrm>
                  <a:off x="5951103" y="3435687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702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0" name="Grafik 3854">
                  <a:extLst>
                    <a:ext uri="{FF2B5EF4-FFF2-40B4-BE49-F238E27FC236}">
                      <a16:creationId xmlns:a16="http://schemas.microsoft.com/office/drawing/2014/main" id="{1AEA9F0B-C306-EC53-298E-E6AE7B7F733B}"/>
                    </a:ext>
                  </a:extLst>
                </p:cNvPr>
                <p:cNvSpPr/>
                <p:nvPr/>
              </p:nvSpPr>
              <p:spPr bwMode="gray">
                <a:xfrm>
                  <a:off x="5951124" y="3487292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1" name="Grafik 3854">
                  <a:extLst>
                    <a:ext uri="{FF2B5EF4-FFF2-40B4-BE49-F238E27FC236}">
                      <a16:creationId xmlns:a16="http://schemas.microsoft.com/office/drawing/2014/main" id="{0307D5C1-A7A2-AA35-6C71-BBA90EF8EA94}"/>
                    </a:ext>
                  </a:extLst>
                </p:cNvPr>
                <p:cNvSpPr/>
                <p:nvPr/>
              </p:nvSpPr>
              <p:spPr bwMode="gray">
                <a:xfrm>
                  <a:off x="5951124" y="3454907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2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2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2"/>
                      </a:moveTo>
                      <a:cubicBezTo>
                        <a:pt x="3239" y="46672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2"/>
                        <a:pt x="7144" y="46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21" name="Grafik 3854">
                <a:extLst>
                  <a:ext uri="{FF2B5EF4-FFF2-40B4-BE49-F238E27FC236}">
                    <a16:creationId xmlns:a16="http://schemas.microsoft.com/office/drawing/2014/main" id="{DCF86106-EC27-A863-EB73-16100C869CF1}"/>
                  </a:ext>
                </a:extLst>
              </p:cNvPr>
              <p:cNvGrpSpPr/>
              <p:nvPr/>
            </p:nvGrpSpPr>
            <p:grpSpPr bwMode="gray">
              <a:xfrm>
                <a:off x="6118954" y="3435704"/>
                <a:ext cx="117405" cy="65875"/>
                <a:chOff x="6118954" y="3435704"/>
                <a:chExt cx="117405" cy="65875"/>
              </a:xfrm>
              <a:grpFill/>
            </p:grpSpPr>
            <p:sp>
              <p:nvSpPr>
                <p:cNvPr id="226" name="Grafik 3854">
                  <a:extLst>
                    <a:ext uri="{FF2B5EF4-FFF2-40B4-BE49-F238E27FC236}">
                      <a16:creationId xmlns:a16="http://schemas.microsoft.com/office/drawing/2014/main" id="{44251806-CAD9-B4F6-CE6D-DCD283769B18}"/>
                    </a:ext>
                  </a:extLst>
                </p:cNvPr>
                <p:cNvSpPr/>
                <p:nvPr/>
              </p:nvSpPr>
              <p:spPr bwMode="gray">
                <a:xfrm>
                  <a:off x="6118992" y="3435704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1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27" name="Grafik 3854">
                  <a:extLst>
                    <a:ext uri="{FF2B5EF4-FFF2-40B4-BE49-F238E27FC236}">
                      <a16:creationId xmlns:a16="http://schemas.microsoft.com/office/drawing/2014/main" id="{B58B222F-5B9A-CD48-C326-1B290FC5DAF5}"/>
                    </a:ext>
                  </a:extLst>
                </p:cNvPr>
                <p:cNvSpPr/>
                <p:nvPr/>
              </p:nvSpPr>
              <p:spPr bwMode="gray">
                <a:xfrm>
                  <a:off x="6118954" y="3435762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28" name="Grafik 3854">
                  <a:extLst>
                    <a:ext uri="{FF2B5EF4-FFF2-40B4-BE49-F238E27FC236}">
                      <a16:creationId xmlns:a16="http://schemas.microsoft.com/office/drawing/2014/main" id="{B9C7E305-F37B-1662-34FB-A972F6C4DBAF}"/>
                    </a:ext>
                  </a:extLst>
                </p:cNvPr>
                <p:cNvSpPr/>
                <p:nvPr/>
              </p:nvSpPr>
              <p:spPr bwMode="gray">
                <a:xfrm>
                  <a:off x="6119050" y="3435762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22" name="Grafik 3854">
                <a:extLst>
                  <a:ext uri="{FF2B5EF4-FFF2-40B4-BE49-F238E27FC236}">
                    <a16:creationId xmlns:a16="http://schemas.microsoft.com/office/drawing/2014/main" id="{D1087E05-1694-C194-33AB-DBB1B86B219D}"/>
                  </a:ext>
                </a:extLst>
              </p:cNvPr>
              <p:cNvGrpSpPr/>
              <p:nvPr/>
            </p:nvGrpSpPr>
            <p:grpSpPr bwMode="gray">
              <a:xfrm>
                <a:off x="5951066" y="3351789"/>
                <a:ext cx="117405" cy="65875"/>
                <a:chOff x="5951066" y="3351789"/>
                <a:chExt cx="117405" cy="65875"/>
              </a:xfrm>
              <a:grpFill/>
            </p:grpSpPr>
            <p:sp>
              <p:nvSpPr>
                <p:cNvPr id="223" name="Grafik 3854">
                  <a:extLst>
                    <a:ext uri="{FF2B5EF4-FFF2-40B4-BE49-F238E27FC236}">
                      <a16:creationId xmlns:a16="http://schemas.microsoft.com/office/drawing/2014/main" id="{3DA19EAD-E682-9358-97D7-159DF5091CDA}"/>
                    </a:ext>
                  </a:extLst>
                </p:cNvPr>
                <p:cNvSpPr/>
                <p:nvPr/>
              </p:nvSpPr>
              <p:spPr bwMode="gray">
                <a:xfrm>
                  <a:off x="5951066" y="3351789"/>
                  <a:ext cx="117367" cy="65875"/>
                </a:xfrm>
                <a:custGeom>
                  <a:avLst/>
                  <a:gdLst>
                    <a:gd name="connsiteX0" fmla="*/ 110262 w 117367"/>
                    <a:gd name="connsiteY0" fmla="*/ 65875 h 65875"/>
                    <a:gd name="connsiteX1" fmla="*/ 107118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262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262" y="65875"/>
                      </a:moveTo>
                      <a:cubicBezTo>
                        <a:pt x="109214" y="65875"/>
                        <a:pt x="108071" y="65589"/>
                        <a:pt x="107118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446"/>
                        <a:pt x="112833" y="65875"/>
                        <a:pt x="110262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24" name="Grafik 3854">
                  <a:extLst>
                    <a:ext uri="{FF2B5EF4-FFF2-40B4-BE49-F238E27FC236}">
                      <a16:creationId xmlns:a16="http://schemas.microsoft.com/office/drawing/2014/main" id="{B86B331F-32EA-27BA-270A-3BD134BB92A2}"/>
                    </a:ext>
                  </a:extLst>
                </p:cNvPr>
                <p:cNvSpPr/>
                <p:nvPr/>
              </p:nvSpPr>
              <p:spPr bwMode="gray">
                <a:xfrm>
                  <a:off x="6054184" y="3370992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2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2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2"/>
                      </a:moveTo>
                      <a:cubicBezTo>
                        <a:pt x="3239" y="46672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2"/>
                        <a:pt x="7144" y="46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25" name="Grafik 3854">
                  <a:extLst>
                    <a:ext uri="{FF2B5EF4-FFF2-40B4-BE49-F238E27FC236}">
                      <a16:creationId xmlns:a16="http://schemas.microsoft.com/office/drawing/2014/main" id="{6F80CFE2-E529-E86D-A05F-5759DB0ED7D4}"/>
                    </a:ext>
                  </a:extLst>
                </p:cNvPr>
                <p:cNvSpPr/>
                <p:nvPr/>
              </p:nvSpPr>
              <p:spPr bwMode="gray">
                <a:xfrm>
                  <a:off x="5989414" y="340337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211" name="Grafik 3854">
              <a:extLst>
                <a:ext uri="{FF2B5EF4-FFF2-40B4-BE49-F238E27FC236}">
                  <a16:creationId xmlns:a16="http://schemas.microsoft.com/office/drawing/2014/main" id="{F6F7DB21-09E6-005E-88D2-9ED992FE0668}"/>
                </a:ext>
              </a:extLst>
            </p:cNvPr>
            <p:cNvSpPr/>
            <p:nvPr/>
          </p:nvSpPr>
          <p:spPr bwMode="gray">
            <a:xfrm>
              <a:off x="5843587" y="3298030"/>
              <a:ext cx="500253" cy="257365"/>
            </a:xfrm>
            <a:custGeom>
              <a:avLst/>
              <a:gdLst>
                <a:gd name="connsiteX0" fmla="*/ 250127 w 500253"/>
                <a:gd name="connsiteY0" fmla="*/ 257366 h 257365"/>
                <a:gd name="connsiteX1" fmla="*/ 0 w 500253"/>
                <a:gd name="connsiteY1" fmla="*/ 128683 h 257365"/>
                <a:gd name="connsiteX2" fmla="*/ 250127 w 500253"/>
                <a:gd name="connsiteY2" fmla="*/ 0 h 257365"/>
                <a:gd name="connsiteX3" fmla="*/ 500253 w 500253"/>
                <a:gd name="connsiteY3" fmla="*/ 128683 h 257365"/>
                <a:gd name="connsiteX4" fmla="*/ 250127 w 500253"/>
                <a:gd name="connsiteY4" fmla="*/ 257366 h 257365"/>
                <a:gd name="connsiteX5" fmla="*/ 250127 w 500253"/>
                <a:gd name="connsiteY5" fmla="*/ 14383 h 257365"/>
                <a:gd name="connsiteX6" fmla="*/ 14288 w 500253"/>
                <a:gd name="connsiteY6" fmla="*/ 128778 h 257365"/>
                <a:gd name="connsiteX7" fmla="*/ 250127 w 500253"/>
                <a:gd name="connsiteY7" fmla="*/ 243173 h 257365"/>
                <a:gd name="connsiteX8" fmla="*/ 485966 w 500253"/>
                <a:gd name="connsiteY8" fmla="*/ 128778 h 257365"/>
                <a:gd name="connsiteX9" fmla="*/ 250127 w 500253"/>
                <a:gd name="connsiteY9" fmla="*/ 14383 h 257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365">
                  <a:moveTo>
                    <a:pt x="250127" y="257366"/>
                  </a:moveTo>
                  <a:cubicBezTo>
                    <a:pt x="109919" y="257366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366"/>
                    <a:pt x="250127" y="257366"/>
                  </a:cubicBezTo>
                  <a:close/>
                  <a:moveTo>
                    <a:pt x="250127" y="14383"/>
                  </a:moveTo>
                  <a:cubicBezTo>
                    <a:pt x="120110" y="14383"/>
                    <a:pt x="14288" y="65723"/>
                    <a:pt x="14288" y="128778"/>
                  </a:cubicBezTo>
                  <a:cubicBezTo>
                    <a:pt x="14288" y="191834"/>
                    <a:pt x="120110" y="243173"/>
                    <a:pt x="250127" y="243173"/>
                  </a:cubicBezTo>
                  <a:cubicBezTo>
                    <a:pt x="380143" y="243173"/>
                    <a:pt x="485966" y="191834"/>
                    <a:pt x="485966" y="128778"/>
                  </a:cubicBezTo>
                  <a:cubicBezTo>
                    <a:pt x="485966" y="65723"/>
                    <a:pt x="380238" y="14383"/>
                    <a:pt x="250127" y="143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2" name="Grafik 3854">
              <a:extLst>
                <a:ext uri="{FF2B5EF4-FFF2-40B4-BE49-F238E27FC236}">
                  <a16:creationId xmlns:a16="http://schemas.microsoft.com/office/drawing/2014/main" id="{5FFB16D5-E30D-CBC3-4807-DFC913AAD476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0 w 500253"/>
                <a:gd name="connsiteY2" fmla="*/ 7144 h 257270"/>
                <a:gd name="connsiteX3" fmla="*/ 7144 w 500253"/>
                <a:gd name="connsiteY3" fmla="*/ 0 h 257270"/>
                <a:gd name="connsiteX4" fmla="*/ 14288 w 500253"/>
                <a:gd name="connsiteY4" fmla="*/ 7144 h 257270"/>
                <a:gd name="connsiteX5" fmla="*/ 14288 w 500253"/>
                <a:gd name="connsiteY5" fmla="*/ 128683 h 257270"/>
                <a:gd name="connsiteX6" fmla="*/ 250127 w 500253"/>
                <a:gd name="connsiteY6" fmla="*/ 243078 h 257270"/>
                <a:gd name="connsiteX7" fmla="*/ 485966 w 500253"/>
                <a:gd name="connsiteY7" fmla="*/ 128683 h 257270"/>
                <a:gd name="connsiteX8" fmla="*/ 485966 w 500253"/>
                <a:gd name="connsiteY8" fmla="*/ 7144 h 257270"/>
                <a:gd name="connsiteX9" fmla="*/ 493109 w 500253"/>
                <a:gd name="connsiteY9" fmla="*/ 0 h 257270"/>
                <a:gd name="connsiteX10" fmla="*/ 500253 w 500253"/>
                <a:gd name="connsiteY10" fmla="*/ 7144 h 257270"/>
                <a:gd name="connsiteX11" fmla="*/ 500253 w 500253"/>
                <a:gd name="connsiteY11" fmla="*/ 128683 h 257270"/>
                <a:gd name="connsiteX12" fmla="*/ 250127 w 500253"/>
                <a:gd name="connsiteY12" fmla="*/ 257270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128683"/>
                  </a:ln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128683"/>
                  </a:lnTo>
                  <a:cubicBezTo>
                    <a:pt x="500253" y="200787"/>
                    <a:pt x="390430" y="257270"/>
                    <a:pt x="250127" y="2572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3" name="Grafik 3854">
              <a:extLst>
                <a:ext uri="{FF2B5EF4-FFF2-40B4-BE49-F238E27FC236}">
                  <a16:creationId xmlns:a16="http://schemas.microsoft.com/office/drawing/2014/main" id="{3074BBF7-81DE-2B27-AEFE-CC6ACADD0B29}"/>
                </a:ext>
              </a:extLst>
            </p:cNvPr>
            <p:cNvSpPr/>
            <p:nvPr/>
          </p:nvSpPr>
          <p:spPr bwMode="gray">
            <a:xfrm>
              <a:off x="5934931" y="3208972"/>
              <a:ext cx="14287" cy="46672"/>
            </a:xfrm>
            <a:custGeom>
              <a:avLst/>
              <a:gdLst>
                <a:gd name="connsiteX0" fmla="*/ 7144 w 14287"/>
                <a:gd name="connsiteY0" fmla="*/ 46673 h 46672"/>
                <a:gd name="connsiteX1" fmla="*/ 0 w 14287"/>
                <a:gd name="connsiteY1" fmla="*/ 39529 h 46672"/>
                <a:gd name="connsiteX2" fmla="*/ 0 w 14287"/>
                <a:gd name="connsiteY2" fmla="*/ 7144 h 46672"/>
                <a:gd name="connsiteX3" fmla="*/ 7144 w 14287"/>
                <a:gd name="connsiteY3" fmla="*/ 0 h 46672"/>
                <a:gd name="connsiteX4" fmla="*/ 14288 w 14287"/>
                <a:gd name="connsiteY4" fmla="*/ 7144 h 46672"/>
                <a:gd name="connsiteX5" fmla="*/ 14288 w 14287"/>
                <a:gd name="connsiteY5" fmla="*/ 39529 h 46672"/>
                <a:gd name="connsiteX6" fmla="*/ 7144 w 14287"/>
                <a:gd name="connsiteY6" fmla="*/ 46673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87" h="46672">
                  <a:moveTo>
                    <a:pt x="7144" y="46673"/>
                  </a:moveTo>
                  <a:cubicBezTo>
                    <a:pt x="3239" y="46673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cubicBezTo>
                    <a:pt x="11049" y="0"/>
                    <a:pt x="14288" y="3238"/>
                    <a:pt x="14288" y="7144"/>
                  </a:cubicBezTo>
                  <a:lnTo>
                    <a:pt x="14288" y="39529"/>
                  </a:lnTo>
                  <a:cubicBezTo>
                    <a:pt x="14288" y="43529"/>
                    <a:pt x="11049" y="46673"/>
                    <a:pt x="7144" y="466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4" name="Grafik 3854">
              <a:extLst>
                <a:ext uri="{FF2B5EF4-FFF2-40B4-BE49-F238E27FC236}">
                  <a16:creationId xmlns:a16="http://schemas.microsoft.com/office/drawing/2014/main" id="{1B5FC990-7A17-2D68-0ED2-3B03DE183F40}"/>
                </a:ext>
              </a:extLst>
            </p:cNvPr>
            <p:cNvSpPr/>
            <p:nvPr/>
          </p:nvSpPr>
          <p:spPr bwMode="gray">
            <a:xfrm>
              <a:off x="5918739" y="3176587"/>
              <a:ext cx="46672" cy="46672"/>
            </a:xfrm>
            <a:custGeom>
              <a:avLst/>
              <a:gdLst>
                <a:gd name="connsiteX0" fmla="*/ 23336 w 46672"/>
                <a:gd name="connsiteY0" fmla="*/ 46673 h 46672"/>
                <a:gd name="connsiteX1" fmla="*/ 0 w 46672"/>
                <a:gd name="connsiteY1" fmla="*/ 23336 h 46672"/>
                <a:gd name="connsiteX2" fmla="*/ 23336 w 46672"/>
                <a:gd name="connsiteY2" fmla="*/ 0 h 46672"/>
                <a:gd name="connsiteX3" fmla="*/ 46673 w 46672"/>
                <a:gd name="connsiteY3" fmla="*/ 23336 h 46672"/>
                <a:gd name="connsiteX4" fmla="*/ 23336 w 46672"/>
                <a:gd name="connsiteY4" fmla="*/ 46673 h 46672"/>
                <a:gd name="connsiteX5" fmla="*/ 23336 w 46672"/>
                <a:gd name="connsiteY5" fmla="*/ 14288 h 46672"/>
                <a:gd name="connsiteX6" fmla="*/ 14288 w 46672"/>
                <a:gd name="connsiteY6" fmla="*/ 23336 h 46672"/>
                <a:gd name="connsiteX7" fmla="*/ 23336 w 46672"/>
                <a:gd name="connsiteY7" fmla="*/ 32385 h 46672"/>
                <a:gd name="connsiteX8" fmla="*/ 32385 w 46672"/>
                <a:gd name="connsiteY8" fmla="*/ 23336 h 46672"/>
                <a:gd name="connsiteX9" fmla="*/ 23336 w 46672"/>
                <a:gd name="connsiteY9" fmla="*/ 14288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672" h="46672">
                  <a:moveTo>
                    <a:pt x="23336" y="46673"/>
                  </a:moveTo>
                  <a:cubicBezTo>
                    <a:pt x="10477" y="46673"/>
                    <a:pt x="0" y="36195"/>
                    <a:pt x="0" y="23336"/>
                  </a:cubicBezTo>
                  <a:cubicBezTo>
                    <a:pt x="0" y="10478"/>
                    <a:pt x="10477" y="0"/>
                    <a:pt x="23336" y="0"/>
                  </a:cubicBezTo>
                  <a:cubicBezTo>
                    <a:pt x="36195" y="0"/>
                    <a:pt x="46673" y="10478"/>
                    <a:pt x="46673" y="23336"/>
                  </a:cubicBezTo>
                  <a:cubicBezTo>
                    <a:pt x="46673" y="36195"/>
                    <a:pt x="36195" y="46673"/>
                    <a:pt x="23336" y="46673"/>
                  </a:cubicBezTo>
                  <a:close/>
                  <a:moveTo>
                    <a:pt x="23336" y="14288"/>
                  </a:moveTo>
                  <a:cubicBezTo>
                    <a:pt x="18383" y="14288"/>
                    <a:pt x="14288" y="18383"/>
                    <a:pt x="14288" y="23336"/>
                  </a:cubicBezTo>
                  <a:cubicBezTo>
                    <a:pt x="14288" y="28289"/>
                    <a:pt x="18288" y="32385"/>
                    <a:pt x="23336" y="32385"/>
                  </a:cubicBezTo>
                  <a:cubicBezTo>
                    <a:pt x="28385" y="32385"/>
                    <a:pt x="32385" y="28289"/>
                    <a:pt x="32385" y="23336"/>
                  </a:cubicBezTo>
                  <a:cubicBezTo>
                    <a:pt x="32385" y="18383"/>
                    <a:pt x="28289" y="14288"/>
                    <a:pt x="23336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5" name="Grafik 3854">
              <a:extLst>
                <a:ext uri="{FF2B5EF4-FFF2-40B4-BE49-F238E27FC236}">
                  <a16:creationId xmlns:a16="http://schemas.microsoft.com/office/drawing/2014/main" id="{7CFA8F56-48FC-D420-02F3-4D639B009999}"/>
                </a:ext>
              </a:extLst>
            </p:cNvPr>
            <p:cNvSpPr/>
            <p:nvPr/>
          </p:nvSpPr>
          <p:spPr bwMode="gray">
            <a:xfrm>
              <a:off x="5918739" y="3241357"/>
              <a:ext cx="46672" cy="104679"/>
            </a:xfrm>
            <a:custGeom>
              <a:avLst/>
              <a:gdLst>
                <a:gd name="connsiteX0" fmla="*/ 7144 w 46672"/>
                <a:gd name="connsiteY0" fmla="*/ 104680 h 104679"/>
                <a:gd name="connsiteX1" fmla="*/ 0 w 46672"/>
                <a:gd name="connsiteY1" fmla="*/ 97536 h 104679"/>
                <a:gd name="connsiteX2" fmla="*/ 0 w 46672"/>
                <a:gd name="connsiteY2" fmla="*/ 23336 h 104679"/>
                <a:gd name="connsiteX3" fmla="*/ 23336 w 46672"/>
                <a:gd name="connsiteY3" fmla="*/ 0 h 104679"/>
                <a:gd name="connsiteX4" fmla="*/ 46673 w 46672"/>
                <a:gd name="connsiteY4" fmla="*/ 23336 h 104679"/>
                <a:gd name="connsiteX5" fmla="*/ 46673 w 46672"/>
                <a:gd name="connsiteY5" fmla="*/ 84487 h 104679"/>
                <a:gd name="connsiteX6" fmla="*/ 39529 w 46672"/>
                <a:gd name="connsiteY6" fmla="*/ 91631 h 104679"/>
                <a:gd name="connsiteX7" fmla="*/ 32385 w 46672"/>
                <a:gd name="connsiteY7" fmla="*/ 84487 h 104679"/>
                <a:gd name="connsiteX8" fmla="*/ 32385 w 46672"/>
                <a:gd name="connsiteY8" fmla="*/ 23336 h 104679"/>
                <a:gd name="connsiteX9" fmla="*/ 23336 w 46672"/>
                <a:gd name="connsiteY9" fmla="*/ 14288 h 104679"/>
                <a:gd name="connsiteX10" fmla="*/ 14288 w 46672"/>
                <a:gd name="connsiteY10" fmla="*/ 23336 h 104679"/>
                <a:gd name="connsiteX11" fmla="*/ 14288 w 46672"/>
                <a:gd name="connsiteY11" fmla="*/ 97536 h 104679"/>
                <a:gd name="connsiteX12" fmla="*/ 7144 w 46672"/>
                <a:gd name="connsiteY12" fmla="*/ 104680 h 104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" h="104679">
                  <a:moveTo>
                    <a:pt x="7144" y="104680"/>
                  </a:moveTo>
                  <a:cubicBezTo>
                    <a:pt x="3238" y="104680"/>
                    <a:pt x="0" y="101441"/>
                    <a:pt x="0" y="97536"/>
                  </a:cubicBezTo>
                  <a:lnTo>
                    <a:pt x="0" y="23336"/>
                  </a:lnTo>
                  <a:cubicBezTo>
                    <a:pt x="0" y="10477"/>
                    <a:pt x="10477" y="0"/>
                    <a:pt x="23336" y="0"/>
                  </a:cubicBezTo>
                  <a:cubicBezTo>
                    <a:pt x="36195" y="0"/>
                    <a:pt x="46673" y="10477"/>
                    <a:pt x="46673" y="23336"/>
                  </a:cubicBezTo>
                  <a:lnTo>
                    <a:pt x="46673" y="84487"/>
                  </a:lnTo>
                  <a:cubicBezTo>
                    <a:pt x="46673" y="88392"/>
                    <a:pt x="43434" y="91631"/>
                    <a:pt x="39529" y="91631"/>
                  </a:cubicBezTo>
                  <a:cubicBezTo>
                    <a:pt x="35624" y="91631"/>
                    <a:pt x="32385" y="88392"/>
                    <a:pt x="32385" y="84487"/>
                  </a:cubicBezTo>
                  <a:lnTo>
                    <a:pt x="32385" y="23336"/>
                  </a:lnTo>
                  <a:cubicBezTo>
                    <a:pt x="32385" y="18383"/>
                    <a:pt x="28289" y="14288"/>
                    <a:pt x="23336" y="14288"/>
                  </a:cubicBezTo>
                  <a:cubicBezTo>
                    <a:pt x="18383" y="14288"/>
                    <a:pt x="14288" y="18383"/>
                    <a:pt x="14288" y="23336"/>
                  </a:cubicBezTo>
                  <a:lnTo>
                    <a:pt x="14288" y="97536"/>
                  </a:lnTo>
                  <a:cubicBezTo>
                    <a:pt x="14288" y="101441"/>
                    <a:pt x="11049" y="104680"/>
                    <a:pt x="7144" y="1046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6" name="Grafik 3854">
              <a:extLst>
                <a:ext uri="{FF2B5EF4-FFF2-40B4-BE49-F238E27FC236}">
                  <a16:creationId xmlns:a16="http://schemas.microsoft.com/office/drawing/2014/main" id="{AF3BA3EF-DEC5-4A39-BBA9-79443DA71A36}"/>
                </a:ext>
              </a:extLst>
            </p:cNvPr>
            <p:cNvSpPr/>
            <p:nvPr/>
          </p:nvSpPr>
          <p:spPr bwMode="gray">
            <a:xfrm>
              <a:off x="6238207" y="3208972"/>
              <a:ext cx="14287" cy="46672"/>
            </a:xfrm>
            <a:custGeom>
              <a:avLst/>
              <a:gdLst>
                <a:gd name="connsiteX0" fmla="*/ 7144 w 14287"/>
                <a:gd name="connsiteY0" fmla="*/ 46673 h 46672"/>
                <a:gd name="connsiteX1" fmla="*/ 0 w 14287"/>
                <a:gd name="connsiteY1" fmla="*/ 39529 h 46672"/>
                <a:gd name="connsiteX2" fmla="*/ 0 w 14287"/>
                <a:gd name="connsiteY2" fmla="*/ 7144 h 46672"/>
                <a:gd name="connsiteX3" fmla="*/ 7144 w 14287"/>
                <a:gd name="connsiteY3" fmla="*/ 0 h 46672"/>
                <a:gd name="connsiteX4" fmla="*/ 14288 w 14287"/>
                <a:gd name="connsiteY4" fmla="*/ 7144 h 46672"/>
                <a:gd name="connsiteX5" fmla="*/ 14288 w 14287"/>
                <a:gd name="connsiteY5" fmla="*/ 39529 h 46672"/>
                <a:gd name="connsiteX6" fmla="*/ 7144 w 14287"/>
                <a:gd name="connsiteY6" fmla="*/ 46673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87" h="46672">
                  <a:moveTo>
                    <a:pt x="7144" y="46673"/>
                  </a:moveTo>
                  <a:cubicBezTo>
                    <a:pt x="3239" y="46673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cubicBezTo>
                    <a:pt x="11049" y="0"/>
                    <a:pt x="14288" y="3238"/>
                    <a:pt x="14288" y="7144"/>
                  </a:cubicBezTo>
                  <a:lnTo>
                    <a:pt x="14288" y="39529"/>
                  </a:lnTo>
                  <a:cubicBezTo>
                    <a:pt x="14288" y="43529"/>
                    <a:pt x="11144" y="46673"/>
                    <a:pt x="7144" y="466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7" name="Grafik 3854">
              <a:extLst>
                <a:ext uri="{FF2B5EF4-FFF2-40B4-BE49-F238E27FC236}">
                  <a16:creationId xmlns:a16="http://schemas.microsoft.com/office/drawing/2014/main" id="{13105039-9FEF-AEC5-BD5A-470BA3F6C95B}"/>
                </a:ext>
              </a:extLst>
            </p:cNvPr>
            <p:cNvSpPr/>
            <p:nvPr/>
          </p:nvSpPr>
          <p:spPr bwMode="gray">
            <a:xfrm>
              <a:off x="6222015" y="3176587"/>
              <a:ext cx="46673" cy="46672"/>
            </a:xfrm>
            <a:custGeom>
              <a:avLst/>
              <a:gdLst>
                <a:gd name="connsiteX0" fmla="*/ 23336 w 46673"/>
                <a:gd name="connsiteY0" fmla="*/ 46673 h 46672"/>
                <a:gd name="connsiteX1" fmla="*/ 0 w 46673"/>
                <a:gd name="connsiteY1" fmla="*/ 23336 h 46672"/>
                <a:gd name="connsiteX2" fmla="*/ 23336 w 46673"/>
                <a:gd name="connsiteY2" fmla="*/ 0 h 46672"/>
                <a:gd name="connsiteX3" fmla="*/ 46673 w 46673"/>
                <a:gd name="connsiteY3" fmla="*/ 23336 h 46672"/>
                <a:gd name="connsiteX4" fmla="*/ 23336 w 46673"/>
                <a:gd name="connsiteY4" fmla="*/ 46673 h 46672"/>
                <a:gd name="connsiteX5" fmla="*/ 23336 w 46673"/>
                <a:gd name="connsiteY5" fmla="*/ 14288 h 46672"/>
                <a:gd name="connsiteX6" fmla="*/ 14288 w 46673"/>
                <a:gd name="connsiteY6" fmla="*/ 23336 h 46672"/>
                <a:gd name="connsiteX7" fmla="*/ 23336 w 46673"/>
                <a:gd name="connsiteY7" fmla="*/ 32385 h 46672"/>
                <a:gd name="connsiteX8" fmla="*/ 32385 w 46673"/>
                <a:gd name="connsiteY8" fmla="*/ 23336 h 46672"/>
                <a:gd name="connsiteX9" fmla="*/ 23336 w 46673"/>
                <a:gd name="connsiteY9" fmla="*/ 14288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673" h="46672">
                  <a:moveTo>
                    <a:pt x="23336" y="46673"/>
                  </a:moveTo>
                  <a:cubicBezTo>
                    <a:pt x="10478" y="46673"/>
                    <a:pt x="0" y="36195"/>
                    <a:pt x="0" y="23336"/>
                  </a:cubicBezTo>
                  <a:cubicBezTo>
                    <a:pt x="0" y="10478"/>
                    <a:pt x="10478" y="0"/>
                    <a:pt x="23336" y="0"/>
                  </a:cubicBezTo>
                  <a:cubicBezTo>
                    <a:pt x="36195" y="0"/>
                    <a:pt x="46673" y="10478"/>
                    <a:pt x="46673" y="23336"/>
                  </a:cubicBezTo>
                  <a:cubicBezTo>
                    <a:pt x="46768" y="36195"/>
                    <a:pt x="36290" y="46673"/>
                    <a:pt x="23336" y="46673"/>
                  </a:cubicBezTo>
                  <a:close/>
                  <a:moveTo>
                    <a:pt x="23336" y="14288"/>
                  </a:moveTo>
                  <a:cubicBezTo>
                    <a:pt x="18383" y="14288"/>
                    <a:pt x="14288" y="18383"/>
                    <a:pt x="14288" y="23336"/>
                  </a:cubicBezTo>
                  <a:cubicBezTo>
                    <a:pt x="14288" y="28289"/>
                    <a:pt x="18383" y="32385"/>
                    <a:pt x="23336" y="32385"/>
                  </a:cubicBezTo>
                  <a:cubicBezTo>
                    <a:pt x="28289" y="32385"/>
                    <a:pt x="32385" y="28289"/>
                    <a:pt x="32385" y="23336"/>
                  </a:cubicBezTo>
                  <a:cubicBezTo>
                    <a:pt x="32385" y="18383"/>
                    <a:pt x="28384" y="14288"/>
                    <a:pt x="23336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8" name="Grafik 3854">
              <a:extLst>
                <a:ext uri="{FF2B5EF4-FFF2-40B4-BE49-F238E27FC236}">
                  <a16:creationId xmlns:a16="http://schemas.microsoft.com/office/drawing/2014/main" id="{942E856F-8187-C370-223D-79E345FA775B}"/>
                </a:ext>
              </a:extLst>
            </p:cNvPr>
            <p:cNvSpPr/>
            <p:nvPr/>
          </p:nvSpPr>
          <p:spPr bwMode="gray">
            <a:xfrm>
              <a:off x="6222110" y="3241357"/>
              <a:ext cx="46672" cy="104679"/>
            </a:xfrm>
            <a:custGeom>
              <a:avLst/>
              <a:gdLst>
                <a:gd name="connsiteX0" fmla="*/ 39529 w 46672"/>
                <a:gd name="connsiteY0" fmla="*/ 104680 h 104679"/>
                <a:gd name="connsiteX1" fmla="*/ 32385 w 46672"/>
                <a:gd name="connsiteY1" fmla="*/ 97536 h 104679"/>
                <a:gd name="connsiteX2" fmla="*/ 32385 w 46672"/>
                <a:gd name="connsiteY2" fmla="*/ 23336 h 104679"/>
                <a:gd name="connsiteX3" fmla="*/ 23336 w 46672"/>
                <a:gd name="connsiteY3" fmla="*/ 14288 h 104679"/>
                <a:gd name="connsiteX4" fmla="*/ 14288 w 46672"/>
                <a:gd name="connsiteY4" fmla="*/ 23336 h 104679"/>
                <a:gd name="connsiteX5" fmla="*/ 14288 w 46672"/>
                <a:gd name="connsiteY5" fmla="*/ 84487 h 104679"/>
                <a:gd name="connsiteX6" fmla="*/ 7144 w 46672"/>
                <a:gd name="connsiteY6" fmla="*/ 91631 h 104679"/>
                <a:gd name="connsiteX7" fmla="*/ 0 w 46672"/>
                <a:gd name="connsiteY7" fmla="*/ 84487 h 104679"/>
                <a:gd name="connsiteX8" fmla="*/ 0 w 46672"/>
                <a:gd name="connsiteY8" fmla="*/ 23336 h 104679"/>
                <a:gd name="connsiteX9" fmla="*/ 23336 w 46672"/>
                <a:gd name="connsiteY9" fmla="*/ 0 h 104679"/>
                <a:gd name="connsiteX10" fmla="*/ 46672 w 46672"/>
                <a:gd name="connsiteY10" fmla="*/ 23336 h 104679"/>
                <a:gd name="connsiteX11" fmla="*/ 46672 w 46672"/>
                <a:gd name="connsiteY11" fmla="*/ 97536 h 104679"/>
                <a:gd name="connsiteX12" fmla="*/ 39529 w 46672"/>
                <a:gd name="connsiteY12" fmla="*/ 104680 h 104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" h="104679">
                  <a:moveTo>
                    <a:pt x="39529" y="104680"/>
                  </a:moveTo>
                  <a:cubicBezTo>
                    <a:pt x="35623" y="104680"/>
                    <a:pt x="32385" y="101441"/>
                    <a:pt x="32385" y="97536"/>
                  </a:cubicBezTo>
                  <a:lnTo>
                    <a:pt x="32385" y="23336"/>
                  </a:lnTo>
                  <a:cubicBezTo>
                    <a:pt x="32385" y="18383"/>
                    <a:pt x="28289" y="14288"/>
                    <a:pt x="23336" y="14288"/>
                  </a:cubicBezTo>
                  <a:cubicBezTo>
                    <a:pt x="18383" y="14288"/>
                    <a:pt x="14288" y="18383"/>
                    <a:pt x="14288" y="23336"/>
                  </a:cubicBezTo>
                  <a:lnTo>
                    <a:pt x="14288" y="84487"/>
                  </a:lnTo>
                  <a:cubicBezTo>
                    <a:pt x="14288" y="88392"/>
                    <a:pt x="11049" y="91631"/>
                    <a:pt x="7144" y="91631"/>
                  </a:cubicBezTo>
                  <a:cubicBezTo>
                    <a:pt x="3239" y="91631"/>
                    <a:pt x="0" y="88392"/>
                    <a:pt x="0" y="84487"/>
                  </a:cubicBezTo>
                  <a:lnTo>
                    <a:pt x="0" y="23336"/>
                  </a:lnTo>
                  <a:cubicBezTo>
                    <a:pt x="0" y="10477"/>
                    <a:pt x="10477" y="0"/>
                    <a:pt x="23336" y="0"/>
                  </a:cubicBezTo>
                  <a:cubicBezTo>
                    <a:pt x="36195" y="0"/>
                    <a:pt x="46672" y="10477"/>
                    <a:pt x="46672" y="23336"/>
                  </a:cubicBezTo>
                  <a:lnTo>
                    <a:pt x="46672" y="97536"/>
                  </a:lnTo>
                  <a:cubicBezTo>
                    <a:pt x="46672" y="101441"/>
                    <a:pt x="43434" y="104680"/>
                    <a:pt x="39529" y="1046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35" name="Grafik 3856">
            <a:extLst>
              <a:ext uri="{FF2B5EF4-FFF2-40B4-BE49-F238E27FC236}">
                <a16:creationId xmlns:a16="http://schemas.microsoft.com/office/drawing/2014/main" id="{D0C77C5B-9D1F-75F0-05DF-5E89932B274D}"/>
              </a:ext>
            </a:extLst>
          </p:cNvPr>
          <p:cNvGrpSpPr/>
          <p:nvPr/>
        </p:nvGrpSpPr>
        <p:grpSpPr bwMode="gray">
          <a:xfrm>
            <a:off x="2724270" y="2402528"/>
            <a:ext cx="374400" cy="374400"/>
            <a:chOff x="5843587" y="3176587"/>
            <a:chExt cx="500348" cy="500253"/>
          </a:xfrm>
          <a:solidFill>
            <a:schemeClr val="tx1"/>
          </a:solidFill>
        </p:grpSpPr>
        <p:grpSp>
          <p:nvGrpSpPr>
            <p:cNvPr id="236" name="Grafik 3856">
              <a:extLst>
                <a:ext uri="{FF2B5EF4-FFF2-40B4-BE49-F238E27FC236}">
                  <a16:creationId xmlns:a16="http://schemas.microsoft.com/office/drawing/2014/main" id="{3C9F86A9-A584-086F-8C63-7A71932B01A1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348" cy="500253"/>
              <a:chOff x="5843587" y="3176587"/>
              <a:chExt cx="500348" cy="500253"/>
            </a:xfrm>
            <a:grpFill/>
          </p:grpSpPr>
          <p:sp>
            <p:nvSpPr>
              <p:cNvPr id="242" name="Grafik 3856">
                <a:extLst>
                  <a:ext uri="{FF2B5EF4-FFF2-40B4-BE49-F238E27FC236}">
                    <a16:creationId xmlns:a16="http://schemas.microsoft.com/office/drawing/2014/main" id="{7B749120-31F7-1B71-220B-E5C5A9BF2D4A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403097" cy="500253"/>
              </a:xfrm>
              <a:custGeom>
                <a:avLst/>
                <a:gdLst>
                  <a:gd name="connsiteX0" fmla="*/ 201549 w 403097"/>
                  <a:gd name="connsiteY0" fmla="*/ 500253 h 500253"/>
                  <a:gd name="connsiteX1" fmla="*/ 0 w 403097"/>
                  <a:gd name="connsiteY1" fmla="*/ 250127 h 500253"/>
                  <a:gd name="connsiteX2" fmla="*/ 201549 w 403097"/>
                  <a:gd name="connsiteY2" fmla="*/ 0 h 500253"/>
                  <a:gd name="connsiteX3" fmla="*/ 403098 w 403097"/>
                  <a:gd name="connsiteY3" fmla="*/ 250127 h 500253"/>
                  <a:gd name="connsiteX4" fmla="*/ 201549 w 403097"/>
                  <a:gd name="connsiteY4" fmla="*/ 500253 h 500253"/>
                  <a:gd name="connsiteX5" fmla="*/ 201549 w 403097"/>
                  <a:gd name="connsiteY5" fmla="*/ 14288 h 500253"/>
                  <a:gd name="connsiteX6" fmla="*/ 14288 w 403097"/>
                  <a:gd name="connsiteY6" fmla="*/ 250127 h 500253"/>
                  <a:gd name="connsiteX7" fmla="*/ 201549 w 403097"/>
                  <a:gd name="connsiteY7" fmla="*/ 485966 h 500253"/>
                  <a:gd name="connsiteX8" fmla="*/ 388811 w 403097"/>
                  <a:gd name="connsiteY8" fmla="*/ 250127 h 500253"/>
                  <a:gd name="connsiteX9" fmla="*/ 201549 w 403097"/>
                  <a:gd name="connsiteY9" fmla="*/ 14288 h 500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03097" h="500253">
                    <a:moveTo>
                      <a:pt x="201549" y="500253"/>
                    </a:moveTo>
                    <a:cubicBezTo>
                      <a:pt x="90392" y="500253"/>
                      <a:pt x="0" y="388049"/>
                      <a:pt x="0" y="250127"/>
                    </a:cubicBezTo>
                    <a:cubicBezTo>
                      <a:pt x="0" y="112205"/>
                      <a:pt x="90392" y="0"/>
                      <a:pt x="201549" y="0"/>
                    </a:cubicBezTo>
                    <a:cubicBezTo>
                      <a:pt x="312706" y="0"/>
                      <a:pt x="403098" y="112205"/>
                      <a:pt x="403098" y="250127"/>
                    </a:cubicBezTo>
                    <a:cubicBezTo>
                      <a:pt x="403098" y="388049"/>
                      <a:pt x="312706" y="500253"/>
                      <a:pt x="201549" y="500253"/>
                    </a:cubicBezTo>
                    <a:close/>
                    <a:moveTo>
                      <a:pt x="201549" y="14288"/>
                    </a:moveTo>
                    <a:cubicBezTo>
                      <a:pt x="98298" y="14288"/>
                      <a:pt x="14288" y="120110"/>
                      <a:pt x="14288" y="250127"/>
                    </a:cubicBezTo>
                    <a:cubicBezTo>
                      <a:pt x="14288" y="380143"/>
                      <a:pt x="98298" y="485966"/>
                      <a:pt x="201549" y="485966"/>
                    </a:cubicBezTo>
                    <a:cubicBezTo>
                      <a:pt x="304800" y="485966"/>
                      <a:pt x="388811" y="380143"/>
                      <a:pt x="388811" y="250127"/>
                    </a:cubicBezTo>
                    <a:cubicBezTo>
                      <a:pt x="388811" y="120110"/>
                      <a:pt x="304800" y="14288"/>
                      <a:pt x="201549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3" name="Grafik 3856">
                <a:extLst>
                  <a:ext uri="{FF2B5EF4-FFF2-40B4-BE49-F238E27FC236}">
                    <a16:creationId xmlns:a16="http://schemas.microsoft.com/office/drawing/2014/main" id="{70CBF16C-B4AD-3351-15A5-7C3F47C0BF00}"/>
                  </a:ext>
                </a:extLst>
              </p:cNvPr>
              <p:cNvSpPr/>
              <p:nvPr/>
            </p:nvSpPr>
            <p:spPr bwMode="gray">
              <a:xfrm>
                <a:off x="6037992" y="3176587"/>
                <a:ext cx="305942" cy="500253"/>
              </a:xfrm>
              <a:custGeom>
                <a:avLst/>
                <a:gdLst>
                  <a:gd name="connsiteX0" fmla="*/ 104299 w 305942"/>
                  <a:gd name="connsiteY0" fmla="*/ 500253 h 500253"/>
                  <a:gd name="connsiteX1" fmla="*/ 7144 w 305942"/>
                  <a:gd name="connsiteY1" fmla="*/ 500253 h 500253"/>
                  <a:gd name="connsiteX2" fmla="*/ 0 w 305942"/>
                  <a:gd name="connsiteY2" fmla="*/ 493109 h 500253"/>
                  <a:gd name="connsiteX3" fmla="*/ 7144 w 305942"/>
                  <a:gd name="connsiteY3" fmla="*/ 485966 h 500253"/>
                  <a:gd name="connsiteX4" fmla="*/ 104394 w 305942"/>
                  <a:gd name="connsiteY4" fmla="*/ 485966 h 500253"/>
                  <a:gd name="connsiteX5" fmla="*/ 291656 w 305942"/>
                  <a:gd name="connsiteY5" fmla="*/ 250127 h 500253"/>
                  <a:gd name="connsiteX6" fmla="*/ 104299 w 305942"/>
                  <a:gd name="connsiteY6" fmla="*/ 14288 h 500253"/>
                  <a:gd name="connsiteX7" fmla="*/ 7144 w 305942"/>
                  <a:gd name="connsiteY7" fmla="*/ 14288 h 500253"/>
                  <a:gd name="connsiteX8" fmla="*/ 0 w 305942"/>
                  <a:gd name="connsiteY8" fmla="*/ 7144 h 500253"/>
                  <a:gd name="connsiteX9" fmla="*/ 7144 w 305942"/>
                  <a:gd name="connsiteY9" fmla="*/ 0 h 500253"/>
                  <a:gd name="connsiteX10" fmla="*/ 104394 w 305942"/>
                  <a:gd name="connsiteY10" fmla="*/ 0 h 500253"/>
                  <a:gd name="connsiteX11" fmla="*/ 305943 w 305942"/>
                  <a:gd name="connsiteY11" fmla="*/ 250127 h 500253"/>
                  <a:gd name="connsiteX12" fmla="*/ 104299 w 305942"/>
                  <a:gd name="connsiteY12" fmla="*/ 500253 h 500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05942" h="500253">
                    <a:moveTo>
                      <a:pt x="104299" y="500253"/>
                    </a:moveTo>
                    <a:lnTo>
                      <a:pt x="7144" y="500253"/>
                    </a:lnTo>
                    <a:cubicBezTo>
                      <a:pt x="3239" y="500253"/>
                      <a:pt x="0" y="497015"/>
                      <a:pt x="0" y="493109"/>
                    </a:cubicBezTo>
                    <a:cubicBezTo>
                      <a:pt x="0" y="489204"/>
                      <a:pt x="3239" y="485966"/>
                      <a:pt x="7144" y="485966"/>
                    </a:cubicBezTo>
                    <a:lnTo>
                      <a:pt x="104394" y="485966"/>
                    </a:lnTo>
                    <a:cubicBezTo>
                      <a:pt x="207645" y="485966"/>
                      <a:pt x="291656" y="380143"/>
                      <a:pt x="291656" y="250127"/>
                    </a:cubicBezTo>
                    <a:cubicBezTo>
                      <a:pt x="291656" y="120110"/>
                      <a:pt x="207550" y="14288"/>
                      <a:pt x="104299" y="14288"/>
                    </a:cubicBez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04394" y="0"/>
                    </a:lnTo>
                    <a:cubicBezTo>
                      <a:pt x="215551" y="0"/>
                      <a:pt x="305943" y="112205"/>
                      <a:pt x="305943" y="250127"/>
                    </a:cubicBezTo>
                    <a:cubicBezTo>
                      <a:pt x="305943" y="388049"/>
                      <a:pt x="215455" y="500253"/>
                      <a:pt x="104299" y="50025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37" name="Grafik 3856">
              <a:extLst>
                <a:ext uri="{FF2B5EF4-FFF2-40B4-BE49-F238E27FC236}">
                  <a16:creationId xmlns:a16="http://schemas.microsoft.com/office/drawing/2014/main" id="{2CE40A0D-A001-7EA0-5EA8-009ADE27318F}"/>
                </a:ext>
              </a:extLst>
            </p:cNvPr>
            <p:cNvGrpSpPr/>
            <p:nvPr/>
          </p:nvGrpSpPr>
          <p:grpSpPr bwMode="gray">
            <a:xfrm>
              <a:off x="6005607" y="3351846"/>
              <a:ext cx="79057" cy="149732"/>
              <a:chOff x="6005607" y="3351846"/>
              <a:chExt cx="79057" cy="149732"/>
            </a:xfrm>
            <a:grpFill/>
          </p:grpSpPr>
          <p:sp>
            <p:nvSpPr>
              <p:cNvPr id="238" name="Grafik 3856">
                <a:extLst>
                  <a:ext uri="{FF2B5EF4-FFF2-40B4-BE49-F238E27FC236}">
                    <a16:creationId xmlns:a16="http://schemas.microsoft.com/office/drawing/2014/main" id="{41310515-6895-0D98-F668-A092E970DF29}"/>
                  </a:ext>
                </a:extLst>
              </p:cNvPr>
              <p:cNvSpPr/>
              <p:nvPr/>
            </p:nvSpPr>
            <p:spPr bwMode="gray">
              <a:xfrm>
                <a:off x="6037992" y="3351846"/>
                <a:ext cx="14287" cy="149732"/>
              </a:xfrm>
              <a:custGeom>
                <a:avLst/>
                <a:gdLst>
                  <a:gd name="connsiteX0" fmla="*/ 7144 w 14287"/>
                  <a:gd name="connsiteY0" fmla="*/ 149733 h 149732"/>
                  <a:gd name="connsiteX1" fmla="*/ 0 w 14287"/>
                  <a:gd name="connsiteY1" fmla="*/ 142589 h 149732"/>
                  <a:gd name="connsiteX2" fmla="*/ 0 w 14287"/>
                  <a:gd name="connsiteY2" fmla="*/ 7144 h 149732"/>
                  <a:gd name="connsiteX3" fmla="*/ 7144 w 14287"/>
                  <a:gd name="connsiteY3" fmla="*/ 0 h 149732"/>
                  <a:gd name="connsiteX4" fmla="*/ 14288 w 14287"/>
                  <a:gd name="connsiteY4" fmla="*/ 7144 h 149732"/>
                  <a:gd name="connsiteX5" fmla="*/ 14288 w 14287"/>
                  <a:gd name="connsiteY5" fmla="*/ 142589 h 149732"/>
                  <a:gd name="connsiteX6" fmla="*/ 7144 w 14287"/>
                  <a:gd name="connsiteY6" fmla="*/ 149733 h 149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49732">
                    <a:moveTo>
                      <a:pt x="7144" y="149733"/>
                    </a:moveTo>
                    <a:cubicBezTo>
                      <a:pt x="3239" y="149733"/>
                      <a:pt x="0" y="146494"/>
                      <a:pt x="0" y="14258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42589"/>
                    </a:lnTo>
                    <a:cubicBezTo>
                      <a:pt x="14288" y="146590"/>
                      <a:pt x="11049" y="149733"/>
                      <a:pt x="7144" y="14973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9" name="Grafik 3856">
                <a:extLst>
                  <a:ext uri="{FF2B5EF4-FFF2-40B4-BE49-F238E27FC236}">
                    <a16:creationId xmlns:a16="http://schemas.microsoft.com/office/drawing/2014/main" id="{5C78633A-5594-BBE6-AB3B-60B967806CBB}"/>
                  </a:ext>
                </a:extLst>
              </p:cNvPr>
              <p:cNvSpPr/>
              <p:nvPr/>
            </p:nvSpPr>
            <p:spPr bwMode="gray">
              <a:xfrm>
                <a:off x="6005607" y="3351846"/>
                <a:ext cx="14287" cy="79057"/>
              </a:xfrm>
              <a:custGeom>
                <a:avLst/>
                <a:gdLst>
                  <a:gd name="connsiteX0" fmla="*/ 7144 w 14287"/>
                  <a:gd name="connsiteY0" fmla="*/ 79058 h 79057"/>
                  <a:gd name="connsiteX1" fmla="*/ 0 w 14287"/>
                  <a:gd name="connsiteY1" fmla="*/ 71914 h 79057"/>
                  <a:gd name="connsiteX2" fmla="*/ 0 w 14287"/>
                  <a:gd name="connsiteY2" fmla="*/ 7144 h 79057"/>
                  <a:gd name="connsiteX3" fmla="*/ 7144 w 14287"/>
                  <a:gd name="connsiteY3" fmla="*/ 0 h 79057"/>
                  <a:gd name="connsiteX4" fmla="*/ 14288 w 14287"/>
                  <a:gd name="connsiteY4" fmla="*/ 7144 h 79057"/>
                  <a:gd name="connsiteX5" fmla="*/ 14288 w 14287"/>
                  <a:gd name="connsiteY5" fmla="*/ 71914 h 79057"/>
                  <a:gd name="connsiteX6" fmla="*/ 7144 w 14287"/>
                  <a:gd name="connsiteY6" fmla="*/ 79058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79057">
                    <a:moveTo>
                      <a:pt x="7144" y="79058"/>
                    </a:moveTo>
                    <a:cubicBezTo>
                      <a:pt x="3239" y="79058"/>
                      <a:pt x="0" y="75819"/>
                      <a:pt x="0" y="7191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71914"/>
                    </a:lnTo>
                    <a:cubicBezTo>
                      <a:pt x="14288" y="75914"/>
                      <a:pt x="11049" y="79058"/>
                      <a:pt x="7144" y="790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0" name="Grafik 3856">
                <a:extLst>
                  <a:ext uri="{FF2B5EF4-FFF2-40B4-BE49-F238E27FC236}">
                    <a16:creationId xmlns:a16="http://schemas.microsoft.com/office/drawing/2014/main" id="{62736B37-3F35-F945-3EE4-5BA1D01DA4FC}"/>
                  </a:ext>
                </a:extLst>
              </p:cNvPr>
              <p:cNvSpPr/>
              <p:nvPr/>
            </p:nvSpPr>
            <p:spPr bwMode="gray">
              <a:xfrm>
                <a:off x="6070377" y="3351846"/>
                <a:ext cx="14287" cy="79057"/>
              </a:xfrm>
              <a:custGeom>
                <a:avLst/>
                <a:gdLst>
                  <a:gd name="connsiteX0" fmla="*/ 7144 w 14287"/>
                  <a:gd name="connsiteY0" fmla="*/ 79058 h 79057"/>
                  <a:gd name="connsiteX1" fmla="*/ 0 w 14287"/>
                  <a:gd name="connsiteY1" fmla="*/ 71914 h 79057"/>
                  <a:gd name="connsiteX2" fmla="*/ 0 w 14287"/>
                  <a:gd name="connsiteY2" fmla="*/ 7144 h 79057"/>
                  <a:gd name="connsiteX3" fmla="*/ 7144 w 14287"/>
                  <a:gd name="connsiteY3" fmla="*/ 0 h 79057"/>
                  <a:gd name="connsiteX4" fmla="*/ 14288 w 14287"/>
                  <a:gd name="connsiteY4" fmla="*/ 7144 h 79057"/>
                  <a:gd name="connsiteX5" fmla="*/ 14288 w 14287"/>
                  <a:gd name="connsiteY5" fmla="*/ 71914 h 79057"/>
                  <a:gd name="connsiteX6" fmla="*/ 7144 w 14287"/>
                  <a:gd name="connsiteY6" fmla="*/ 79058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79057">
                    <a:moveTo>
                      <a:pt x="7144" y="79058"/>
                    </a:moveTo>
                    <a:cubicBezTo>
                      <a:pt x="3239" y="79058"/>
                      <a:pt x="0" y="75819"/>
                      <a:pt x="0" y="7191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71914"/>
                    </a:lnTo>
                    <a:cubicBezTo>
                      <a:pt x="14288" y="75914"/>
                      <a:pt x="11144" y="79058"/>
                      <a:pt x="7144" y="790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1" name="Grafik 3856">
                <a:extLst>
                  <a:ext uri="{FF2B5EF4-FFF2-40B4-BE49-F238E27FC236}">
                    <a16:creationId xmlns:a16="http://schemas.microsoft.com/office/drawing/2014/main" id="{6DD17369-890D-3BB3-51FD-21C8FD48D0B4}"/>
                  </a:ext>
                </a:extLst>
              </p:cNvPr>
              <p:cNvSpPr/>
              <p:nvPr/>
            </p:nvSpPr>
            <p:spPr bwMode="gray">
              <a:xfrm>
                <a:off x="6005607" y="3384231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7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7" y="3239"/>
                      <a:pt x="79057" y="7144"/>
                    </a:cubicBezTo>
                    <a:cubicBezTo>
                      <a:pt x="79057" y="11049"/>
                      <a:pt x="75914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44" name="Grafik 3858">
            <a:extLst>
              <a:ext uri="{FF2B5EF4-FFF2-40B4-BE49-F238E27FC236}">
                <a16:creationId xmlns:a16="http://schemas.microsoft.com/office/drawing/2014/main" id="{196D8E92-D359-6558-FCFF-9F32157F68E6}"/>
              </a:ext>
            </a:extLst>
          </p:cNvPr>
          <p:cNvGrpSpPr/>
          <p:nvPr/>
        </p:nvGrpSpPr>
        <p:grpSpPr bwMode="gray">
          <a:xfrm>
            <a:off x="2724270" y="2939915"/>
            <a:ext cx="374400" cy="374400"/>
            <a:chOff x="5843587" y="3176587"/>
            <a:chExt cx="500348" cy="500253"/>
          </a:xfrm>
          <a:solidFill>
            <a:schemeClr val="tx1"/>
          </a:solidFill>
        </p:grpSpPr>
        <p:grpSp>
          <p:nvGrpSpPr>
            <p:cNvPr id="245" name="Grafik 3858">
              <a:extLst>
                <a:ext uri="{FF2B5EF4-FFF2-40B4-BE49-F238E27FC236}">
                  <a16:creationId xmlns:a16="http://schemas.microsoft.com/office/drawing/2014/main" id="{FEFCE3B5-B88B-6DEB-CFB6-1D006226D721}"/>
                </a:ext>
              </a:extLst>
            </p:cNvPr>
            <p:cNvGrpSpPr/>
            <p:nvPr/>
          </p:nvGrpSpPr>
          <p:grpSpPr bwMode="gray">
            <a:xfrm>
              <a:off x="5968935" y="3468337"/>
              <a:ext cx="152400" cy="111347"/>
              <a:chOff x="5968935" y="3468337"/>
              <a:chExt cx="152400" cy="111347"/>
            </a:xfrm>
            <a:grpFill/>
          </p:grpSpPr>
          <p:sp>
            <p:nvSpPr>
              <p:cNvPr id="254" name="Grafik 3858">
                <a:extLst>
                  <a:ext uri="{FF2B5EF4-FFF2-40B4-BE49-F238E27FC236}">
                    <a16:creationId xmlns:a16="http://schemas.microsoft.com/office/drawing/2014/main" id="{81367325-4971-C017-2D1E-587787E8D767}"/>
                  </a:ext>
                </a:extLst>
              </p:cNvPr>
              <p:cNvSpPr/>
              <p:nvPr/>
            </p:nvSpPr>
            <p:spPr bwMode="gray">
              <a:xfrm>
                <a:off x="6079426" y="3533012"/>
                <a:ext cx="41909" cy="14287"/>
              </a:xfrm>
              <a:custGeom>
                <a:avLst/>
                <a:gdLst>
                  <a:gd name="connsiteX0" fmla="*/ 34766 w 41909"/>
                  <a:gd name="connsiteY0" fmla="*/ 14288 h 14287"/>
                  <a:gd name="connsiteX1" fmla="*/ 7144 w 41909"/>
                  <a:gd name="connsiteY1" fmla="*/ 14288 h 14287"/>
                  <a:gd name="connsiteX2" fmla="*/ 0 w 41909"/>
                  <a:gd name="connsiteY2" fmla="*/ 7144 h 14287"/>
                  <a:gd name="connsiteX3" fmla="*/ 7144 w 41909"/>
                  <a:gd name="connsiteY3" fmla="*/ 0 h 14287"/>
                  <a:gd name="connsiteX4" fmla="*/ 34766 w 41909"/>
                  <a:gd name="connsiteY4" fmla="*/ 0 h 14287"/>
                  <a:gd name="connsiteX5" fmla="*/ 41910 w 41909"/>
                  <a:gd name="connsiteY5" fmla="*/ 7144 h 14287"/>
                  <a:gd name="connsiteX6" fmla="*/ 34766 w 41909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1909" h="14287">
                    <a:moveTo>
                      <a:pt x="34766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4766" y="0"/>
                    </a:lnTo>
                    <a:cubicBezTo>
                      <a:pt x="38671" y="0"/>
                      <a:pt x="41910" y="3239"/>
                      <a:pt x="41910" y="7144"/>
                    </a:cubicBezTo>
                    <a:cubicBezTo>
                      <a:pt x="41910" y="11049"/>
                      <a:pt x="38671" y="14288"/>
                      <a:pt x="3476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5" name="Grafik 3858">
                <a:extLst>
                  <a:ext uri="{FF2B5EF4-FFF2-40B4-BE49-F238E27FC236}">
                    <a16:creationId xmlns:a16="http://schemas.microsoft.com/office/drawing/2014/main" id="{877DF928-3674-1F6B-AB66-D189960E1DB0}"/>
                  </a:ext>
                </a:extLst>
              </p:cNvPr>
              <p:cNvSpPr/>
              <p:nvPr/>
            </p:nvSpPr>
            <p:spPr bwMode="gray">
              <a:xfrm>
                <a:off x="6042183" y="3468337"/>
                <a:ext cx="79057" cy="111347"/>
              </a:xfrm>
              <a:custGeom>
                <a:avLst/>
                <a:gdLst>
                  <a:gd name="connsiteX0" fmla="*/ 39529 w 79057"/>
                  <a:gd name="connsiteY0" fmla="*/ 111347 h 111347"/>
                  <a:gd name="connsiteX1" fmla="*/ 0 w 79057"/>
                  <a:gd name="connsiteY1" fmla="*/ 71818 h 111347"/>
                  <a:gd name="connsiteX2" fmla="*/ 0 w 79057"/>
                  <a:gd name="connsiteY2" fmla="*/ 39529 h 111347"/>
                  <a:gd name="connsiteX3" fmla="*/ 39529 w 79057"/>
                  <a:gd name="connsiteY3" fmla="*/ 0 h 111347"/>
                  <a:gd name="connsiteX4" fmla="*/ 79057 w 79057"/>
                  <a:gd name="connsiteY4" fmla="*/ 39529 h 111347"/>
                  <a:gd name="connsiteX5" fmla="*/ 71914 w 79057"/>
                  <a:gd name="connsiteY5" fmla="*/ 46672 h 111347"/>
                  <a:gd name="connsiteX6" fmla="*/ 64770 w 79057"/>
                  <a:gd name="connsiteY6" fmla="*/ 39529 h 111347"/>
                  <a:gd name="connsiteX7" fmla="*/ 39529 w 79057"/>
                  <a:gd name="connsiteY7" fmla="*/ 14288 h 111347"/>
                  <a:gd name="connsiteX8" fmla="*/ 14288 w 79057"/>
                  <a:gd name="connsiteY8" fmla="*/ 39529 h 111347"/>
                  <a:gd name="connsiteX9" fmla="*/ 14288 w 79057"/>
                  <a:gd name="connsiteY9" fmla="*/ 71818 h 111347"/>
                  <a:gd name="connsiteX10" fmla="*/ 39529 w 79057"/>
                  <a:gd name="connsiteY10" fmla="*/ 97060 h 111347"/>
                  <a:gd name="connsiteX11" fmla="*/ 64770 w 79057"/>
                  <a:gd name="connsiteY11" fmla="*/ 71818 h 111347"/>
                  <a:gd name="connsiteX12" fmla="*/ 71914 w 79057"/>
                  <a:gd name="connsiteY12" fmla="*/ 64675 h 111347"/>
                  <a:gd name="connsiteX13" fmla="*/ 79057 w 79057"/>
                  <a:gd name="connsiteY13" fmla="*/ 71818 h 111347"/>
                  <a:gd name="connsiteX14" fmla="*/ 39529 w 79057"/>
                  <a:gd name="connsiteY14" fmla="*/ 111347 h 111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9057" h="111347">
                    <a:moveTo>
                      <a:pt x="39529" y="111347"/>
                    </a:moveTo>
                    <a:cubicBezTo>
                      <a:pt x="17716" y="111347"/>
                      <a:pt x="0" y="93631"/>
                      <a:pt x="0" y="71818"/>
                    </a:cubicBezTo>
                    <a:lnTo>
                      <a:pt x="0" y="39529"/>
                    </a:lnTo>
                    <a:cubicBezTo>
                      <a:pt x="0" y="17717"/>
                      <a:pt x="17716" y="0"/>
                      <a:pt x="39529" y="0"/>
                    </a:cubicBezTo>
                    <a:cubicBezTo>
                      <a:pt x="61341" y="0"/>
                      <a:pt x="79057" y="17717"/>
                      <a:pt x="79057" y="39529"/>
                    </a:cubicBezTo>
                    <a:cubicBezTo>
                      <a:pt x="79057" y="43434"/>
                      <a:pt x="75819" y="46672"/>
                      <a:pt x="71914" y="46672"/>
                    </a:cubicBezTo>
                    <a:cubicBezTo>
                      <a:pt x="68008" y="46672"/>
                      <a:pt x="64770" y="43434"/>
                      <a:pt x="64770" y="39529"/>
                    </a:cubicBezTo>
                    <a:cubicBezTo>
                      <a:pt x="64770" y="25622"/>
                      <a:pt x="53435" y="14288"/>
                      <a:pt x="39529" y="14288"/>
                    </a:cubicBezTo>
                    <a:cubicBezTo>
                      <a:pt x="25622" y="14288"/>
                      <a:pt x="14288" y="25622"/>
                      <a:pt x="14288" y="39529"/>
                    </a:cubicBezTo>
                    <a:lnTo>
                      <a:pt x="14288" y="71818"/>
                    </a:lnTo>
                    <a:cubicBezTo>
                      <a:pt x="14288" y="85725"/>
                      <a:pt x="25622" y="97060"/>
                      <a:pt x="39529" y="97060"/>
                    </a:cubicBezTo>
                    <a:cubicBezTo>
                      <a:pt x="53435" y="97060"/>
                      <a:pt x="64770" y="85725"/>
                      <a:pt x="64770" y="71818"/>
                    </a:cubicBezTo>
                    <a:cubicBezTo>
                      <a:pt x="64770" y="67913"/>
                      <a:pt x="68008" y="64675"/>
                      <a:pt x="71914" y="64675"/>
                    </a:cubicBezTo>
                    <a:cubicBezTo>
                      <a:pt x="75819" y="64675"/>
                      <a:pt x="79057" y="67913"/>
                      <a:pt x="79057" y="71818"/>
                    </a:cubicBezTo>
                    <a:cubicBezTo>
                      <a:pt x="79153" y="93631"/>
                      <a:pt x="61341" y="111347"/>
                      <a:pt x="39529" y="11134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6" name="Grafik 3858">
                <a:extLst>
                  <a:ext uri="{FF2B5EF4-FFF2-40B4-BE49-F238E27FC236}">
                    <a16:creationId xmlns:a16="http://schemas.microsoft.com/office/drawing/2014/main" id="{79BF2123-49C5-880E-BFF1-B1BBDE7856DF}"/>
                  </a:ext>
                </a:extLst>
              </p:cNvPr>
              <p:cNvSpPr/>
              <p:nvPr/>
            </p:nvSpPr>
            <p:spPr bwMode="gray">
              <a:xfrm>
                <a:off x="5968935" y="3468337"/>
                <a:ext cx="62865" cy="62865"/>
              </a:xfrm>
              <a:custGeom>
                <a:avLst/>
                <a:gdLst>
                  <a:gd name="connsiteX0" fmla="*/ 31432 w 62865"/>
                  <a:gd name="connsiteY0" fmla="*/ 62865 h 62865"/>
                  <a:gd name="connsiteX1" fmla="*/ 24289 w 62865"/>
                  <a:gd name="connsiteY1" fmla="*/ 55721 h 62865"/>
                  <a:gd name="connsiteX2" fmla="*/ 31432 w 62865"/>
                  <a:gd name="connsiteY2" fmla="*/ 48578 h 62865"/>
                  <a:gd name="connsiteX3" fmla="*/ 48578 w 62865"/>
                  <a:gd name="connsiteY3" fmla="*/ 31433 h 62865"/>
                  <a:gd name="connsiteX4" fmla="*/ 31432 w 62865"/>
                  <a:gd name="connsiteY4" fmla="*/ 14288 h 62865"/>
                  <a:gd name="connsiteX5" fmla="*/ 14288 w 62865"/>
                  <a:gd name="connsiteY5" fmla="*/ 31433 h 62865"/>
                  <a:gd name="connsiteX6" fmla="*/ 7144 w 62865"/>
                  <a:gd name="connsiteY6" fmla="*/ 38576 h 62865"/>
                  <a:gd name="connsiteX7" fmla="*/ 0 w 62865"/>
                  <a:gd name="connsiteY7" fmla="*/ 31433 h 62865"/>
                  <a:gd name="connsiteX8" fmla="*/ 31432 w 62865"/>
                  <a:gd name="connsiteY8" fmla="*/ 0 h 62865"/>
                  <a:gd name="connsiteX9" fmla="*/ 62865 w 62865"/>
                  <a:gd name="connsiteY9" fmla="*/ 31433 h 62865"/>
                  <a:gd name="connsiteX10" fmla="*/ 31432 w 62865"/>
                  <a:gd name="connsiteY10" fmla="*/ 62865 h 62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2865" h="62865">
                    <a:moveTo>
                      <a:pt x="31432" y="62865"/>
                    </a:moveTo>
                    <a:cubicBezTo>
                      <a:pt x="27527" y="62865"/>
                      <a:pt x="24289" y="59627"/>
                      <a:pt x="24289" y="55721"/>
                    </a:cubicBezTo>
                    <a:cubicBezTo>
                      <a:pt x="24289" y="51816"/>
                      <a:pt x="27527" y="48578"/>
                      <a:pt x="31432" y="48578"/>
                    </a:cubicBezTo>
                    <a:cubicBezTo>
                      <a:pt x="40862" y="48578"/>
                      <a:pt x="48578" y="40862"/>
                      <a:pt x="48578" y="31433"/>
                    </a:cubicBezTo>
                    <a:cubicBezTo>
                      <a:pt x="48578" y="22003"/>
                      <a:pt x="40862" y="14288"/>
                      <a:pt x="31432" y="14288"/>
                    </a:cubicBezTo>
                    <a:cubicBezTo>
                      <a:pt x="22003" y="14288"/>
                      <a:pt x="14288" y="22003"/>
                      <a:pt x="14288" y="31433"/>
                    </a:cubicBezTo>
                    <a:cubicBezTo>
                      <a:pt x="14288" y="35338"/>
                      <a:pt x="11049" y="38576"/>
                      <a:pt x="7144" y="38576"/>
                    </a:cubicBezTo>
                    <a:cubicBezTo>
                      <a:pt x="3239" y="38576"/>
                      <a:pt x="0" y="35338"/>
                      <a:pt x="0" y="31433"/>
                    </a:cubicBezTo>
                    <a:cubicBezTo>
                      <a:pt x="0" y="14097"/>
                      <a:pt x="14097" y="0"/>
                      <a:pt x="31432" y="0"/>
                    </a:cubicBezTo>
                    <a:cubicBezTo>
                      <a:pt x="48768" y="0"/>
                      <a:pt x="62865" y="14097"/>
                      <a:pt x="62865" y="31433"/>
                    </a:cubicBezTo>
                    <a:cubicBezTo>
                      <a:pt x="62865" y="48768"/>
                      <a:pt x="48768" y="62865"/>
                      <a:pt x="31432" y="628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7" name="Grafik 3858">
                <a:extLst>
                  <a:ext uri="{FF2B5EF4-FFF2-40B4-BE49-F238E27FC236}">
                    <a16:creationId xmlns:a16="http://schemas.microsoft.com/office/drawing/2014/main" id="{8C12D9CE-FFAD-4346-BF9C-C576109D5E15}"/>
                  </a:ext>
                </a:extLst>
              </p:cNvPr>
              <p:cNvSpPr/>
              <p:nvPr/>
            </p:nvSpPr>
            <p:spPr bwMode="gray">
              <a:xfrm>
                <a:off x="5968935" y="3516820"/>
                <a:ext cx="62865" cy="62864"/>
              </a:xfrm>
              <a:custGeom>
                <a:avLst/>
                <a:gdLst>
                  <a:gd name="connsiteX0" fmla="*/ 31432 w 62865"/>
                  <a:gd name="connsiteY0" fmla="*/ 62865 h 62864"/>
                  <a:gd name="connsiteX1" fmla="*/ 0 w 62865"/>
                  <a:gd name="connsiteY1" fmla="*/ 31432 h 62864"/>
                  <a:gd name="connsiteX2" fmla="*/ 7144 w 62865"/>
                  <a:gd name="connsiteY2" fmla="*/ 24289 h 62864"/>
                  <a:gd name="connsiteX3" fmla="*/ 14288 w 62865"/>
                  <a:gd name="connsiteY3" fmla="*/ 31432 h 62864"/>
                  <a:gd name="connsiteX4" fmla="*/ 31432 w 62865"/>
                  <a:gd name="connsiteY4" fmla="*/ 48577 h 62864"/>
                  <a:gd name="connsiteX5" fmla="*/ 48578 w 62865"/>
                  <a:gd name="connsiteY5" fmla="*/ 31432 h 62864"/>
                  <a:gd name="connsiteX6" fmla="*/ 31432 w 62865"/>
                  <a:gd name="connsiteY6" fmla="*/ 14288 h 62864"/>
                  <a:gd name="connsiteX7" fmla="*/ 24289 w 62865"/>
                  <a:gd name="connsiteY7" fmla="*/ 7144 h 62864"/>
                  <a:gd name="connsiteX8" fmla="*/ 31432 w 62865"/>
                  <a:gd name="connsiteY8" fmla="*/ 0 h 62864"/>
                  <a:gd name="connsiteX9" fmla="*/ 62865 w 62865"/>
                  <a:gd name="connsiteY9" fmla="*/ 31432 h 62864"/>
                  <a:gd name="connsiteX10" fmla="*/ 31432 w 62865"/>
                  <a:gd name="connsiteY10" fmla="*/ 62865 h 62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2865" h="62864">
                    <a:moveTo>
                      <a:pt x="31432" y="62865"/>
                    </a:moveTo>
                    <a:cubicBezTo>
                      <a:pt x="14097" y="62865"/>
                      <a:pt x="0" y="48768"/>
                      <a:pt x="0" y="31432"/>
                    </a:cubicBezTo>
                    <a:cubicBezTo>
                      <a:pt x="0" y="27527"/>
                      <a:pt x="3239" y="24289"/>
                      <a:pt x="7144" y="24289"/>
                    </a:cubicBezTo>
                    <a:cubicBezTo>
                      <a:pt x="11049" y="24289"/>
                      <a:pt x="14288" y="27527"/>
                      <a:pt x="14288" y="31432"/>
                    </a:cubicBezTo>
                    <a:cubicBezTo>
                      <a:pt x="14288" y="40862"/>
                      <a:pt x="22003" y="48577"/>
                      <a:pt x="31432" y="48577"/>
                    </a:cubicBezTo>
                    <a:cubicBezTo>
                      <a:pt x="40862" y="48577"/>
                      <a:pt x="48578" y="40862"/>
                      <a:pt x="48578" y="31432"/>
                    </a:cubicBezTo>
                    <a:cubicBezTo>
                      <a:pt x="48578" y="22003"/>
                      <a:pt x="40862" y="14288"/>
                      <a:pt x="31432" y="14288"/>
                    </a:cubicBezTo>
                    <a:cubicBezTo>
                      <a:pt x="27527" y="14288"/>
                      <a:pt x="24289" y="11049"/>
                      <a:pt x="24289" y="7144"/>
                    </a:cubicBezTo>
                    <a:cubicBezTo>
                      <a:pt x="24289" y="3239"/>
                      <a:pt x="27527" y="0"/>
                      <a:pt x="31432" y="0"/>
                    </a:cubicBezTo>
                    <a:cubicBezTo>
                      <a:pt x="48768" y="0"/>
                      <a:pt x="62865" y="14097"/>
                      <a:pt x="62865" y="31432"/>
                    </a:cubicBezTo>
                    <a:cubicBezTo>
                      <a:pt x="62865" y="48768"/>
                      <a:pt x="48768" y="62865"/>
                      <a:pt x="31432" y="628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46" name="Grafik 3858">
              <a:extLst>
                <a:ext uri="{FF2B5EF4-FFF2-40B4-BE49-F238E27FC236}">
                  <a16:creationId xmlns:a16="http://schemas.microsoft.com/office/drawing/2014/main" id="{483261E4-9A48-03A7-DDFB-96FC78D7393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348" cy="500253"/>
              <a:chOff x="5843587" y="3176587"/>
              <a:chExt cx="500348" cy="500253"/>
            </a:xfrm>
            <a:grpFill/>
          </p:grpSpPr>
          <p:sp>
            <p:nvSpPr>
              <p:cNvPr id="252" name="Grafik 3858">
                <a:extLst>
                  <a:ext uri="{FF2B5EF4-FFF2-40B4-BE49-F238E27FC236}">
                    <a16:creationId xmlns:a16="http://schemas.microsoft.com/office/drawing/2014/main" id="{28692FD7-E642-1FC3-5F49-F086D94A0FFC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403097" cy="500253"/>
              </a:xfrm>
              <a:custGeom>
                <a:avLst/>
                <a:gdLst>
                  <a:gd name="connsiteX0" fmla="*/ 201549 w 403097"/>
                  <a:gd name="connsiteY0" fmla="*/ 500253 h 500253"/>
                  <a:gd name="connsiteX1" fmla="*/ 0 w 403097"/>
                  <a:gd name="connsiteY1" fmla="*/ 250127 h 500253"/>
                  <a:gd name="connsiteX2" fmla="*/ 201549 w 403097"/>
                  <a:gd name="connsiteY2" fmla="*/ 0 h 500253"/>
                  <a:gd name="connsiteX3" fmla="*/ 403098 w 403097"/>
                  <a:gd name="connsiteY3" fmla="*/ 250127 h 500253"/>
                  <a:gd name="connsiteX4" fmla="*/ 201549 w 403097"/>
                  <a:gd name="connsiteY4" fmla="*/ 500253 h 500253"/>
                  <a:gd name="connsiteX5" fmla="*/ 201549 w 403097"/>
                  <a:gd name="connsiteY5" fmla="*/ 14288 h 500253"/>
                  <a:gd name="connsiteX6" fmla="*/ 14288 w 403097"/>
                  <a:gd name="connsiteY6" fmla="*/ 250127 h 500253"/>
                  <a:gd name="connsiteX7" fmla="*/ 201549 w 403097"/>
                  <a:gd name="connsiteY7" fmla="*/ 485966 h 500253"/>
                  <a:gd name="connsiteX8" fmla="*/ 388811 w 403097"/>
                  <a:gd name="connsiteY8" fmla="*/ 250127 h 500253"/>
                  <a:gd name="connsiteX9" fmla="*/ 201549 w 403097"/>
                  <a:gd name="connsiteY9" fmla="*/ 14288 h 500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03097" h="500253">
                    <a:moveTo>
                      <a:pt x="201549" y="500253"/>
                    </a:moveTo>
                    <a:cubicBezTo>
                      <a:pt x="90392" y="500253"/>
                      <a:pt x="0" y="388049"/>
                      <a:pt x="0" y="250127"/>
                    </a:cubicBezTo>
                    <a:cubicBezTo>
                      <a:pt x="0" y="112205"/>
                      <a:pt x="90392" y="0"/>
                      <a:pt x="201549" y="0"/>
                    </a:cubicBezTo>
                    <a:cubicBezTo>
                      <a:pt x="312706" y="0"/>
                      <a:pt x="403098" y="112205"/>
                      <a:pt x="403098" y="250127"/>
                    </a:cubicBezTo>
                    <a:cubicBezTo>
                      <a:pt x="403098" y="388049"/>
                      <a:pt x="312706" y="500253"/>
                      <a:pt x="201549" y="500253"/>
                    </a:cubicBezTo>
                    <a:close/>
                    <a:moveTo>
                      <a:pt x="201549" y="14288"/>
                    </a:moveTo>
                    <a:cubicBezTo>
                      <a:pt x="98298" y="14288"/>
                      <a:pt x="14288" y="120110"/>
                      <a:pt x="14288" y="250127"/>
                    </a:cubicBezTo>
                    <a:cubicBezTo>
                      <a:pt x="14288" y="380143"/>
                      <a:pt x="98298" y="485966"/>
                      <a:pt x="201549" y="485966"/>
                    </a:cubicBezTo>
                    <a:cubicBezTo>
                      <a:pt x="304800" y="485966"/>
                      <a:pt x="388811" y="380143"/>
                      <a:pt x="388811" y="250127"/>
                    </a:cubicBezTo>
                    <a:cubicBezTo>
                      <a:pt x="388811" y="120110"/>
                      <a:pt x="304800" y="14288"/>
                      <a:pt x="201549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3" name="Grafik 3858">
                <a:extLst>
                  <a:ext uri="{FF2B5EF4-FFF2-40B4-BE49-F238E27FC236}">
                    <a16:creationId xmlns:a16="http://schemas.microsoft.com/office/drawing/2014/main" id="{019B3464-BFAF-8B52-A69E-BA3A50D8B0A7}"/>
                  </a:ext>
                </a:extLst>
              </p:cNvPr>
              <p:cNvSpPr/>
              <p:nvPr/>
            </p:nvSpPr>
            <p:spPr bwMode="gray">
              <a:xfrm>
                <a:off x="6037992" y="3176587"/>
                <a:ext cx="305942" cy="500253"/>
              </a:xfrm>
              <a:custGeom>
                <a:avLst/>
                <a:gdLst>
                  <a:gd name="connsiteX0" fmla="*/ 104299 w 305942"/>
                  <a:gd name="connsiteY0" fmla="*/ 500253 h 500253"/>
                  <a:gd name="connsiteX1" fmla="*/ 7144 w 305942"/>
                  <a:gd name="connsiteY1" fmla="*/ 500253 h 500253"/>
                  <a:gd name="connsiteX2" fmla="*/ 0 w 305942"/>
                  <a:gd name="connsiteY2" fmla="*/ 493109 h 500253"/>
                  <a:gd name="connsiteX3" fmla="*/ 7144 w 305942"/>
                  <a:gd name="connsiteY3" fmla="*/ 485966 h 500253"/>
                  <a:gd name="connsiteX4" fmla="*/ 104394 w 305942"/>
                  <a:gd name="connsiteY4" fmla="*/ 485966 h 500253"/>
                  <a:gd name="connsiteX5" fmla="*/ 291656 w 305942"/>
                  <a:gd name="connsiteY5" fmla="*/ 250127 h 500253"/>
                  <a:gd name="connsiteX6" fmla="*/ 104299 w 305942"/>
                  <a:gd name="connsiteY6" fmla="*/ 14288 h 500253"/>
                  <a:gd name="connsiteX7" fmla="*/ 7144 w 305942"/>
                  <a:gd name="connsiteY7" fmla="*/ 14288 h 500253"/>
                  <a:gd name="connsiteX8" fmla="*/ 0 w 305942"/>
                  <a:gd name="connsiteY8" fmla="*/ 7144 h 500253"/>
                  <a:gd name="connsiteX9" fmla="*/ 7144 w 305942"/>
                  <a:gd name="connsiteY9" fmla="*/ 0 h 500253"/>
                  <a:gd name="connsiteX10" fmla="*/ 104394 w 305942"/>
                  <a:gd name="connsiteY10" fmla="*/ 0 h 500253"/>
                  <a:gd name="connsiteX11" fmla="*/ 305943 w 305942"/>
                  <a:gd name="connsiteY11" fmla="*/ 250127 h 500253"/>
                  <a:gd name="connsiteX12" fmla="*/ 104299 w 305942"/>
                  <a:gd name="connsiteY12" fmla="*/ 500253 h 500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05942" h="500253">
                    <a:moveTo>
                      <a:pt x="104299" y="500253"/>
                    </a:moveTo>
                    <a:lnTo>
                      <a:pt x="7144" y="500253"/>
                    </a:lnTo>
                    <a:cubicBezTo>
                      <a:pt x="3239" y="500253"/>
                      <a:pt x="0" y="497015"/>
                      <a:pt x="0" y="493109"/>
                    </a:cubicBezTo>
                    <a:cubicBezTo>
                      <a:pt x="0" y="489204"/>
                      <a:pt x="3239" y="485966"/>
                      <a:pt x="7144" y="485966"/>
                    </a:cubicBezTo>
                    <a:lnTo>
                      <a:pt x="104394" y="485966"/>
                    </a:lnTo>
                    <a:cubicBezTo>
                      <a:pt x="207645" y="485966"/>
                      <a:pt x="291656" y="380143"/>
                      <a:pt x="291656" y="250127"/>
                    </a:cubicBezTo>
                    <a:cubicBezTo>
                      <a:pt x="291656" y="120110"/>
                      <a:pt x="207550" y="14288"/>
                      <a:pt x="104299" y="14288"/>
                    </a:cubicBez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04394" y="0"/>
                    </a:lnTo>
                    <a:cubicBezTo>
                      <a:pt x="215551" y="0"/>
                      <a:pt x="305943" y="112205"/>
                      <a:pt x="305943" y="250127"/>
                    </a:cubicBezTo>
                    <a:cubicBezTo>
                      <a:pt x="305943" y="388049"/>
                      <a:pt x="215455" y="500253"/>
                      <a:pt x="104299" y="50025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47" name="Grafik 3858">
              <a:extLst>
                <a:ext uri="{FF2B5EF4-FFF2-40B4-BE49-F238E27FC236}">
                  <a16:creationId xmlns:a16="http://schemas.microsoft.com/office/drawing/2014/main" id="{282E73DD-CA3E-DCA1-01C2-B8EC0F0330BB}"/>
                </a:ext>
              </a:extLst>
            </p:cNvPr>
            <p:cNvGrpSpPr/>
            <p:nvPr/>
          </p:nvGrpSpPr>
          <p:grpSpPr bwMode="gray">
            <a:xfrm>
              <a:off x="6005607" y="3273837"/>
              <a:ext cx="79057" cy="149733"/>
              <a:chOff x="6005607" y="3273837"/>
              <a:chExt cx="79057" cy="149733"/>
            </a:xfrm>
            <a:grpFill/>
          </p:grpSpPr>
          <p:sp>
            <p:nvSpPr>
              <p:cNvPr id="248" name="Grafik 3858">
                <a:extLst>
                  <a:ext uri="{FF2B5EF4-FFF2-40B4-BE49-F238E27FC236}">
                    <a16:creationId xmlns:a16="http://schemas.microsoft.com/office/drawing/2014/main" id="{4AABEE36-7AEC-79CC-A191-994ABEDC3907}"/>
                  </a:ext>
                </a:extLst>
              </p:cNvPr>
              <p:cNvSpPr/>
              <p:nvPr/>
            </p:nvSpPr>
            <p:spPr bwMode="gray">
              <a:xfrm>
                <a:off x="6037992" y="3273837"/>
                <a:ext cx="14287" cy="149733"/>
              </a:xfrm>
              <a:custGeom>
                <a:avLst/>
                <a:gdLst>
                  <a:gd name="connsiteX0" fmla="*/ 7144 w 14287"/>
                  <a:gd name="connsiteY0" fmla="*/ 149733 h 149733"/>
                  <a:gd name="connsiteX1" fmla="*/ 0 w 14287"/>
                  <a:gd name="connsiteY1" fmla="*/ 142589 h 149733"/>
                  <a:gd name="connsiteX2" fmla="*/ 0 w 14287"/>
                  <a:gd name="connsiteY2" fmla="*/ 7144 h 149733"/>
                  <a:gd name="connsiteX3" fmla="*/ 7144 w 14287"/>
                  <a:gd name="connsiteY3" fmla="*/ 0 h 149733"/>
                  <a:gd name="connsiteX4" fmla="*/ 14288 w 14287"/>
                  <a:gd name="connsiteY4" fmla="*/ 7144 h 149733"/>
                  <a:gd name="connsiteX5" fmla="*/ 14288 w 14287"/>
                  <a:gd name="connsiteY5" fmla="*/ 142589 h 149733"/>
                  <a:gd name="connsiteX6" fmla="*/ 7144 w 14287"/>
                  <a:gd name="connsiteY6" fmla="*/ 149733 h 1497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49733">
                    <a:moveTo>
                      <a:pt x="7144" y="149733"/>
                    </a:moveTo>
                    <a:cubicBezTo>
                      <a:pt x="3239" y="149733"/>
                      <a:pt x="0" y="146495"/>
                      <a:pt x="0" y="14258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42589"/>
                    </a:lnTo>
                    <a:cubicBezTo>
                      <a:pt x="14288" y="146495"/>
                      <a:pt x="11049" y="149733"/>
                      <a:pt x="7144" y="14973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9" name="Grafik 3858">
                <a:extLst>
                  <a:ext uri="{FF2B5EF4-FFF2-40B4-BE49-F238E27FC236}">
                    <a16:creationId xmlns:a16="http://schemas.microsoft.com/office/drawing/2014/main" id="{3670F6A3-985D-412E-2F7B-E5396F3F0AC2}"/>
                  </a:ext>
                </a:extLst>
              </p:cNvPr>
              <p:cNvSpPr/>
              <p:nvPr/>
            </p:nvSpPr>
            <p:spPr bwMode="gray">
              <a:xfrm>
                <a:off x="6005607" y="3273837"/>
                <a:ext cx="14287" cy="79057"/>
              </a:xfrm>
              <a:custGeom>
                <a:avLst/>
                <a:gdLst>
                  <a:gd name="connsiteX0" fmla="*/ 7144 w 14287"/>
                  <a:gd name="connsiteY0" fmla="*/ 79058 h 79057"/>
                  <a:gd name="connsiteX1" fmla="*/ 0 w 14287"/>
                  <a:gd name="connsiteY1" fmla="*/ 71914 h 79057"/>
                  <a:gd name="connsiteX2" fmla="*/ 0 w 14287"/>
                  <a:gd name="connsiteY2" fmla="*/ 7144 h 79057"/>
                  <a:gd name="connsiteX3" fmla="*/ 7144 w 14287"/>
                  <a:gd name="connsiteY3" fmla="*/ 0 h 79057"/>
                  <a:gd name="connsiteX4" fmla="*/ 14288 w 14287"/>
                  <a:gd name="connsiteY4" fmla="*/ 7144 h 79057"/>
                  <a:gd name="connsiteX5" fmla="*/ 14288 w 14287"/>
                  <a:gd name="connsiteY5" fmla="*/ 71914 h 79057"/>
                  <a:gd name="connsiteX6" fmla="*/ 7144 w 14287"/>
                  <a:gd name="connsiteY6" fmla="*/ 79058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79057">
                    <a:moveTo>
                      <a:pt x="7144" y="79058"/>
                    </a:moveTo>
                    <a:cubicBezTo>
                      <a:pt x="3239" y="79058"/>
                      <a:pt x="0" y="75819"/>
                      <a:pt x="0" y="7191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71914"/>
                    </a:lnTo>
                    <a:cubicBezTo>
                      <a:pt x="14288" y="75819"/>
                      <a:pt x="11049" y="79058"/>
                      <a:pt x="7144" y="790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0" name="Grafik 3858">
                <a:extLst>
                  <a:ext uri="{FF2B5EF4-FFF2-40B4-BE49-F238E27FC236}">
                    <a16:creationId xmlns:a16="http://schemas.microsoft.com/office/drawing/2014/main" id="{D49EBF95-3F7D-3884-59B8-D620E8F8CD1D}"/>
                  </a:ext>
                </a:extLst>
              </p:cNvPr>
              <p:cNvSpPr/>
              <p:nvPr/>
            </p:nvSpPr>
            <p:spPr bwMode="gray">
              <a:xfrm>
                <a:off x="6070377" y="3273837"/>
                <a:ext cx="14287" cy="79057"/>
              </a:xfrm>
              <a:custGeom>
                <a:avLst/>
                <a:gdLst>
                  <a:gd name="connsiteX0" fmla="*/ 7144 w 14287"/>
                  <a:gd name="connsiteY0" fmla="*/ 79058 h 79057"/>
                  <a:gd name="connsiteX1" fmla="*/ 0 w 14287"/>
                  <a:gd name="connsiteY1" fmla="*/ 71914 h 79057"/>
                  <a:gd name="connsiteX2" fmla="*/ 0 w 14287"/>
                  <a:gd name="connsiteY2" fmla="*/ 7144 h 79057"/>
                  <a:gd name="connsiteX3" fmla="*/ 7144 w 14287"/>
                  <a:gd name="connsiteY3" fmla="*/ 0 h 79057"/>
                  <a:gd name="connsiteX4" fmla="*/ 14288 w 14287"/>
                  <a:gd name="connsiteY4" fmla="*/ 7144 h 79057"/>
                  <a:gd name="connsiteX5" fmla="*/ 14288 w 14287"/>
                  <a:gd name="connsiteY5" fmla="*/ 71914 h 79057"/>
                  <a:gd name="connsiteX6" fmla="*/ 7144 w 14287"/>
                  <a:gd name="connsiteY6" fmla="*/ 79058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79057">
                    <a:moveTo>
                      <a:pt x="7144" y="79058"/>
                    </a:moveTo>
                    <a:cubicBezTo>
                      <a:pt x="3239" y="79058"/>
                      <a:pt x="0" y="75819"/>
                      <a:pt x="0" y="7191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71914"/>
                    </a:lnTo>
                    <a:cubicBezTo>
                      <a:pt x="14288" y="75819"/>
                      <a:pt x="11049" y="79058"/>
                      <a:pt x="7144" y="790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1" name="Grafik 3858">
                <a:extLst>
                  <a:ext uri="{FF2B5EF4-FFF2-40B4-BE49-F238E27FC236}">
                    <a16:creationId xmlns:a16="http://schemas.microsoft.com/office/drawing/2014/main" id="{0FCB4C52-B397-1E50-F599-0699F290C930}"/>
                  </a:ext>
                </a:extLst>
              </p:cNvPr>
              <p:cNvSpPr/>
              <p:nvPr/>
            </p:nvSpPr>
            <p:spPr bwMode="gray">
              <a:xfrm>
                <a:off x="6005607" y="3306222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7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7" y="3239"/>
                      <a:pt x="79057" y="7144"/>
                    </a:cubicBezTo>
                    <a:cubicBezTo>
                      <a:pt x="79057" y="11049"/>
                      <a:pt x="75819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58" name="Grafik 3860">
            <a:extLst>
              <a:ext uri="{FF2B5EF4-FFF2-40B4-BE49-F238E27FC236}">
                <a16:creationId xmlns:a16="http://schemas.microsoft.com/office/drawing/2014/main" id="{033BDD2B-F3D2-2C6E-0EA4-7EB06AFF0658}"/>
              </a:ext>
            </a:extLst>
          </p:cNvPr>
          <p:cNvGrpSpPr/>
          <p:nvPr/>
        </p:nvGrpSpPr>
        <p:grpSpPr bwMode="gray">
          <a:xfrm>
            <a:off x="2724270" y="3477302"/>
            <a:ext cx="374400" cy="374400"/>
            <a:chOff x="5843587" y="3176587"/>
            <a:chExt cx="500348" cy="500253"/>
          </a:xfrm>
          <a:solidFill>
            <a:schemeClr val="tx1"/>
          </a:solidFill>
        </p:grpSpPr>
        <p:grpSp>
          <p:nvGrpSpPr>
            <p:cNvPr id="259" name="Grafik 3860">
              <a:extLst>
                <a:ext uri="{FF2B5EF4-FFF2-40B4-BE49-F238E27FC236}">
                  <a16:creationId xmlns:a16="http://schemas.microsoft.com/office/drawing/2014/main" id="{93F982B6-9397-0C6D-1D5B-53F92433C1C9}"/>
                </a:ext>
              </a:extLst>
            </p:cNvPr>
            <p:cNvGrpSpPr/>
            <p:nvPr/>
          </p:nvGrpSpPr>
          <p:grpSpPr bwMode="gray">
            <a:xfrm>
              <a:off x="5968930" y="3468260"/>
              <a:ext cx="152405" cy="111424"/>
              <a:chOff x="5968930" y="3468260"/>
              <a:chExt cx="152405" cy="111424"/>
            </a:xfrm>
            <a:grpFill/>
          </p:grpSpPr>
          <p:sp>
            <p:nvSpPr>
              <p:cNvPr id="268" name="Grafik 3860">
                <a:extLst>
                  <a:ext uri="{FF2B5EF4-FFF2-40B4-BE49-F238E27FC236}">
                    <a16:creationId xmlns:a16="http://schemas.microsoft.com/office/drawing/2014/main" id="{2FED317B-EA82-56C5-F185-DF56CE993686}"/>
                  </a:ext>
                </a:extLst>
              </p:cNvPr>
              <p:cNvSpPr/>
              <p:nvPr/>
            </p:nvSpPr>
            <p:spPr bwMode="gray">
              <a:xfrm>
                <a:off x="6079426" y="3533012"/>
                <a:ext cx="41909" cy="14287"/>
              </a:xfrm>
              <a:custGeom>
                <a:avLst/>
                <a:gdLst>
                  <a:gd name="connsiteX0" fmla="*/ 34766 w 41909"/>
                  <a:gd name="connsiteY0" fmla="*/ 14288 h 14287"/>
                  <a:gd name="connsiteX1" fmla="*/ 7144 w 41909"/>
                  <a:gd name="connsiteY1" fmla="*/ 14288 h 14287"/>
                  <a:gd name="connsiteX2" fmla="*/ 0 w 41909"/>
                  <a:gd name="connsiteY2" fmla="*/ 7144 h 14287"/>
                  <a:gd name="connsiteX3" fmla="*/ 7144 w 41909"/>
                  <a:gd name="connsiteY3" fmla="*/ 0 h 14287"/>
                  <a:gd name="connsiteX4" fmla="*/ 34766 w 41909"/>
                  <a:gd name="connsiteY4" fmla="*/ 0 h 14287"/>
                  <a:gd name="connsiteX5" fmla="*/ 41910 w 41909"/>
                  <a:gd name="connsiteY5" fmla="*/ 7144 h 14287"/>
                  <a:gd name="connsiteX6" fmla="*/ 34766 w 41909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1909" h="14287">
                    <a:moveTo>
                      <a:pt x="34766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4766" y="0"/>
                    </a:lnTo>
                    <a:cubicBezTo>
                      <a:pt x="38671" y="0"/>
                      <a:pt x="41910" y="3239"/>
                      <a:pt x="41910" y="7144"/>
                    </a:cubicBezTo>
                    <a:cubicBezTo>
                      <a:pt x="41910" y="11049"/>
                      <a:pt x="38671" y="14288"/>
                      <a:pt x="3476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9" name="Grafik 3860">
                <a:extLst>
                  <a:ext uri="{FF2B5EF4-FFF2-40B4-BE49-F238E27FC236}">
                    <a16:creationId xmlns:a16="http://schemas.microsoft.com/office/drawing/2014/main" id="{E51BCEFA-793C-47C8-35E8-6CEA61BB2336}"/>
                  </a:ext>
                </a:extLst>
              </p:cNvPr>
              <p:cNvSpPr/>
              <p:nvPr/>
            </p:nvSpPr>
            <p:spPr bwMode="gray">
              <a:xfrm>
                <a:off x="6042183" y="3468337"/>
                <a:ext cx="79057" cy="111347"/>
              </a:xfrm>
              <a:custGeom>
                <a:avLst/>
                <a:gdLst>
                  <a:gd name="connsiteX0" fmla="*/ 39529 w 79057"/>
                  <a:gd name="connsiteY0" fmla="*/ 111347 h 111347"/>
                  <a:gd name="connsiteX1" fmla="*/ 0 w 79057"/>
                  <a:gd name="connsiteY1" fmla="*/ 71818 h 111347"/>
                  <a:gd name="connsiteX2" fmla="*/ 0 w 79057"/>
                  <a:gd name="connsiteY2" fmla="*/ 39529 h 111347"/>
                  <a:gd name="connsiteX3" fmla="*/ 39529 w 79057"/>
                  <a:gd name="connsiteY3" fmla="*/ 0 h 111347"/>
                  <a:gd name="connsiteX4" fmla="*/ 79057 w 79057"/>
                  <a:gd name="connsiteY4" fmla="*/ 39529 h 111347"/>
                  <a:gd name="connsiteX5" fmla="*/ 71914 w 79057"/>
                  <a:gd name="connsiteY5" fmla="*/ 46672 h 111347"/>
                  <a:gd name="connsiteX6" fmla="*/ 64770 w 79057"/>
                  <a:gd name="connsiteY6" fmla="*/ 39529 h 111347"/>
                  <a:gd name="connsiteX7" fmla="*/ 39529 w 79057"/>
                  <a:gd name="connsiteY7" fmla="*/ 14288 h 111347"/>
                  <a:gd name="connsiteX8" fmla="*/ 14288 w 79057"/>
                  <a:gd name="connsiteY8" fmla="*/ 39529 h 111347"/>
                  <a:gd name="connsiteX9" fmla="*/ 14288 w 79057"/>
                  <a:gd name="connsiteY9" fmla="*/ 71818 h 111347"/>
                  <a:gd name="connsiteX10" fmla="*/ 39529 w 79057"/>
                  <a:gd name="connsiteY10" fmla="*/ 97060 h 111347"/>
                  <a:gd name="connsiteX11" fmla="*/ 64770 w 79057"/>
                  <a:gd name="connsiteY11" fmla="*/ 71818 h 111347"/>
                  <a:gd name="connsiteX12" fmla="*/ 71914 w 79057"/>
                  <a:gd name="connsiteY12" fmla="*/ 64675 h 111347"/>
                  <a:gd name="connsiteX13" fmla="*/ 79057 w 79057"/>
                  <a:gd name="connsiteY13" fmla="*/ 71818 h 111347"/>
                  <a:gd name="connsiteX14" fmla="*/ 39529 w 79057"/>
                  <a:gd name="connsiteY14" fmla="*/ 111347 h 111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9057" h="111347">
                    <a:moveTo>
                      <a:pt x="39529" y="111347"/>
                    </a:moveTo>
                    <a:cubicBezTo>
                      <a:pt x="17716" y="111347"/>
                      <a:pt x="0" y="93631"/>
                      <a:pt x="0" y="71818"/>
                    </a:cubicBezTo>
                    <a:lnTo>
                      <a:pt x="0" y="39529"/>
                    </a:lnTo>
                    <a:cubicBezTo>
                      <a:pt x="0" y="17717"/>
                      <a:pt x="17716" y="0"/>
                      <a:pt x="39529" y="0"/>
                    </a:cubicBezTo>
                    <a:cubicBezTo>
                      <a:pt x="61341" y="0"/>
                      <a:pt x="79057" y="17717"/>
                      <a:pt x="79057" y="39529"/>
                    </a:cubicBezTo>
                    <a:cubicBezTo>
                      <a:pt x="79057" y="43434"/>
                      <a:pt x="75819" y="46672"/>
                      <a:pt x="71914" y="46672"/>
                    </a:cubicBezTo>
                    <a:cubicBezTo>
                      <a:pt x="68008" y="46672"/>
                      <a:pt x="64770" y="43434"/>
                      <a:pt x="64770" y="39529"/>
                    </a:cubicBezTo>
                    <a:cubicBezTo>
                      <a:pt x="64770" y="25622"/>
                      <a:pt x="53435" y="14288"/>
                      <a:pt x="39529" y="14288"/>
                    </a:cubicBezTo>
                    <a:cubicBezTo>
                      <a:pt x="25622" y="14288"/>
                      <a:pt x="14288" y="25622"/>
                      <a:pt x="14288" y="39529"/>
                    </a:cubicBezTo>
                    <a:lnTo>
                      <a:pt x="14288" y="71818"/>
                    </a:lnTo>
                    <a:cubicBezTo>
                      <a:pt x="14288" y="85725"/>
                      <a:pt x="25622" y="97060"/>
                      <a:pt x="39529" y="97060"/>
                    </a:cubicBezTo>
                    <a:cubicBezTo>
                      <a:pt x="53435" y="97060"/>
                      <a:pt x="64770" y="85725"/>
                      <a:pt x="64770" y="71818"/>
                    </a:cubicBezTo>
                    <a:cubicBezTo>
                      <a:pt x="64770" y="67913"/>
                      <a:pt x="68008" y="64675"/>
                      <a:pt x="71914" y="64675"/>
                    </a:cubicBezTo>
                    <a:cubicBezTo>
                      <a:pt x="75819" y="64675"/>
                      <a:pt x="79057" y="67913"/>
                      <a:pt x="79057" y="71818"/>
                    </a:cubicBezTo>
                    <a:cubicBezTo>
                      <a:pt x="79153" y="93631"/>
                      <a:pt x="61341" y="111347"/>
                      <a:pt x="39529" y="11134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0" name="Grafik 3860">
                <a:extLst>
                  <a:ext uri="{FF2B5EF4-FFF2-40B4-BE49-F238E27FC236}">
                    <a16:creationId xmlns:a16="http://schemas.microsoft.com/office/drawing/2014/main" id="{426A13CD-9DD2-0B29-8ECD-CDB3D3D9ABF4}"/>
                  </a:ext>
                </a:extLst>
              </p:cNvPr>
              <p:cNvSpPr/>
              <p:nvPr/>
            </p:nvSpPr>
            <p:spPr bwMode="gray">
              <a:xfrm>
                <a:off x="5968930" y="3468260"/>
                <a:ext cx="62870" cy="111424"/>
              </a:xfrm>
              <a:custGeom>
                <a:avLst/>
                <a:gdLst>
                  <a:gd name="connsiteX0" fmla="*/ 55727 w 62870"/>
                  <a:gd name="connsiteY0" fmla="*/ 111425 h 111424"/>
                  <a:gd name="connsiteX1" fmla="*/ 48583 w 62870"/>
                  <a:gd name="connsiteY1" fmla="*/ 104281 h 111424"/>
                  <a:gd name="connsiteX2" fmla="*/ 48583 w 62870"/>
                  <a:gd name="connsiteY2" fmla="*/ 79040 h 111424"/>
                  <a:gd name="connsiteX3" fmla="*/ 7150 w 62870"/>
                  <a:gd name="connsiteY3" fmla="*/ 79040 h 111424"/>
                  <a:gd name="connsiteX4" fmla="*/ 768 w 62870"/>
                  <a:gd name="connsiteY4" fmla="*/ 75039 h 111424"/>
                  <a:gd name="connsiteX5" fmla="*/ 1435 w 62870"/>
                  <a:gd name="connsiteY5" fmla="*/ 67515 h 111424"/>
                  <a:gd name="connsiteX6" fmla="*/ 50012 w 62870"/>
                  <a:gd name="connsiteY6" fmla="*/ 2840 h 111424"/>
                  <a:gd name="connsiteX7" fmla="*/ 58013 w 62870"/>
                  <a:gd name="connsiteY7" fmla="*/ 363 h 111424"/>
                  <a:gd name="connsiteX8" fmla="*/ 62871 w 62870"/>
                  <a:gd name="connsiteY8" fmla="*/ 7126 h 111424"/>
                  <a:gd name="connsiteX9" fmla="*/ 62871 w 62870"/>
                  <a:gd name="connsiteY9" fmla="*/ 104186 h 111424"/>
                  <a:gd name="connsiteX10" fmla="*/ 55727 w 62870"/>
                  <a:gd name="connsiteY10" fmla="*/ 111425 h 111424"/>
                  <a:gd name="connsiteX11" fmla="*/ 21437 w 62870"/>
                  <a:gd name="connsiteY11" fmla="*/ 64752 h 111424"/>
                  <a:gd name="connsiteX12" fmla="*/ 48583 w 62870"/>
                  <a:gd name="connsiteY12" fmla="*/ 64752 h 111424"/>
                  <a:gd name="connsiteX13" fmla="*/ 48583 w 62870"/>
                  <a:gd name="connsiteY13" fmla="*/ 28653 h 111424"/>
                  <a:gd name="connsiteX14" fmla="*/ 21437 w 62870"/>
                  <a:gd name="connsiteY14" fmla="*/ 64752 h 1114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62870" h="111424">
                    <a:moveTo>
                      <a:pt x="55727" y="111425"/>
                    </a:moveTo>
                    <a:cubicBezTo>
                      <a:pt x="51822" y="111425"/>
                      <a:pt x="48583" y="108186"/>
                      <a:pt x="48583" y="104281"/>
                    </a:cubicBezTo>
                    <a:lnTo>
                      <a:pt x="48583" y="79040"/>
                    </a:lnTo>
                    <a:lnTo>
                      <a:pt x="7150" y="79040"/>
                    </a:lnTo>
                    <a:cubicBezTo>
                      <a:pt x="4483" y="79040"/>
                      <a:pt x="2006" y="77516"/>
                      <a:pt x="768" y="75039"/>
                    </a:cubicBezTo>
                    <a:cubicBezTo>
                      <a:pt x="-470" y="72563"/>
                      <a:pt x="-185" y="69705"/>
                      <a:pt x="1435" y="67515"/>
                    </a:cubicBezTo>
                    <a:lnTo>
                      <a:pt x="50012" y="2840"/>
                    </a:lnTo>
                    <a:cubicBezTo>
                      <a:pt x="51822" y="363"/>
                      <a:pt x="55060" y="-589"/>
                      <a:pt x="58013" y="363"/>
                    </a:cubicBezTo>
                    <a:cubicBezTo>
                      <a:pt x="60966" y="1316"/>
                      <a:pt x="62871" y="4078"/>
                      <a:pt x="62871" y="7126"/>
                    </a:cubicBezTo>
                    <a:lnTo>
                      <a:pt x="62871" y="104186"/>
                    </a:lnTo>
                    <a:cubicBezTo>
                      <a:pt x="62871" y="108186"/>
                      <a:pt x="59728" y="111425"/>
                      <a:pt x="55727" y="111425"/>
                    </a:cubicBezTo>
                    <a:close/>
                    <a:moveTo>
                      <a:pt x="21437" y="64752"/>
                    </a:moveTo>
                    <a:lnTo>
                      <a:pt x="48583" y="64752"/>
                    </a:lnTo>
                    <a:lnTo>
                      <a:pt x="48583" y="28653"/>
                    </a:lnTo>
                    <a:lnTo>
                      <a:pt x="21437" y="64752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60" name="Grafik 3860">
              <a:extLst>
                <a:ext uri="{FF2B5EF4-FFF2-40B4-BE49-F238E27FC236}">
                  <a16:creationId xmlns:a16="http://schemas.microsoft.com/office/drawing/2014/main" id="{E039C7BB-90BE-5A24-5CC5-3D3DACDF264F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348" cy="500253"/>
              <a:chOff x="5843587" y="3176587"/>
              <a:chExt cx="500348" cy="500253"/>
            </a:xfrm>
            <a:grpFill/>
          </p:grpSpPr>
          <p:sp>
            <p:nvSpPr>
              <p:cNvPr id="266" name="Grafik 3860">
                <a:extLst>
                  <a:ext uri="{FF2B5EF4-FFF2-40B4-BE49-F238E27FC236}">
                    <a16:creationId xmlns:a16="http://schemas.microsoft.com/office/drawing/2014/main" id="{8DFEC19F-5515-5DF4-036D-36B4F4B2B57D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403097" cy="500253"/>
              </a:xfrm>
              <a:custGeom>
                <a:avLst/>
                <a:gdLst>
                  <a:gd name="connsiteX0" fmla="*/ 201549 w 403097"/>
                  <a:gd name="connsiteY0" fmla="*/ 500253 h 500253"/>
                  <a:gd name="connsiteX1" fmla="*/ 0 w 403097"/>
                  <a:gd name="connsiteY1" fmla="*/ 250127 h 500253"/>
                  <a:gd name="connsiteX2" fmla="*/ 201549 w 403097"/>
                  <a:gd name="connsiteY2" fmla="*/ 0 h 500253"/>
                  <a:gd name="connsiteX3" fmla="*/ 403098 w 403097"/>
                  <a:gd name="connsiteY3" fmla="*/ 250127 h 500253"/>
                  <a:gd name="connsiteX4" fmla="*/ 201549 w 403097"/>
                  <a:gd name="connsiteY4" fmla="*/ 500253 h 500253"/>
                  <a:gd name="connsiteX5" fmla="*/ 201549 w 403097"/>
                  <a:gd name="connsiteY5" fmla="*/ 14288 h 500253"/>
                  <a:gd name="connsiteX6" fmla="*/ 14288 w 403097"/>
                  <a:gd name="connsiteY6" fmla="*/ 250127 h 500253"/>
                  <a:gd name="connsiteX7" fmla="*/ 201549 w 403097"/>
                  <a:gd name="connsiteY7" fmla="*/ 485966 h 500253"/>
                  <a:gd name="connsiteX8" fmla="*/ 388811 w 403097"/>
                  <a:gd name="connsiteY8" fmla="*/ 250127 h 500253"/>
                  <a:gd name="connsiteX9" fmla="*/ 201549 w 403097"/>
                  <a:gd name="connsiteY9" fmla="*/ 14288 h 500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03097" h="500253">
                    <a:moveTo>
                      <a:pt x="201549" y="500253"/>
                    </a:moveTo>
                    <a:cubicBezTo>
                      <a:pt x="90392" y="500253"/>
                      <a:pt x="0" y="388049"/>
                      <a:pt x="0" y="250127"/>
                    </a:cubicBezTo>
                    <a:cubicBezTo>
                      <a:pt x="0" y="112205"/>
                      <a:pt x="90392" y="0"/>
                      <a:pt x="201549" y="0"/>
                    </a:cubicBezTo>
                    <a:cubicBezTo>
                      <a:pt x="312706" y="0"/>
                      <a:pt x="403098" y="112205"/>
                      <a:pt x="403098" y="250127"/>
                    </a:cubicBezTo>
                    <a:cubicBezTo>
                      <a:pt x="403098" y="388049"/>
                      <a:pt x="312706" y="500253"/>
                      <a:pt x="201549" y="500253"/>
                    </a:cubicBezTo>
                    <a:close/>
                    <a:moveTo>
                      <a:pt x="201549" y="14288"/>
                    </a:moveTo>
                    <a:cubicBezTo>
                      <a:pt x="98298" y="14288"/>
                      <a:pt x="14288" y="120110"/>
                      <a:pt x="14288" y="250127"/>
                    </a:cubicBezTo>
                    <a:cubicBezTo>
                      <a:pt x="14288" y="380143"/>
                      <a:pt x="98298" y="485966"/>
                      <a:pt x="201549" y="485966"/>
                    </a:cubicBezTo>
                    <a:cubicBezTo>
                      <a:pt x="304800" y="485966"/>
                      <a:pt x="388811" y="380143"/>
                      <a:pt x="388811" y="250127"/>
                    </a:cubicBezTo>
                    <a:cubicBezTo>
                      <a:pt x="388811" y="120110"/>
                      <a:pt x="304800" y="14288"/>
                      <a:pt x="201549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7" name="Grafik 3860">
                <a:extLst>
                  <a:ext uri="{FF2B5EF4-FFF2-40B4-BE49-F238E27FC236}">
                    <a16:creationId xmlns:a16="http://schemas.microsoft.com/office/drawing/2014/main" id="{439E0799-9B32-A5ED-B199-DBD02BE7B5E1}"/>
                  </a:ext>
                </a:extLst>
              </p:cNvPr>
              <p:cNvSpPr/>
              <p:nvPr/>
            </p:nvSpPr>
            <p:spPr bwMode="gray">
              <a:xfrm>
                <a:off x="6037992" y="3176587"/>
                <a:ext cx="305942" cy="500253"/>
              </a:xfrm>
              <a:custGeom>
                <a:avLst/>
                <a:gdLst>
                  <a:gd name="connsiteX0" fmla="*/ 104299 w 305942"/>
                  <a:gd name="connsiteY0" fmla="*/ 500253 h 500253"/>
                  <a:gd name="connsiteX1" fmla="*/ 7144 w 305942"/>
                  <a:gd name="connsiteY1" fmla="*/ 500253 h 500253"/>
                  <a:gd name="connsiteX2" fmla="*/ 0 w 305942"/>
                  <a:gd name="connsiteY2" fmla="*/ 493109 h 500253"/>
                  <a:gd name="connsiteX3" fmla="*/ 7144 w 305942"/>
                  <a:gd name="connsiteY3" fmla="*/ 485966 h 500253"/>
                  <a:gd name="connsiteX4" fmla="*/ 104394 w 305942"/>
                  <a:gd name="connsiteY4" fmla="*/ 485966 h 500253"/>
                  <a:gd name="connsiteX5" fmla="*/ 291656 w 305942"/>
                  <a:gd name="connsiteY5" fmla="*/ 250127 h 500253"/>
                  <a:gd name="connsiteX6" fmla="*/ 104299 w 305942"/>
                  <a:gd name="connsiteY6" fmla="*/ 14288 h 500253"/>
                  <a:gd name="connsiteX7" fmla="*/ 7144 w 305942"/>
                  <a:gd name="connsiteY7" fmla="*/ 14288 h 500253"/>
                  <a:gd name="connsiteX8" fmla="*/ 0 w 305942"/>
                  <a:gd name="connsiteY8" fmla="*/ 7144 h 500253"/>
                  <a:gd name="connsiteX9" fmla="*/ 7144 w 305942"/>
                  <a:gd name="connsiteY9" fmla="*/ 0 h 500253"/>
                  <a:gd name="connsiteX10" fmla="*/ 104394 w 305942"/>
                  <a:gd name="connsiteY10" fmla="*/ 0 h 500253"/>
                  <a:gd name="connsiteX11" fmla="*/ 305943 w 305942"/>
                  <a:gd name="connsiteY11" fmla="*/ 250127 h 500253"/>
                  <a:gd name="connsiteX12" fmla="*/ 104299 w 305942"/>
                  <a:gd name="connsiteY12" fmla="*/ 500253 h 500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05942" h="500253">
                    <a:moveTo>
                      <a:pt x="104299" y="500253"/>
                    </a:moveTo>
                    <a:lnTo>
                      <a:pt x="7144" y="500253"/>
                    </a:lnTo>
                    <a:cubicBezTo>
                      <a:pt x="3239" y="500253"/>
                      <a:pt x="0" y="497015"/>
                      <a:pt x="0" y="493109"/>
                    </a:cubicBezTo>
                    <a:cubicBezTo>
                      <a:pt x="0" y="489204"/>
                      <a:pt x="3239" y="485966"/>
                      <a:pt x="7144" y="485966"/>
                    </a:cubicBezTo>
                    <a:lnTo>
                      <a:pt x="104394" y="485966"/>
                    </a:lnTo>
                    <a:cubicBezTo>
                      <a:pt x="207645" y="485966"/>
                      <a:pt x="291656" y="380143"/>
                      <a:pt x="291656" y="250127"/>
                    </a:cubicBezTo>
                    <a:cubicBezTo>
                      <a:pt x="291656" y="120110"/>
                      <a:pt x="207550" y="14288"/>
                      <a:pt x="104299" y="14288"/>
                    </a:cubicBez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04394" y="0"/>
                    </a:lnTo>
                    <a:cubicBezTo>
                      <a:pt x="215551" y="0"/>
                      <a:pt x="305943" y="112205"/>
                      <a:pt x="305943" y="250127"/>
                    </a:cubicBezTo>
                    <a:cubicBezTo>
                      <a:pt x="305943" y="388049"/>
                      <a:pt x="215455" y="500253"/>
                      <a:pt x="104299" y="50025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61" name="Grafik 3860">
              <a:extLst>
                <a:ext uri="{FF2B5EF4-FFF2-40B4-BE49-F238E27FC236}">
                  <a16:creationId xmlns:a16="http://schemas.microsoft.com/office/drawing/2014/main" id="{FD5F68A2-76A3-FA50-E913-F704D301FEEB}"/>
                </a:ext>
              </a:extLst>
            </p:cNvPr>
            <p:cNvGrpSpPr/>
            <p:nvPr/>
          </p:nvGrpSpPr>
          <p:grpSpPr bwMode="gray">
            <a:xfrm>
              <a:off x="6005607" y="3273837"/>
              <a:ext cx="79057" cy="149733"/>
              <a:chOff x="6005607" y="3273837"/>
              <a:chExt cx="79057" cy="149733"/>
            </a:xfrm>
            <a:grpFill/>
          </p:grpSpPr>
          <p:sp>
            <p:nvSpPr>
              <p:cNvPr id="262" name="Grafik 3860">
                <a:extLst>
                  <a:ext uri="{FF2B5EF4-FFF2-40B4-BE49-F238E27FC236}">
                    <a16:creationId xmlns:a16="http://schemas.microsoft.com/office/drawing/2014/main" id="{FCB2F166-2587-3CB7-C639-BF56B875EDCA}"/>
                  </a:ext>
                </a:extLst>
              </p:cNvPr>
              <p:cNvSpPr/>
              <p:nvPr/>
            </p:nvSpPr>
            <p:spPr bwMode="gray">
              <a:xfrm>
                <a:off x="6037992" y="3273837"/>
                <a:ext cx="14287" cy="149733"/>
              </a:xfrm>
              <a:custGeom>
                <a:avLst/>
                <a:gdLst>
                  <a:gd name="connsiteX0" fmla="*/ 7144 w 14287"/>
                  <a:gd name="connsiteY0" fmla="*/ 149733 h 149733"/>
                  <a:gd name="connsiteX1" fmla="*/ 0 w 14287"/>
                  <a:gd name="connsiteY1" fmla="*/ 142589 h 149733"/>
                  <a:gd name="connsiteX2" fmla="*/ 0 w 14287"/>
                  <a:gd name="connsiteY2" fmla="*/ 7144 h 149733"/>
                  <a:gd name="connsiteX3" fmla="*/ 7144 w 14287"/>
                  <a:gd name="connsiteY3" fmla="*/ 0 h 149733"/>
                  <a:gd name="connsiteX4" fmla="*/ 14288 w 14287"/>
                  <a:gd name="connsiteY4" fmla="*/ 7144 h 149733"/>
                  <a:gd name="connsiteX5" fmla="*/ 14288 w 14287"/>
                  <a:gd name="connsiteY5" fmla="*/ 142589 h 149733"/>
                  <a:gd name="connsiteX6" fmla="*/ 7144 w 14287"/>
                  <a:gd name="connsiteY6" fmla="*/ 149733 h 1497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49733">
                    <a:moveTo>
                      <a:pt x="7144" y="149733"/>
                    </a:moveTo>
                    <a:cubicBezTo>
                      <a:pt x="3239" y="149733"/>
                      <a:pt x="0" y="146495"/>
                      <a:pt x="0" y="14258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42589"/>
                    </a:lnTo>
                    <a:cubicBezTo>
                      <a:pt x="14288" y="146495"/>
                      <a:pt x="11049" y="149733"/>
                      <a:pt x="7144" y="14973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3" name="Grafik 3860">
                <a:extLst>
                  <a:ext uri="{FF2B5EF4-FFF2-40B4-BE49-F238E27FC236}">
                    <a16:creationId xmlns:a16="http://schemas.microsoft.com/office/drawing/2014/main" id="{819C2637-B5C3-6433-D330-D855694BFA3E}"/>
                  </a:ext>
                </a:extLst>
              </p:cNvPr>
              <p:cNvSpPr/>
              <p:nvPr/>
            </p:nvSpPr>
            <p:spPr bwMode="gray">
              <a:xfrm>
                <a:off x="6005607" y="3273837"/>
                <a:ext cx="14287" cy="79057"/>
              </a:xfrm>
              <a:custGeom>
                <a:avLst/>
                <a:gdLst>
                  <a:gd name="connsiteX0" fmla="*/ 7144 w 14287"/>
                  <a:gd name="connsiteY0" fmla="*/ 79058 h 79057"/>
                  <a:gd name="connsiteX1" fmla="*/ 0 w 14287"/>
                  <a:gd name="connsiteY1" fmla="*/ 71914 h 79057"/>
                  <a:gd name="connsiteX2" fmla="*/ 0 w 14287"/>
                  <a:gd name="connsiteY2" fmla="*/ 7144 h 79057"/>
                  <a:gd name="connsiteX3" fmla="*/ 7144 w 14287"/>
                  <a:gd name="connsiteY3" fmla="*/ 0 h 79057"/>
                  <a:gd name="connsiteX4" fmla="*/ 14288 w 14287"/>
                  <a:gd name="connsiteY4" fmla="*/ 7144 h 79057"/>
                  <a:gd name="connsiteX5" fmla="*/ 14288 w 14287"/>
                  <a:gd name="connsiteY5" fmla="*/ 71914 h 79057"/>
                  <a:gd name="connsiteX6" fmla="*/ 7144 w 14287"/>
                  <a:gd name="connsiteY6" fmla="*/ 79058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79057">
                    <a:moveTo>
                      <a:pt x="7144" y="79058"/>
                    </a:moveTo>
                    <a:cubicBezTo>
                      <a:pt x="3239" y="79058"/>
                      <a:pt x="0" y="75819"/>
                      <a:pt x="0" y="7191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71914"/>
                    </a:lnTo>
                    <a:cubicBezTo>
                      <a:pt x="14288" y="75819"/>
                      <a:pt x="11049" y="79058"/>
                      <a:pt x="7144" y="790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4" name="Grafik 3860">
                <a:extLst>
                  <a:ext uri="{FF2B5EF4-FFF2-40B4-BE49-F238E27FC236}">
                    <a16:creationId xmlns:a16="http://schemas.microsoft.com/office/drawing/2014/main" id="{FC6E22B9-C3D1-19F5-5B31-4D5F74904855}"/>
                  </a:ext>
                </a:extLst>
              </p:cNvPr>
              <p:cNvSpPr/>
              <p:nvPr/>
            </p:nvSpPr>
            <p:spPr bwMode="gray">
              <a:xfrm>
                <a:off x="6070377" y="3273837"/>
                <a:ext cx="14287" cy="79057"/>
              </a:xfrm>
              <a:custGeom>
                <a:avLst/>
                <a:gdLst>
                  <a:gd name="connsiteX0" fmla="*/ 7144 w 14287"/>
                  <a:gd name="connsiteY0" fmla="*/ 79058 h 79057"/>
                  <a:gd name="connsiteX1" fmla="*/ 0 w 14287"/>
                  <a:gd name="connsiteY1" fmla="*/ 71914 h 79057"/>
                  <a:gd name="connsiteX2" fmla="*/ 0 w 14287"/>
                  <a:gd name="connsiteY2" fmla="*/ 7144 h 79057"/>
                  <a:gd name="connsiteX3" fmla="*/ 7144 w 14287"/>
                  <a:gd name="connsiteY3" fmla="*/ 0 h 79057"/>
                  <a:gd name="connsiteX4" fmla="*/ 14288 w 14287"/>
                  <a:gd name="connsiteY4" fmla="*/ 7144 h 79057"/>
                  <a:gd name="connsiteX5" fmla="*/ 14288 w 14287"/>
                  <a:gd name="connsiteY5" fmla="*/ 71914 h 79057"/>
                  <a:gd name="connsiteX6" fmla="*/ 7144 w 14287"/>
                  <a:gd name="connsiteY6" fmla="*/ 79058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79057">
                    <a:moveTo>
                      <a:pt x="7144" y="79058"/>
                    </a:moveTo>
                    <a:cubicBezTo>
                      <a:pt x="3239" y="79058"/>
                      <a:pt x="0" y="75819"/>
                      <a:pt x="0" y="7191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71914"/>
                    </a:lnTo>
                    <a:cubicBezTo>
                      <a:pt x="14288" y="75819"/>
                      <a:pt x="11049" y="79058"/>
                      <a:pt x="7144" y="790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5" name="Grafik 3860">
                <a:extLst>
                  <a:ext uri="{FF2B5EF4-FFF2-40B4-BE49-F238E27FC236}">
                    <a16:creationId xmlns:a16="http://schemas.microsoft.com/office/drawing/2014/main" id="{6CC82CBD-55B8-9D4A-D90F-E09CDA106C85}"/>
                  </a:ext>
                </a:extLst>
              </p:cNvPr>
              <p:cNvSpPr/>
              <p:nvPr/>
            </p:nvSpPr>
            <p:spPr bwMode="gray">
              <a:xfrm>
                <a:off x="6005607" y="3306222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7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7" y="3239"/>
                      <a:pt x="79057" y="7144"/>
                    </a:cubicBezTo>
                    <a:cubicBezTo>
                      <a:pt x="79057" y="11049"/>
                      <a:pt x="75819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71" name="Grafik 3862">
            <a:extLst>
              <a:ext uri="{FF2B5EF4-FFF2-40B4-BE49-F238E27FC236}">
                <a16:creationId xmlns:a16="http://schemas.microsoft.com/office/drawing/2014/main" id="{2FB0434D-6944-F46E-3D2F-1BBC032C09B0}"/>
              </a:ext>
            </a:extLst>
          </p:cNvPr>
          <p:cNvGrpSpPr/>
          <p:nvPr/>
        </p:nvGrpSpPr>
        <p:grpSpPr bwMode="gray">
          <a:xfrm>
            <a:off x="2724270" y="4014689"/>
            <a:ext cx="374400" cy="374400"/>
            <a:chOff x="5843557" y="3181326"/>
            <a:chExt cx="500279" cy="499991"/>
          </a:xfrm>
          <a:solidFill>
            <a:schemeClr val="tx1"/>
          </a:solidFill>
        </p:grpSpPr>
        <p:grpSp>
          <p:nvGrpSpPr>
            <p:cNvPr id="272" name="Grafik 3862">
              <a:extLst>
                <a:ext uri="{FF2B5EF4-FFF2-40B4-BE49-F238E27FC236}">
                  <a16:creationId xmlns:a16="http://schemas.microsoft.com/office/drawing/2014/main" id="{4E39AFA7-A3D2-9B65-14B7-6D627802CFDB}"/>
                </a:ext>
              </a:extLst>
            </p:cNvPr>
            <p:cNvGrpSpPr/>
            <p:nvPr/>
          </p:nvGrpSpPr>
          <p:grpSpPr bwMode="gray">
            <a:xfrm>
              <a:off x="5843557" y="3181326"/>
              <a:ext cx="500279" cy="499991"/>
              <a:chOff x="5843557" y="3181326"/>
              <a:chExt cx="500279" cy="499991"/>
            </a:xfrm>
            <a:grpFill/>
          </p:grpSpPr>
          <p:sp>
            <p:nvSpPr>
              <p:cNvPr id="274" name="Grafik 3862">
                <a:extLst>
                  <a:ext uri="{FF2B5EF4-FFF2-40B4-BE49-F238E27FC236}">
                    <a16:creationId xmlns:a16="http://schemas.microsoft.com/office/drawing/2014/main" id="{4DCB13A4-09E7-6643-8CD8-5DD5720445D1}"/>
                  </a:ext>
                </a:extLst>
              </p:cNvPr>
              <p:cNvSpPr/>
              <p:nvPr/>
            </p:nvSpPr>
            <p:spPr bwMode="gray">
              <a:xfrm>
                <a:off x="5843557" y="3181326"/>
                <a:ext cx="500279" cy="499991"/>
              </a:xfrm>
              <a:custGeom>
                <a:avLst/>
                <a:gdLst>
                  <a:gd name="connsiteX0" fmla="*/ 493139 w 500279"/>
                  <a:gd name="connsiteY0" fmla="*/ 499991 h 499991"/>
                  <a:gd name="connsiteX1" fmla="*/ 7173 w 500279"/>
                  <a:gd name="connsiteY1" fmla="*/ 499991 h 499991"/>
                  <a:gd name="connsiteX2" fmla="*/ 1077 w 500279"/>
                  <a:gd name="connsiteY2" fmla="*/ 496562 h 499991"/>
                  <a:gd name="connsiteX3" fmla="*/ 791 w 500279"/>
                  <a:gd name="connsiteY3" fmla="*/ 489609 h 499991"/>
                  <a:gd name="connsiteX4" fmla="*/ 243774 w 500279"/>
                  <a:gd name="connsiteY4" fmla="*/ 3643 h 499991"/>
                  <a:gd name="connsiteX5" fmla="*/ 256538 w 500279"/>
                  <a:gd name="connsiteY5" fmla="*/ 3643 h 499991"/>
                  <a:gd name="connsiteX6" fmla="*/ 499520 w 500279"/>
                  <a:gd name="connsiteY6" fmla="*/ 489609 h 499991"/>
                  <a:gd name="connsiteX7" fmla="*/ 499235 w 500279"/>
                  <a:gd name="connsiteY7" fmla="*/ 496562 h 499991"/>
                  <a:gd name="connsiteX8" fmla="*/ 493139 w 500279"/>
                  <a:gd name="connsiteY8" fmla="*/ 499991 h 499991"/>
                  <a:gd name="connsiteX9" fmla="*/ 18698 w 500279"/>
                  <a:gd name="connsiteY9" fmla="*/ 485704 h 499991"/>
                  <a:gd name="connsiteX10" fmla="*/ 481613 w 500279"/>
                  <a:gd name="connsiteY10" fmla="*/ 485704 h 499991"/>
                  <a:gd name="connsiteX11" fmla="*/ 250156 w 500279"/>
                  <a:gd name="connsiteY11" fmla="*/ 22789 h 499991"/>
                  <a:gd name="connsiteX12" fmla="*/ 18698 w 500279"/>
                  <a:gd name="connsiteY12" fmla="*/ 485704 h 4999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79" h="499991">
                    <a:moveTo>
                      <a:pt x="493139" y="499991"/>
                    </a:moveTo>
                    <a:lnTo>
                      <a:pt x="7173" y="499991"/>
                    </a:lnTo>
                    <a:cubicBezTo>
                      <a:pt x="4697" y="499991"/>
                      <a:pt x="2411" y="498753"/>
                      <a:pt x="1077" y="496562"/>
                    </a:cubicBezTo>
                    <a:cubicBezTo>
                      <a:pt x="-256" y="494467"/>
                      <a:pt x="-352" y="491800"/>
                      <a:pt x="791" y="489609"/>
                    </a:cubicBezTo>
                    <a:lnTo>
                      <a:pt x="243774" y="3643"/>
                    </a:lnTo>
                    <a:cubicBezTo>
                      <a:pt x="246155" y="-1214"/>
                      <a:pt x="254156" y="-1214"/>
                      <a:pt x="256538" y="3643"/>
                    </a:cubicBezTo>
                    <a:lnTo>
                      <a:pt x="499520" y="489609"/>
                    </a:lnTo>
                    <a:cubicBezTo>
                      <a:pt x="500663" y="491800"/>
                      <a:pt x="500473" y="494467"/>
                      <a:pt x="499235" y="496562"/>
                    </a:cubicBezTo>
                    <a:cubicBezTo>
                      <a:pt x="497901" y="498753"/>
                      <a:pt x="495615" y="499991"/>
                      <a:pt x="493139" y="499991"/>
                    </a:cubicBezTo>
                    <a:close/>
                    <a:moveTo>
                      <a:pt x="18698" y="485704"/>
                    </a:moveTo>
                    <a:lnTo>
                      <a:pt x="481613" y="485704"/>
                    </a:lnTo>
                    <a:lnTo>
                      <a:pt x="250156" y="22789"/>
                    </a:lnTo>
                    <a:lnTo>
                      <a:pt x="18698" y="48570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275" name="Grafik 3862">
                <a:extLst>
                  <a:ext uri="{FF2B5EF4-FFF2-40B4-BE49-F238E27FC236}">
                    <a16:creationId xmlns:a16="http://schemas.microsoft.com/office/drawing/2014/main" id="{06595D26-DBAA-44F6-F37D-6CABC9616B90}"/>
                  </a:ext>
                </a:extLst>
              </p:cNvPr>
              <p:cNvGrpSpPr/>
              <p:nvPr/>
            </p:nvGrpSpPr>
            <p:grpSpPr bwMode="gray">
              <a:xfrm>
                <a:off x="6017608" y="3464718"/>
                <a:ext cx="152304" cy="111347"/>
                <a:chOff x="6017608" y="3464718"/>
                <a:chExt cx="152304" cy="111347"/>
              </a:xfrm>
              <a:grpFill/>
            </p:grpSpPr>
            <p:sp>
              <p:nvSpPr>
                <p:cNvPr id="276" name="Grafik 3862">
                  <a:extLst>
                    <a:ext uri="{FF2B5EF4-FFF2-40B4-BE49-F238E27FC236}">
                      <a16:creationId xmlns:a16="http://schemas.microsoft.com/office/drawing/2014/main" id="{C2039028-BCE6-4D86-B152-D2E0A10FEC89}"/>
                    </a:ext>
                  </a:extLst>
                </p:cNvPr>
                <p:cNvSpPr/>
                <p:nvPr/>
              </p:nvSpPr>
              <p:spPr bwMode="gray">
                <a:xfrm>
                  <a:off x="6128003" y="3529298"/>
                  <a:ext cx="41909" cy="14287"/>
                </a:xfrm>
                <a:custGeom>
                  <a:avLst/>
                  <a:gdLst>
                    <a:gd name="connsiteX0" fmla="*/ 34766 w 41909"/>
                    <a:gd name="connsiteY0" fmla="*/ 14288 h 14287"/>
                    <a:gd name="connsiteX1" fmla="*/ 7144 w 41909"/>
                    <a:gd name="connsiteY1" fmla="*/ 14288 h 14287"/>
                    <a:gd name="connsiteX2" fmla="*/ 0 w 41909"/>
                    <a:gd name="connsiteY2" fmla="*/ 7144 h 14287"/>
                    <a:gd name="connsiteX3" fmla="*/ 7144 w 41909"/>
                    <a:gd name="connsiteY3" fmla="*/ 0 h 14287"/>
                    <a:gd name="connsiteX4" fmla="*/ 34766 w 41909"/>
                    <a:gd name="connsiteY4" fmla="*/ 0 h 14287"/>
                    <a:gd name="connsiteX5" fmla="*/ 41910 w 41909"/>
                    <a:gd name="connsiteY5" fmla="*/ 7144 h 14287"/>
                    <a:gd name="connsiteX6" fmla="*/ 34766 w 4190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1909" h="14287">
                      <a:moveTo>
                        <a:pt x="3476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4766" y="0"/>
                      </a:lnTo>
                      <a:cubicBezTo>
                        <a:pt x="38671" y="0"/>
                        <a:pt x="41910" y="3239"/>
                        <a:pt x="41910" y="7144"/>
                      </a:cubicBezTo>
                      <a:cubicBezTo>
                        <a:pt x="41910" y="11049"/>
                        <a:pt x="38671" y="14288"/>
                        <a:pt x="3476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77" name="Grafik 3862">
                  <a:extLst>
                    <a:ext uri="{FF2B5EF4-FFF2-40B4-BE49-F238E27FC236}">
                      <a16:creationId xmlns:a16="http://schemas.microsoft.com/office/drawing/2014/main" id="{EE390EE3-A650-7BBA-6C60-C82E150D6F18}"/>
                    </a:ext>
                  </a:extLst>
                </p:cNvPr>
                <p:cNvSpPr/>
                <p:nvPr/>
              </p:nvSpPr>
              <p:spPr bwMode="gray">
                <a:xfrm>
                  <a:off x="6090855" y="3464718"/>
                  <a:ext cx="79057" cy="111347"/>
                </a:xfrm>
                <a:custGeom>
                  <a:avLst/>
                  <a:gdLst>
                    <a:gd name="connsiteX0" fmla="*/ 39529 w 79057"/>
                    <a:gd name="connsiteY0" fmla="*/ 111347 h 111347"/>
                    <a:gd name="connsiteX1" fmla="*/ 0 w 79057"/>
                    <a:gd name="connsiteY1" fmla="*/ 71819 h 111347"/>
                    <a:gd name="connsiteX2" fmla="*/ 0 w 79057"/>
                    <a:gd name="connsiteY2" fmla="*/ 39529 h 111347"/>
                    <a:gd name="connsiteX3" fmla="*/ 39529 w 79057"/>
                    <a:gd name="connsiteY3" fmla="*/ 0 h 111347"/>
                    <a:gd name="connsiteX4" fmla="*/ 79057 w 79057"/>
                    <a:gd name="connsiteY4" fmla="*/ 39529 h 111347"/>
                    <a:gd name="connsiteX5" fmla="*/ 71914 w 79057"/>
                    <a:gd name="connsiteY5" fmla="*/ 46673 h 111347"/>
                    <a:gd name="connsiteX6" fmla="*/ 64770 w 79057"/>
                    <a:gd name="connsiteY6" fmla="*/ 39529 h 111347"/>
                    <a:gd name="connsiteX7" fmla="*/ 39529 w 79057"/>
                    <a:gd name="connsiteY7" fmla="*/ 14288 h 111347"/>
                    <a:gd name="connsiteX8" fmla="*/ 14288 w 79057"/>
                    <a:gd name="connsiteY8" fmla="*/ 39529 h 111347"/>
                    <a:gd name="connsiteX9" fmla="*/ 14288 w 79057"/>
                    <a:gd name="connsiteY9" fmla="*/ 71819 h 111347"/>
                    <a:gd name="connsiteX10" fmla="*/ 39529 w 79057"/>
                    <a:gd name="connsiteY10" fmla="*/ 97060 h 111347"/>
                    <a:gd name="connsiteX11" fmla="*/ 64770 w 79057"/>
                    <a:gd name="connsiteY11" fmla="*/ 71819 h 111347"/>
                    <a:gd name="connsiteX12" fmla="*/ 71914 w 79057"/>
                    <a:gd name="connsiteY12" fmla="*/ 64675 h 111347"/>
                    <a:gd name="connsiteX13" fmla="*/ 79057 w 79057"/>
                    <a:gd name="connsiteY13" fmla="*/ 71819 h 111347"/>
                    <a:gd name="connsiteX14" fmla="*/ 39529 w 79057"/>
                    <a:gd name="connsiteY14" fmla="*/ 111347 h 1113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79057" h="111347">
                      <a:moveTo>
                        <a:pt x="39529" y="111347"/>
                      </a:moveTo>
                      <a:cubicBezTo>
                        <a:pt x="17717" y="111347"/>
                        <a:pt x="0" y="93631"/>
                        <a:pt x="0" y="71819"/>
                      </a:cubicBezTo>
                      <a:lnTo>
                        <a:pt x="0" y="39529"/>
                      </a:lnTo>
                      <a:cubicBezTo>
                        <a:pt x="0" y="17717"/>
                        <a:pt x="17717" y="0"/>
                        <a:pt x="39529" y="0"/>
                      </a:cubicBezTo>
                      <a:cubicBezTo>
                        <a:pt x="61341" y="0"/>
                        <a:pt x="79057" y="17717"/>
                        <a:pt x="79057" y="39529"/>
                      </a:cubicBezTo>
                      <a:cubicBezTo>
                        <a:pt x="79057" y="43434"/>
                        <a:pt x="75819" y="46673"/>
                        <a:pt x="71914" y="46673"/>
                      </a:cubicBezTo>
                      <a:cubicBezTo>
                        <a:pt x="68008" y="46673"/>
                        <a:pt x="64770" y="43434"/>
                        <a:pt x="64770" y="39529"/>
                      </a:cubicBezTo>
                      <a:cubicBezTo>
                        <a:pt x="64770" y="25622"/>
                        <a:pt x="53435" y="14288"/>
                        <a:pt x="39529" y="14288"/>
                      </a:cubicBezTo>
                      <a:cubicBezTo>
                        <a:pt x="25622" y="14288"/>
                        <a:pt x="14288" y="25622"/>
                        <a:pt x="14288" y="39529"/>
                      </a:cubicBezTo>
                      <a:lnTo>
                        <a:pt x="14288" y="71819"/>
                      </a:lnTo>
                      <a:cubicBezTo>
                        <a:pt x="14288" y="85725"/>
                        <a:pt x="25622" y="97060"/>
                        <a:pt x="39529" y="97060"/>
                      </a:cubicBezTo>
                      <a:cubicBezTo>
                        <a:pt x="53435" y="97060"/>
                        <a:pt x="64770" y="85725"/>
                        <a:pt x="64770" y="71819"/>
                      </a:cubicBezTo>
                      <a:cubicBezTo>
                        <a:pt x="64770" y="67913"/>
                        <a:pt x="68008" y="64675"/>
                        <a:pt x="71914" y="64675"/>
                      </a:cubicBezTo>
                      <a:cubicBezTo>
                        <a:pt x="75819" y="64675"/>
                        <a:pt x="79057" y="67913"/>
                        <a:pt x="79057" y="71819"/>
                      </a:cubicBezTo>
                      <a:cubicBezTo>
                        <a:pt x="79057" y="93536"/>
                        <a:pt x="61341" y="111347"/>
                        <a:pt x="39529" y="1113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78" name="Grafik 3862">
                  <a:extLst>
                    <a:ext uri="{FF2B5EF4-FFF2-40B4-BE49-F238E27FC236}">
                      <a16:creationId xmlns:a16="http://schemas.microsoft.com/office/drawing/2014/main" id="{2106C7B9-6552-95EC-45A5-4CC573CE707A}"/>
                    </a:ext>
                  </a:extLst>
                </p:cNvPr>
                <p:cNvSpPr/>
                <p:nvPr/>
              </p:nvSpPr>
              <p:spPr bwMode="gray">
                <a:xfrm>
                  <a:off x="6017608" y="3464718"/>
                  <a:ext cx="62865" cy="111347"/>
                </a:xfrm>
                <a:custGeom>
                  <a:avLst/>
                  <a:gdLst>
                    <a:gd name="connsiteX0" fmla="*/ 55721 w 62865"/>
                    <a:gd name="connsiteY0" fmla="*/ 111347 h 111347"/>
                    <a:gd name="connsiteX1" fmla="*/ 7144 w 62865"/>
                    <a:gd name="connsiteY1" fmla="*/ 111347 h 111347"/>
                    <a:gd name="connsiteX2" fmla="*/ 286 w 62865"/>
                    <a:gd name="connsiteY2" fmla="*/ 106108 h 111347"/>
                    <a:gd name="connsiteX3" fmla="*/ 3429 w 62865"/>
                    <a:gd name="connsiteY3" fmla="*/ 98107 h 111347"/>
                    <a:gd name="connsiteX4" fmla="*/ 48578 w 62865"/>
                    <a:gd name="connsiteY4" fmla="*/ 31432 h 111347"/>
                    <a:gd name="connsiteX5" fmla="*/ 31432 w 62865"/>
                    <a:gd name="connsiteY5" fmla="*/ 14288 h 111347"/>
                    <a:gd name="connsiteX6" fmla="*/ 14288 w 62865"/>
                    <a:gd name="connsiteY6" fmla="*/ 31432 h 111347"/>
                    <a:gd name="connsiteX7" fmla="*/ 7144 w 62865"/>
                    <a:gd name="connsiteY7" fmla="*/ 38576 h 111347"/>
                    <a:gd name="connsiteX8" fmla="*/ 0 w 62865"/>
                    <a:gd name="connsiteY8" fmla="*/ 31432 h 111347"/>
                    <a:gd name="connsiteX9" fmla="*/ 31432 w 62865"/>
                    <a:gd name="connsiteY9" fmla="*/ 0 h 111347"/>
                    <a:gd name="connsiteX10" fmla="*/ 62865 w 62865"/>
                    <a:gd name="connsiteY10" fmla="*/ 31432 h 111347"/>
                    <a:gd name="connsiteX11" fmla="*/ 28194 w 62865"/>
                    <a:gd name="connsiteY11" fmla="*/ 97060 h 111347"/>
                    <a:gd name="connsiteX12" fmla="*/ 55721 w 62865"/>
                    <a:gd name="connsiteY12" fmla="*/ 97060 h 111347"/>
                    <a:gd name="connsiteX13" fmla="*/ 62865 w 62865"/>
                    <a:gd name="connsiteY13" fmla="*/ 104203 h 111347"/>
                    <a:gd name="connsiteX14" fmla="*/ 55721 w 62865"/>
                    <a:gd name="connsiteY14" fmla="*/ 111347 h 1113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62865" h="111347">
                      <a:moveTo>
                        <a:pt x="55721" y="111347"/>
                      </a:moveTo>
                      <a:lnTo>
                        <a:pt x="7144" y="111347"/>
                      </a:lnTo>
                      <a:cubicBezTo>
                        <a:pt x="3905" y="111347"/>
                        <a:pt x="1143" y="109252"/>
                        <a:pt x="286" y="106108"/>
                      </a:cubicBezTo>
                      <a:cubicBezTo>
                        <a:pt x="-572" y="103061"/>
                        <a:pt x="667" y="99727"/>
                        <a:pt x="3429" y="98107"/>
                      </a:cubicBezTo>
                      <a:cubicBezTo>
                        <a:pt x="3905" y="97822"/>
                        <a:pt x="48578" y="69914"/>
                        <a:pt x="48578" y="31432"/>
                      </a:cubicBezTo>
                      <a:cubicBezTo>
                        <a:pt x="48578" y="22003"/>
                        <a:pt x="40862" y="14288"/>
                        <a:pt x="31432" y="14288"/>
                      </a:cubicBezTo>
                      <a:cubicBezTo>
                        <a:pt x="22003" y="14288"/>
                        <a:pt x="14288" y="22003"/>
                        <a:pt x="14288" y="31432"/>
                      </a:cubicBezTo>
                      <a:cubicBezTo>
                        <a:pt x="14288" y="35338"/>
                        <a:pt x="11049" y="38576"/>
                        <a:pt x="7144" y="38576"/>
                      </a:cubicBezTo>
                      <a:cubicBezTo>
                        <a:pt x="3239" y="38576"/>
                        <a:pt x="0" y="35338"/>
                        <a:pt x="0" y="31432"/>
                      </a:cubicBezTo>
                      <a:cubicBezTo>
                        <a:pt x="0" y="14097"/>
                        <a:pt x="14097" y="0"/>
                        <a:pt x="31432" y="0"/>
                      </a:cubicBezTo>
                      <a:cubicBezTo>
                        <a:pt x="48768" y="0"/>
                        <a:pt x="62865" y="14097"/>
                        <a:pt x="62865" y="31432"/>
                      </a:cubicBezTo>
                      <a:cubicBezTo>
                        <a:pt x="62865" y="60579"/>
                        <a:pt x="43339" y="83534"/>
                        <a:pt x="28194" y="97060"/>
                      </a:cubicBezTo>
                      <a:lnTo>
                        <a:pt x="55721" y="97060"/>
                      </a:lnTo>
                      <a:cubicBezTo>
                        <a:pt x="59627" y="97060"/>
                        <a:pt x="62865" y="100298"/>
                        <a:pt x="62865" y="104203"/>
                      </a:cubicBezTo>
                      <a:cubicBezTo>
                        <a:pt x="62865" y="108109"/>
                        <a:pt x="59627" y="111347"/>
                        <a:pt x="55721" y="1113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273" name="Grafik 3862">
              <a:extLst>
                <a:ext uri="{FF2B5EF4-FFF2-40B4-BE49-F238E27FC236}">
                  <a16:creationId xmlns:a16="http://schemas.microsoft.com/office/drawing/2014/main" id="{DBAF4E8F-F5D1-5C08-E640-426ABA7F97AA}"/>
                </a:ext>
              </a:extLst>
            </p:cNvPr>
            <p:cNvSpPr/>
            <p:nvPr/>
          </p:nvSpPr>
          <p:spPr bwMode="gray">
            <a:xfrm>
              <a:off x="5843587" y="318135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9525" h="9525"/>
              </a:pathLst>
            </a:custGeom>
            <a:grpFill/>
            <a:ln w="14288" cap="rnd">
              <a:solidFill>
                <a:srgbClr val="FF000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79" name="Grafik 3864">
            <a:extLst>
              <a:ext uri="{FF2B5EF4-FFF2-40B4-BE49-F238E27FC236}">
                <a16:creationId xmlns:a16="http://schemas.microsoft.com/office/drawing/2014/main" id="{BAB8709F-2A68-9B50-A25F-FD776F997DB2}"/>
              </a:ext>
            </a:extLst>
          </p:cNvPr>
          <p:cNvGrpSpPr/>
          <p:nvPr/>
        </p:nvGrpSpPr>
        <p:grpSpPr bwMode="gray">
          <a:xfrm>
            <a:off x="2724270" y="4551232"/>
            <a:ext cx="374400" cy="374400"/>
            <a:chOff x="5843557" y="3181326"/>
            <a:chExt cx="500279" cy="499991"/>
          </a:xfrm>
          <a:solidFill>
            <a:schemeClr val="tx1"/>
          </a:solidFill>
        </p:grpSpPr>
        <p:sp>
          <p:nvSpPr>
            <p:cNvPr id="280" name="Grafik 3864">
              <a:extLst>
                <a:ext uri="{FF2B5EF4-FFF2-40B4-BE49-F238E27FC236}">
                  <a16:creationId xmlns:a16="http://schemas.microsoft.com/office/drawing/2014/main" id="{1F8DE5B0-60E4-A340-3CA5-84944790F86E}"/>
                </a:ext>
              </a:extLst>
            </p:cNvPr>
            <p:cNvSpPr/>
            <p:nvPr/>
          </p:nvSpPr>
          <p:spPr bwMode="gray">
            <a:xfrm>
              <a:off x="5843557" y="3181326"/>
              <a:ext cx="500279" cy="499991"/>
            </a:xfrm>
            <a:custGeom>
              <a:avLst/>
              <a:gdLst>
                <a:gd name="connsiteX0" fmla="*/ 493139 w 500279"/>
                <a:gd name="connsiteY0" fmla="*/ 499991 h 499991"/>
                <a:gd name="connsiteX1" fmla="*/ 7173 w 500279"/>
                <a:gd name="connsiteY1" fmla="*/ 499991 h 499991"/>
                <a:gd name="connsiteX2" fmla="*/ 1077 w 500279"/>
                <a:gd name="connsiteY2" fmla="*/ 496562 h 499991"/>
                <a:gd name="connsiteX3" fmla="*/ 791 w 500279"/>
                <a:gd name="connsiteY3" fmla="*/ 489609 h 499991"/>
                <a:gd name="connsiteX4" fmla="*/ 243774 w 500279"/>
                <a:gd name="connsiteY4" fmla="*/ 3643 h 499991"/>
                <a:gd name="connsiteX5" fmla="*/ 256538 w 500279"/>
                <a:gd name="connsiteY5" fmla="*/ 3643 h 499991"/>
                <a:gd name="connsiteX6" fmla="*/ 499520 w 500279"/>
                <a:gd name="connsiteY6" fmla="*/ 489609 h 499991"/>
                <a:gd name="connsiteX7" fmla="*/ 499235 w 500279"/>
                <a:gd name="connsiteY7" fmla="*/ 496562 h 499991"/>
                <a:gd name="connsiteX8" fmla="*/ 493139 w 500279"/>
                <a:gd name="connsiteY8" fmla="*/ 499991 h 499991"/>
                <a:gd name="connsiteX9" fmla="*/ 18698 w 500279"/>
                <a:gd name="connsiteY9" fmla="*/ 485704 h 499991"/>
                <a:gd name="connsiteX10" fmla="*/ 481613 w 500279"/>
                <a:gd name="connsiteY10" fmla="*/ 485704 h 499991"/>
                <a:gd name="connsiteX11" fmla="*/ 250156 w 500279"/>
                <a:gd name="connsiteY11" fmla="*/ 22789 h 499991"/>
                <a:gd name="connsiteX12" fmla="*/ 18698 w 500279"/>
                <a:gd name="connsiteY12" fmla="*/ 485704 h 499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79" h="499991">
                  <a:moveTo>
                    <a:pt x="493139" y="499991"/>
                  </a:moveTo>
                  <a:lnTo>
                    <a:pt x="7173" y="499991"/>
                  </a:lnTo>
                  <a:cubicBezTo>
                    <a:pt x="4697" y="499991"/>
                    <a:pt x="2411" y="498753"/>
                    <a:pt x="1077" y="496562"/>
                  </a:cubicBezTo>
                  <a:cubicBezTo>
                    <a:pt x="-256" y="494467"/>
                    <a:pt x="-352" y="491800"/>
                    <a:pt x="791" y="489609"/>
                  </a:cubicBezTo>
                  <a:lnTo>
                    <a:pt x="243774" y="3643"/>
                  </a:lnTo>
                  <a:cubicBezTo>
                    <a:pt x="246155" y="-1214"/>
                    <a:pt x="254156" y="-1214"/>
                    <a:pt x="256538" y="3643"/>
                  </a:cubicBezTo>
                  <a:lnTo>
                    <a:pt x="499520" y="489609"/>
                  </a:lnTo>
                  <a:cubicBezTo>
                    <a:pt x="500663" y="491800"/>
                    <a:pt x="500473" y="494467"/>
                    <a:pt x="499235" y="496562"/>
                  </a:cubicBezTo>
                  <a:cubicBezTo>
                    <a:pt x="497901" y="498753"/>
                    <a:pt x="495615" y="499991"/>
                    <a:pt x="493139" y="499991"/>
                  </a:cubicBezTo>
                  <a:close/>
                  <a:moveTo>
                    <a:pt x="18698" y="485704"/>
                  </a:moveTo>
                  <a:lnTo>
                    <a:pt x="481613" y="485704"/>
                  </a:lnTo>
                  <a:lnTo>
                    <a:pt x="250156" y="22789"/>
                  </a:lnTo>
                  <a:lnTo>
                    <a:pt x="18698" y="4857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281" name="Grafik 3864">
              <a:extLst>
                <a:ext uri="{FF2B5EF4-FFF2-40B4-BE49-F238E27FC236}">
                  <a16:creationId xmlns:a16="http://schemas.microsoft.com/office/drawing/2014/main" id="{8FA80F36-D463-25B0-70FA-196CC8846192}"/>
                </a:ext>
              </a:extLst>
            </p:cNvPr>
            <p:cNvGrpSpPr/>
            <p:nvPr/>
          </p:nvGrpSpPr>
          <p:grpSpPr bwMode="gray">
            <a:xfrm>
              <a:off x="6017608" y="3464718"/>
              <a:ext cx="152304" cy="111347"/>
              <a:chOff x="6017608" y="3464718"/>
              <a:chExt cx="152304" cy="111347"/>
            </a:xfrm>
            <a:grpFill/>
          </p:grpSpPr>
          <p:sp>
            <p:nvSpPr>
              <p:cNvPr id="282" name="Grafik 3864">
                <a:extLst>
                  <a:ext uri="{FF2B5EF4-FFF2-40B4-BE49-F238E27FC236}">
                    <a16:creationId xmlns:a16="http://schemas.microsoft.com/office/drawing/2014/main" id="{B6EB3E3A-06FC-E7EE-A902-30960C389BF2}"/>
                  </a:ext>
                </a:extLst>
              </p:cNvPr>
              <p:cNvSpPr/>
              <p:nvPr/>
            </p:nvSpPr>
            <p:spPr bwMode="gray">
              <a:xfrm>
                <a:off x="6128003" y="3529298"/>
                <a:ext cx="41909" cy="14287"/>
              </a:xfrm>
              <a:custGeom>
                <a:avLst/>
                <a:gdLst>
                  <a:gd name="connsiteX0" fmla="*/ 34766 w 41909"/>
                  <a:gd name="connsiteY0" fmla="*/ 14288 h 14287"/>
                  <a:gd name="connsiteX1" fmla="*/ 7144 w 41909"/>
                  <a:gd name="connsiteY1" fmla="*/ 14288 h 14287"/>
                  <a:gd name="connsiteX2" fmla="*/ 0 w 41909"/>
                  <a:gd name="connsiteY2" fmla="*/ 7144 h 14287"/>
                  <a:gd name="connsiteX3" fmla="*/ 7144 w 41909"/>
                  <a:gd name="connsiteY3" fmla="*/ 0 h 14287"/>
                  <a:gd name="connsiteX4" fmla="*/ 34766 w 41909"/>
                  <a:gd name="connsiteY4" fmla="*/ 0 h 14287"/>
                  <a:gd name="connsiteX5" fmla="*/ 41910 w 41909"/>
                  <a:gd name="connsiteY5" fmla="*/ 7144 h 14287"/>
                  <a:gd name="connsiteX6" fmla="*/ 34766 w 41909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1909" h="14287">
                    <a:moveTo>
                      <a:pt x="34766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4766" y="0"/>
                    </a:lnTo>
                    <a:cubicBezTo>
                      <a:pt x="38671" y="0"/>
                      <a:pt x="41910" y="3239"/>
                      <a:pt x="41910" y="7144"/>
                    </a:cubicBezTo>
                    <a:cubicBezTo>
                      <a:pt x="41910" y="11049"/>
                      <a:pt x="38671" y="14288"/>
                      <a:pt x="3476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3" name="Grafik 3864">
                <a:extLst>
                  <a:ext uri="{FF2B5EF4-FFF2-40B4-BE49-F238E27FC236}">
                    <a16:creationId xmlns:a16="http://schemas.microsoft.com/office/drawing/2014/main" id="{73C7FDF3-11A7-28B1-374B-DE8CA46E1840}"/>
                  </a:ext>
                </a:extLst>
              </p:cNvPr>
              <p:cNvSpPr/>
              <p:nvPr/>
            </p:nvSpPr>
            <p:spPr bwMode="gray">
              <a:xfrm>
                <a:off x="6090855" y="3464718"/>
                <a:ext cx="79057" cy="111347"/>
              </a:xfrm>
              <a:custGeom>
                <a:avLst/>
                <a:gdLst>
                  <a:gd name="connsiteX0" fmla="*/ 39529 w 79057"/>
                  <a:gd name="connsiteY0" fmla="*/ 111347 h 111347"/>
                  <a:gd name="connsiteX1" fmla="*/ 0 w 79057"/>
                  <a:gd name="connsiteY1" fmla="*/ 71819 h 111347"/>
                  <a:gd name="connsiteX2" fmla="*/ 0 w 79057"/>
                  <a:gd name="connsiteY2" fmla="*/ 39529 h 111347"/>
                  <a:gd name="connsiteX3" fmla="*/ 39529 w 79057"/>
                  <a:gd name="connsiteY3" fmla="*/ 0 h 111347"/>
                  <a:gd name="connsiteX4" fmla="*/ 79057 w 79057"/>
                  <a:gd name="connsiteY4" fmla="*/ 39529 h 111347"/>
                  <a:gd name="connsiteX5" fmla="*/ 71914 w 79057"/>
                  <a:gd name="connsiteY5" fmla="*/ 46673 h 111347"/>
                  <a:gd name="connsiteX6" fmla="*/ 64770 w 79057"/>
                  <a:gd name="connsiteY6" fmla="*/ 39529 h 111347"/>
                  <a:gd name="connsiteX7" fmla="*/ 39529 w 79057"/>
                  <a:gd name="connsiteY7" fmla="*/ 14288 h 111347"/>
                  <a:gd name="connsiteX8" fmla="*/ 14288 w 79057"/>
                  <a:gd name="connsiteY8" fmla="*/ 39529 h 111347"/>
                  <a:gd name="connsiteX9" fmla="*/ 14288 w 79057"/>
                  <a:gd name="connsiteY9" fmla="*/ 71819 h 111347"/>
                  <a:gd name="connsiteX10" fmla="*/ 39529 w 79057"/>
                  <a:gd name="connsiteY10" fmla="*/ 97060 h 111347"/>
                  <a:gd name="connsiteX11" fmla="*/ 64770 w 79057"/>
                  <a:gd name="connsiteY11" fmla="*/ 71819 h 111347"/>
                  <a:gd name="connsiteX12" fmla="*/ 71914 w 79057"/>
                  <a:gd name="connsiteY12" fmla="*/ 64675 h 111347"/>
                  <a:gd name="connsiteX13" fmla="*/ 79057 w 79057"/>
                  <a:gd name="connsiteY13" fmla="*/ 71819 h 111347"/>
                  <a:gd name="connsiteX14" fmla="*/ 39529 w 79057"/>
                  <a:gd name="connsiteY14" fmla="*/ 111347 h 111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9057" h="111347">
                    <a:moveTo>
                      <a:pt x="39529" y="111347"/>
                    </a:moveTo>
                    <a:cubicBezTo>
                      <a:pt x="17717" y="111347"/>
                      <a:pt x="0" y="93631"/>
                      <a:pt x="0" y="71819"/>
                    </a:cubicBezTo>
                    <a:lnTo>
                      <a:pt x="0" y="39529"/>
                    </a:lnTo>
                    <a:cubicBezTo>
                      <a:pt x="0" y="17717"/>
                      <a:pt x="17717" y="0"/>
                      <a:pt x="39529" y="0"/>
                    </a:cubicBezTo>
                    <a:cubicBezTo>
                      <a:pt x="61341" y="0"/>
                      <a:pt x="79057" y="17717"/>
                      <a:pt x="79057" y="39529"/>
                    </a:cubicBezTo>
                    <a:cubicBezTo>
                      <a:pt x="79057" y="43434"/>
                      <a:pt x="75819" y="46673"/>
                      <a:pt x="71914" y="46673"/>
                    </a:cubicBezTo>
                    <a:cubicBezTo>
                      <a:pt x="68008" y="46673"/>
                      <a:pt x="64770" y="43434"/>
                      <a:pt x="64770" y="39529"/>
                    </a:cubicBezTo>
                    <a:cubicBezTo>
                      <a:pt x="64770" y="25622"/>
                      <a:pt x="53435" y="14288"/>
                      <a:pt x="39529" y="14288"/>
                    </a:cubicBezTo>
                    <a:cubicBezTo>
                      <a:pt x="25622" y="14288"/>
                      <a:pt x="14288" y="25622"/>
                      <a:pt x="14288" y="39529"/>
                    </a:cubicBezTo>
                    <a:lnTo>
                      <a:pt x="14288" y="71819"/>
                    </a:lnTo>
                    <a:cubicBezTo>
                      <a:pt x="14288" y="85725"/>
                      <a:pt x="25622" y="97060"/>
                      <a:pt x="39529" y="97060"/>
                    </a:cubicBezTo>
                    <a:cubicBezTo>
                      <a:pt x="53435" y="97060"/>
                      <a:pt x="64770" y="85725"/>
                      <a:pt x="64770" y="71819"/>
                    </a:cubicBezTo>
                    <a:cubicBezTo>
                      <a:pt x="64770" y="67913"/>
                      <a:pt x="68008" y="64675"/>
                      <a:pt x="71914" y="64675"/>
                    </a:cubicBezTo>
                    <a:cubicBezTo>
                      <a:pt x="75819" y="64675"/>
                      <a:pt x="79057" y="67913"/>
                      <a:pt x="79057" y="71819"/>
                    </a:cubicBezTo>
                    <a:cubicBezTo>
                      <a:pt x="79057" y="93536"/>
                      <a:pt x="61341" y="111347"/>
                      <a:pt x="39529" y="11134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4" name="Grafik 3864">
                <a:extLst>
                  <a:ext uri="{FF2B5EF4-FFF2-40B4-BE49-F238E27FC236}">
                    <a16:creationId xmlns:a16="http://schemas.microsoft.com/office/drawing/2014/main" id="{90C78D4A-63BA-67E1-0DAC-7751AF15F245}"/>
                  </a:ext>
                </a:extLst>
              </p:cNvPr>
              <p:cNvSpPr/>
              <p:nvPr/>
            </p:nvSpPr>
            <p:spPr bwMode="gray">
              <a:xfrm>
                <a:off x="6017608" y="3464718"/>
                <a:ext cx="62865" cy="62864"/>
              </a:xfrm>
              <a:custGeom>
                <a:avLst/>
                <a:gdLst>
                  <a:gd name="connsiteX0" fmla="*/ 31432 w 62865"/>
                  <a:gd name="connsiteY0" fmla="*/ 62865 h 62864"/>
                  <a:gd name="connsiteX1" fmla="*/ 24289 w 62865"/>
                  <a:gd name="connsiteY1" fmla="*/ 55721 h 62864"/>
                  <a:gd name="connsiteX2" fmla="*/ 31432 w 62865"/>
                  <a:gd name="connsiteY2" fmla="*/ 48577 h 62864"/>
                  <a:gd name="connsiteX3" fmla="*/ 48578 w 62865"/>
                  <a:gd name="connsiteY3" fmla="*/ 31432 h 62864"/>
                  <a:gd name="connsiteX4" fmla="*/ 31432 w 62865"/>
                  <a:gd name="connsiteY4" fmla="*/ 14288 h 62864"/>
                  <a:gd name="connsiteX5" fmla="*/ 14288 w 62865"/>
                  <a:gd name="connsiteY5" fmla="*/ 31432 h 62864"/>
                  <a:gd name="connsiteX6" fmla="*/ 7144 w 62865"/>
                  <a:gd name="connsiteY6" fmla="*/ 38576 h 62864"/>
                  <a:gd name="connsiteX7" fmla="*/ 0 w 62865"/>
                  <a:gd name="connsiteY7" fmla="*/ 31432 h 62864"/>
                  <a:gd name="connsiteX8" fmla="*/ 31432 w 62865"/>
                  <a:gd name="connsiteY8" fmla="*/ 0 h 62864"/>
                  <a:gd name="connsiteX9" fmla="*/ 62865 w 62865"/>
                  <a:gd name="connsiteY9" fmla="*/ 31432 h 62864"/>
                  <a:gd name="connsiteX10" fmla="*/ 31432 w 62865"/>
                  <a:gd name="connsiteY10" fmla="*/ 62865 h 62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2865" h="62864">
                    <a:moveTo>
                      <a:pt x="31432" y="62865"/>
                    </a:moveTo>
                    <a:cubicBezTo>
                      <a:pt x="27527" y="62865"/>
                      <a:pt x="24289" y="59626"/>
                      <a:pt x="24289" y="55721"/>
                    </a:cubicBezTo>
                    <a:cubicBezTo>
                      <a:pt x="24289" y="51816"/>
                      <a:pt x="27527" y="48577"/>
                      <a:pt x="31432" y="48577"/>
                    </a:cubicBezTo>
                    <a:cubicBezTo>
                      <a:pt x="40862" y="48577"/>
                      <a:pt x="48578" y="40862"/>
                      <a:pt x="48578" y="31432"/>
                    </a:cubicBezTo>
                    <a:cubicBezTo>
                      <a:pt x="48578" y="22003"/>
                      <a:pt x="40862" y="14288"/>
                      <a:pt x="31432" y="14288"/>
                    </a:cubicBezTo>
                    <a:cubicBezTo>
                      <a:pt x="22003" y="14288"/>
                      <a:pt x="14288" y="22003"/>
                      <a:pt x="14288" y="31432"/>
                    </a:cubicBezTo>
                    <a:cubicBezTo>
                      <a:pt x="14288" y="35338"/>
                      <a:pt x="11049" y="38576"/>
                      <a:pt x="7144" y="38576"/>
                    </a:cubicBezTo>
                    <a:cubicBezTo>
                      <a:pt x="3239" y="38576"/>
                      <a:pt x="0" y="35338"/>
                      <a:pt x="0" y="31432"/>
                    </a:cubicBezTo>
                    <a:cubicBezTo>
                      <a:pt x="0" y="14097"/>
                      <a:pt x="14097" y="0"/>
                      <a:pt x="31432" y="0"/>
                    </a:cubicBezTo>
                    <a:cubicBezTo>
                      <a:pt x="48768" y="0"/>
                      <a:pt x="62865" y="14097"/>
                      <a:pt x="62865" y="31432"/>
                    </a:cubicBezTo>
                    <a:cubicBezTo>
                      <a:pt x="62865" y="48768"/>
                      <a:pt x="48768" y="62865"/>
                      <a:pt x="31432" y="628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5" name="Grafik 3864">
                <a:extLst>
                  <a:ext uri="{FF2B5EF4-FFF2-40B4-BE49-F238E27FC236}">
                    <a16:creationId xmlns:a16="http://schemas.microsoft.com/office/drawing/2014/main" id="{9BB4FF58-7B89-5954-20BA-74E640C9B9B3}"/>
                  </a:ext>
                </a:extLst>
              </p:cNvPr>
              <p:cNvSpPr/>
              <p:nvPr/>
            </p:nvSpPr>
            <p:spPr bwMode="gray">
              <a:xfrm>
                <a:off x="6017608" y="3513201"/>
                <a:ext cx="62865" cy="62864"/>
              </a:xfrm>
              <a:custGeom>
                <a:avLst/>
                <a:gdLst>
                  <a:gd name="connsiteX0" fmla="*/ 31432 w 62865"/>
                  <a:gd name="connsiteY0" fmla="*/ 62865 h 62864"/>
                  <a:gd name="connsiteX1" fmla="*/ 0 w 62865"/>
                  <a:gd name="connsiteY1" fmla="*/ 31432 h 62864"/>
                  <a:gd name="connsiteX2" fmla="*/ 7144 w 62865"/>
                  <a:gd name="connsiteY2" fmla="*/ 24289 h 62864"/>
                  <a:gd name="connsiteX3" fmla="*/ 14288 w 62865"/>
                  <a:gd name="connsiteY3" fmla="*/ 31432 h 62864"/>
                  <a:gd name="connsiteX4" fmla="*/ 31432 w 62865"/>
                  <a:gd name="connsiteY4" fmla="*/ 48577 h 62864"/>
                  <a:gd name="connsiteX5" fmla="*/ 48578 w 62865"/>
                  <a:gd name="connsiteY5" fmla="*/ 31432 h 62864"/>
                  <a:gd name="connsiteX6" fmla="*/ 31432 w 62865"/>
                  <a:gd name="connsiteY6" fmla="*/ 14288 h 62864"/>
                  <a:gd name="connsiteX7" fmla="*/ 24289 w 62865"/>
                  <a:gd name="connsiteY7" fmla="*/ 7144 h 62864"/>
                  <a:gd name="connsiteX8" fmla="*/ 31432 w 62865"/>
                  <a:gd name="connsiteY8" fmla="*/ 0 h 62864"/>
                  <a:gd name="connsiteX9" fmla="*/ 62865 w 62865"/>
                  <a:gd name="connsiteY9" fmla="*/ 31432 h 62864"/>
                  <a:gd name="connsiteX10" fmla="*/ 31432 w 62865"/>
                  <a:gd name="connsiteY10" fmla="*/ 62865 h 62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2865" h="62864">
                    <a:moveTo>
                      <a:pt x="31432" y="62865"/>
                    </a:moveTo>
                    <a:cubicBezTo>
                      <a:pt x="14097" y="62865"/>
                      <a:pt x="0" y="48768"/>
                      <a:pt x="0" y="31432"/>
                    </a:cubicBezTo>
                    <a:cubicBezTo>
                      <a:pt x="0" y="27527"/>
                      <a:pt x="3239" y="24289"/>
                      <a:pt x="7144" y="24289"/>
                    </a:cubicBezTo>
                    <a:cubicBezTo>
                      <a:pt x="11049" y="24289"/>
                      <a:pt x="14288" y="27527"/>
                      <a:pt x="14288" y="31432"/>
                    </a:cubicBezTo>
                    <a:cubicBezTo>
                      <a:pt x="14288" y="40862"/>
                      <a:pt x="22003" y="48577"/>
                      <a:pt x="31432" y="48577"/>
                    </a:cubicBezTo>
                    <a:cubicBezTo>
                      <a:pt x="40862" y="48577"/>
                      <a:pt x="48578" y="40862"/>
                      <a:pt x="48578" y="31432"/>
                    </a:cubicBezTo>
                    <a:cubicBezTo>
                      <a:pt x="48578" y="22003"/>
                      <a:pt x="40862" y="14288"/>
                      <a:pt x="31432" y="14288"/>
                    </a:cubicBezTo>
                    <a:cubicBezTo>
                      <a:pt x="27527" y="14288"/>
                      <a:pt x="24289" y="11049"/>
                      <a:pt x="24289" y="7144"/>
                    </a:cubicBezTo>
                    <a:cubicBezTo>
                      <a:pt x="24289" y="3239"/>
                      <a:pt x="27527" y="0"/>
                      <a:pt x="31432" y="0"/>
                    </a:cubicBezTo>
                    <a:cubicBezTo>
                      <a:pt x="48768" y="0"/>
                      <a:pt x="62865" y="14097"/>
                      <a:pt x="62865" y="31432"/>
                    </a:cubicBezTo>
                    <a:cubicBezTo>
                      <a:pt x="62865" y="48768"/>
                      <a:pt x="48768" y="62865"/>
                      <a:pt x="31432" y="628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86" name="Grafik 3866">
            <a:extLst>
              <a:ext uri="{FF2B5EF4-FFF2-40B4-BE49-F238E27FC236}">
                <a16:creationId xmlns:a16="http://schemas.microsoft.com/office/drawing/2014/main" id="{D23362FD-0FDE-84FD-42DF-66CEC3B6DC66}"/>
              </a:ext>
            </a:extLst>
          </p:cNvPr>
          <p:cNvGrpSpPr/>
          <p:nvPr/>
        </p:nvGrpSpPr>
        <p:grpSpPr bwMode="gray">
          <a:xfrm>
            <a:off x="2724270" y="5083519"/>
            <a:ext cx="374400" cy="374400"/>
            <a:chOff x="5843557" y="3181326"/>
            <a:chExt cx="500279" cy="499991"/>
          </a:xfrm>
          <a:solidFill>
            <a:schemeClr val="tx1"/>
          </a:solidFill>
        </p:grpSpPr>
        <p:sp>
          <p:nvSpPr>
            <p:cNvPr id="287" name="Grafik 3866">
              <a:extLst>
                <a:ext uri="{FF2B5EF4-FFF2-40B4-BE49-F238E27FC236}">
                  <a16:creationId xmlns:a16="http://schemas.microsoft.com/office/drawing/2014/main" id="{7FA0CDBF-23AF-0392-3210-A5111B9A242E}"/>
                </a:ext>
              </a:extLst>
            </p:cNvPr>
            <p:cNvSpPr/>
            <p:nvPr/>
          </p:nvSpPr>
          <p:spPr bwMode="gray">
            <a:xfrm>
              <a:off x="5843557" y="3181326"/>
              <a:ext cx="500279" cy="499991"/>
            </a:xfrm>
            <a:custGeom>
              <a:avLst/>
              <a:gdLst>
                <a:gd name="connsiteX0" fmla="*/ 493139 w 500279"/>
                <a:gd name="connsiteY0" fmla="*/ 499991 h 499991"/>
                <a:gd name="connsiteX1" fmla="*/ 7173 w 500279"/>
                <a:gd name="connsiteY1" fmla="*/ 499991 h 499991"/>
                <a:gd name="connsiteX2" fmla="*/ 1077 w 500279"/>
                <a:gd name="connsiteY2" fmla="*/ 496562 h 499991"/>
                <a:gd name="connsiteX3" fmla="*/ 791 w 500279"/>
                <a:gd name="connsiteY3" fmla="*/ 489609 h 499991"/>
                <a:gd name="connsiteX4" fmla="*/ 243774 w 500279"/>
                <a:gd name="connsiteY4" fmla="*/ 3643 h 499991"/>
                <a:gd name="connsiteX5" fmla="*/ 256538 w 500279"/>
                <a:gd name="connsiteY5" fmla="*/ 3643 h 499991"/>
                <a:gd name="connsiteX6" fmla="*/ 499520 w 500279"/>
                <a:gd name="connsiteY6" fmla="*/ 489609 h 499991"/>
                <a:gd name="connsiteX7" fmla="*/ 499235 w 500279"/>
                <a:gd name="connsiteY7" fmla="*/ 496562 h 499991"/>
                <a:gd name="connsiteX8" fmla="*/ 493139 w 500279"/>
                <a:gd name="connsiteY8" fmla="*/ 499991 h 499991"/>
                <a:gd name="connsiteX9" fmla="*/ 18698 w 500279"/>
                <a:gd name="connsiteY9" fmla="*/ 485704 h 499991"/>
                <a:gd name="connsiteX10" fmla="*/ 481613 w 500279"/>
                <a:gd name="connsiteY10" fmla="*/ 485704 h 499991"/>
                <a:gd name="connsiteX11" fmla="*/ 250156 w 500279"/>
                <a:gd name="connsiteY11" fmla="*/ 22789 h 499991"/>
                <a:gd name="connsiteX12" fmla="*/ 18698 w 500279"/>
                <a:gd name="connsiteY12" fmla="*/ 485704 h 499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79" h="499991">
                  <a:moveTo>
                    <a:pt x="493139" y="499991"/>
                  </a:moveTo>
                  <a:lnTo>
                    <a:pt x="7173" y="499991"/>
                  </a:lnTo>
                  <a:cubicBezTo>
                    <a:pt x="4697" y="499991"/>
                    <a:pt x="2411" y="498753"/>
                    <a:pt x="1077" y="496562"/>
                  </a:cubicBezTo>
                  <a:cubicBezTo>
                    <a:pt x="-256" y="494467"/>
                    <a:pt x="-352" y="491800"/>
                    <a:pt x="791" y="489609"/>
                  </a:cubicBezTo>
                  <a:lnTo>
                    <a:pt x="243774" y="3643"/>
                  </a:lnTo>
                  <a:cubicBezTo>
                    <a:pt x="246155" y="-1214"/>
                    <a:pt x="254156" y="-1214"/>
                    <a:pt x="256538" y="3643"/>
                  </a:cubicBezTo>
                  <a:lnTo>
                    <a:pt x="499520" y="489609"/>
                  </a:lnTo>
                  <a:cubicBezTo>
                    <a:pt x="500663" y="491800"/>
                    <a:pt x="500473" y="494467"/>
                    <a:pt x="499235" y="496562"/>
                  </a:cubicBezTo>
                  <a:cubicBezTo>
                    <a:pt x="497901" y="498753"/>
                    <a:pt x="495615" y="499991"/>
                    <a:pt x="493139" y="499991"/>
                  </a:cubicBezTo>
                  <a:close/>
                  <a:moveTo>
                    <a:pt x="18698" y="485704"/>
                  </a:moveTo>
                  <a:lnTo>
                    <a:pt x="481613" y="485704"/>
                  </a:lnTo>
                  <a:lnTo>
                    <a:pt x="250156" y="22789"/>
                  </a:lnTo>
                  <a:lnTo>
                    <a:pt x="18698" y="4857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8" name="Grafik 3866">
              <a:extLst>
                <a:ext uri="{FF2B5EF4-FFF2-40B4-BE49-F238E27FC236}">
                  <a16:creationId xmlns:a16="http://schemas.microsoft.com/office/drawing/2014/main" id="{8E5D22B0-C271-9954-B290-A0AA09D0B766}"/>
                </a:ext>
              </a:extLst>
            </p:cNvPr>
            <p:cNvSpPr/>
            <p:nvPr/>
          </p:nvSpPr>
          <p:spPr bwMode="gray">
            <a:xfrm>
              <a:off x="6123241" y="3464718"/>
              <a:ext cx="46672" cy="46672"/>
            </a:xfrm>
            <a:custGeom>
              <a:avLst/>
              <a:gdLst>
                <a:gd name="connsiteX0" fmla="*/ 39529 w 46672"/>
                <a:gd name="connsiteY0" fmla="*/ 46673 h 46672"/>
                <a:gd name="connsiteX1" fmla="*/ 32385 w 46672"/>
                <a:gd name="connsiteY1" fmla="*/ 39529 h 46672"/>
                <a:gd name="connsiteX2" fmla="*/ 7144 w 46672"/>
                <a:gd name="connsiteY2" fmla="*/ 14288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46672 w 46672"/>
                <a:gd name="connsiteY5" fmla="*/ 39529 h 46672"/>
                <a:gd name="connsiteX6" fmla="*/ 39529 w 46672"/>
                <a:gd name="connsiteY6" fmla="*/ 46673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672" h="46672">
                  <a:moveTo>
                    <a:pt x="39529" y="46673"/>
                  </a:moveTo>
                  <a:cubicBezTo>
                    <a:pt x="35623" y="46673"/>
                    <a:pt x="32385" y="43434"/>
                    <a:pt x="32385" y="39529"/>
                  </a:cubicBezTo>
                  <a:cubicBezTo>
                    <a:pt x="32385" y="25622"/>
                    <a:pt x="21050" y="14288"/>
                    <a:pt x="7144" y="14288"/>
                  </a:cubicBez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239" y="0"/>
                    <a:pt x="7144" y="0"/>
                  </a:cubicBezTo>
                  <a:cubicBezTo>
                    <a:pt x="28956" y="0"/>
                    <a:pt x="46672" y="17717"/>
                    <a:pt x="46672" y="39529"/>
                  </a:cubicBezTo>
                  <a:cubicBezTo>
                    <a:pt x="46672" y="43434"/>
                    <a:pt x="43434" y="46673"/>
                    <a:pt x="39529" y="466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9" name="Grafik 3866">
              <a:extLst>
                <a:ext uri="{FF2B5EF4-FFF2-40B4-BE49-F238E27FC236}">
                  <a16:creationId xmlns:a16="http://schemas.microsoft.com/office/drawing/2014/main" id="{1BD38398-39BA-938A-AB2F-2B9BBEE4EA2B}"/>
                </a:ext>
              </a:extLst>
            </p:cNvPr>
            <p:cNvSpPr/>
            <p:nvPr/>
          </p:nvSpPr>
          <p:spPr bwMode="gray">
            <a:xfrm>
              <a:off x="6090855" y="3464718"/>
              <a:ext cx="79057" cy="111347"/>
            </a:xfrm>
            <a:custGeom>
              <a:avLst/>
              <a:gdLst>
                <a:gd name="connsiteX0" fmla="*/ 39529 w 79057"/>
                <a:gd name="connsiteY0" fmla="*/ 111347 h 111347"/>
                <a:gd name="connsiteX1" fmla="*/ 0 w 79057"/>
                <a:gd name="connsiteY1" fmla="*/ 71819 h 111347"/>
                <a:gd name="connsiteX2" fmla="*/ 0 w 79057"/>
                <a:gd name="connsiteY2" fmla="*/ 39529 h 111347"/>
                <a:gd name="connsiteX3" fmla="*/ 39529 w 79057"/>
                <a:gd name="connsiteY3" fmla="*/ 0 h 111347"/>
                <a:gd name="connsiteX4" fmla="*/ 46673 w 79057"/>
                <a:gd name="connsiteY4" fmla="*/ 7144 h 111347"/>
                <a:gd name="connsiteX5" fmla="*/ 39529 w 79057"/>
                <a:gd name="connsiteY5" fmla="*/ 14288 h 111347"/>
                <a:gd name="connsiteX6" fmla="*/ 14288 w 79057"/>
                <a:gd name="connsiteY6" fmla="*/ 39529 h 111347"/>
                <a:gd name="connsiteX7" fmla="*/ 14288 w 79057"/>
                <a:gd name="connsiteY7" fmla="*/ 71819 h 111347"/>
                <a:gd name="connsiteX8" fmla="*/ 39529 w 79057"/>
                <a:gd name="connsiteY8" fmla="*/ 97060 h 111347"/>
                <a:gd name="connsiteX9" fmla="*/ 64770 w 79057"/>
                <a:gd name="connsiteY9" fmla="*/ 71819 h 111347"/>
                <a:gd name="connsiteX10" fmla="*/ 71914 w 79057"/>
                <a:gd name="connsiteY10" fmla="*/ 64675 h 111347"/>
                <a:gd name="connsiteX11" fmla="*/ 79057 w 79057"/>
                <a:gd name="connsiteY11" fmla="*/ 71819 h 111347"/>
                <a:gd name="connsiteX12" fmla="*/ 39529 w 79057"/>
                <a:gd name="connsiteY12" fmla="*/ 111347 h 111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9057" h="111347">
                  <a:moveTo>
                    <a:pt x="39529" y="111347"/>
                  </a:moveTo>
                  <a:cubicBezTo>
                    <a:pt x="17717" y="111347"/>
                    <a:pt x="0" y="93631"/>
                    <a:pt x="0" y="71819"/>
                  </a:cubicBezTo>
                  <a:lnTo>
                    <a:pt x="0" y="39529"/>
                  </a:lnTo>
                  <a:cubicBezTo>
                    <a:pt x="0" y="17717"/>
                    <a:pt x="17717" y="0"/>
                    <a:pt x="39529" y="0"/>
                  </a:cubicBezTo>
                  <a:cubicBezTo>
                    <a:pt x="43434" y="0"/>
                    <a:pt x="46673" y="3239"/>
                    <a:pt x="46673" y="7144"/>
                  </a:cubicBezTo>
                  <a:cubicBezTo>
                    <a:pt x="46673" y="11049"/>
                    <a:pt x="43434" y="14288"/>
                    <a:pt x="39529" y="14288"/>
                  </a:cubicBezTo>
                  <a:cubicBezTo>
                    <a:pt x="25622" y="14288"/>
                    <a:pt x="14288" y="25622"/>
                    <a:pt x="14288" y="39529"/>
                  </a:cubicBezTo>
                  <a:lnTo>
                    <a:pt x="14288" y="71819"/>
                  </a:lnTo>
                  <a:cubicBezTo>
                    <a:pt x="14288" y="85725"/>
                    <a:pt x="25622" y="97060"/>
                    <a:pt x="39529" y="97060"/>
                  </a:cubicBezTo>
                  <a:cubicBezTo>
                    <a:pt x="53435" y="97060"/>
                    <a:pt x="64770" y="85725"/>
                    <a:pt x="64770" y="71819"/>
                  </a:cubicBezTo>
                  <a:cubicBezTo>
                    <a:pt x="64770" y="67913"/>
                    <a:pt x="68008" y="64675"/>
                    <a:pt x="71914" y="64675"/>
                  </a:cubicBezTo>
                  <a:cubicBezTo>
                    <a:pt x="75819" y="64675"/>
                    <a:pt x="79057" y="67913"/>
                    <a:pt x="79057" y="71819"/>
                  </a:cubicBezTo>
                  <a:cubicBezTo>
                    <a:pt x="79057" y="93536"/>
                    <a:pt x="61341" y="111347"/>
                    <a:pt x="39529" y="1113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0" name="Grafik 3866">
              <a:extLst>
                <a:ext uri="{FF2B5EF4-FFF2-40B4-BE49-F238E27FC236}">
                  <a16:creationId xmlns:a16="http://schemas.microsoft.com/office/drawing/2014/main" id="{875D0BAB-DDE2-99CE-28FE-9D52A12507E2}"/>
                </a:ext>
              </a:extLst>
            </p:cNvPr>
            <p:cNvSpPr/>
            <p:nvPr/>
          </p:nvSpPr>
          <p:spPr bwMode="gray">
            <a:xfrm>
              <a:off x="6017602" y="3464641"/>
              <a:ext cx="62870" cy="111424"/>
            </a:xfrm>
            <a:custGeom>
              <a:avLst/>
              <a:gdLst>
                <a:gd name="connsiteX0" fmla="*/ 55727 w 62870"/>
                <a:gd name="connsiteY0" fmla="*/ 111425 h 111424"/>
                <a:gd name="connsiteX1" fmla="*/ 48583 w 62870"/>
                <a:gd name="connsiteY1" fmla="*/ 104281 h 111424"/>
                <a:gd name="connsiteX2" fmla="*/ 48583 w 62870"/>
                <a:gd name="connsiteY2" fmla="*/ 79040 h 111424"/>
                <a:gd name="connsiteX3" fmla="*/ 7150 w 62870"/>
                <a:gd name="connsiteY3" fmla="*/ 79040 h 111424"/>
                <a:gd name="connsiteX4" fmla="*/ 768 w 62870"/>
                <a:gd name="connsiteY4" fmla="*/ 75039 h 111424"/>
                <a:gd name="connsiteX5" fmla="*/ 1435 w 62870"/>
                <a:gd name="connsiteY5" fmla="*/ 67515 h 111424"/>
                <a:gd name="connsiteX6" fmla="*/ 50012 w 62870"/>
                <a:gd name="connsiteY6" fmla="*/ 2840 h 111424"/>
                <a:gd name="connsiteX7" fmla="*/ 58013 w 62870"/>
                <a:gd name="connsiteY7" fmla="*/ 363 h 111424"/>
                <a:gd name="connsiteX8" fmla="*/ 62871 w 62870"/>
                <a:gd name="connsiteY8" fmla="*/ 7126 h 111424"/>
                <a:gd name="connsiteX9" fmla="*/ 62871 w 62870"/>
                <a:gd name="connsiteY9" fmla="*/ 104186 h 111424"/>
                <a:gd name="connsiteX10" fmla="*/ 55727 w 62870"/>
                <a:gd name="connsiteY10" fmla="*/ 111425 h 111424"/>
                <a:gd name="connsiteX11" fmla="*/ 21437 w 62870"/>
                <a:gd name="connsiteY11" fmla="*/ 64657 h 111424"/>
                <a:gd name="connsiteX12" fmla="*/ 48583 w 62870"/>
                <a:gd name="connsiteY12" fmla="*/ 64657 h 111424"/>
                <a:gd name="connsiteX13" fmla="*/ 48583 w 62870"/>
                <a:gd name="connsiteY13" fmla="*/ 28557 h 111424"/>
                <a:gd name="connsiteX14" fmla="*/ 21437 w 62870"/>
                <a:gd name="connsiteY14" fmla="*/ 64657 h 111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2870" h="111424">
                  <a:moveTo>
                    <a:pt x="55727" y="111425"/>
                  </a:moveTo>
                  <a:cubicBezTo>
                    <a:pt x="51822" y="111425"/>
                    <a:pt x="48583" y="108186"/>
                    <a:pt x="48583" y="104281"/>
                  </a:cubicBezTo>
                  <a:lnTo>
                    <a:pt x="48583" y="79040"/>
                  </a:lnTo>
                  <a:lnTo>
                    <a:pt x="7150" y="79040"/>
                  </a:lnTo>
                  <a:cubicBezTo>
                    <a:pt x="4483" y="79040"/>
                    <a:pt x="2006" y="77516"/>
                    <a:pt x="768" y="75039"/>
                  </a:cubicBezTo>
                  <a:cubicBezTo>
                    <a:pt x="-470" y="72563"/>
                    <a:pt x="-185" y="69705"/>
                    <a:pt x="1435" y="67515"/>
                  </a:cubicBezTo>
                  <a:lnTo>
                    <a:pt x="50012" y="2840"/>
                  </a:lnTo>
                  <a:cubicBezTo>
                    <a:pt x="51822" y="363"/>
                    <a:pt x="55060" y="-589"/>
                    <a:pt x="58013" y="363"/>
                  </a:cubicBezTo>
                  <a:cubicBezTo>
                    <a:pt x="60966" y="1316"/>
                    <a:pt x="62871" y="4078"/>
                    <a:pt x="62871" y="7126"/>
                  </a:cubicBezTo>
                  <a:lnTo>
                    <a:pt x="62871" y="104186"/>
                  </a:lnTo>
                  <a:cubicBezTo>
                    <a:pt x="62871" y="108186"/>
                    <a:pt x="59632" y="111425"/>
                    <a:pt x="55727" y="111425"/>
                  </a:cubicBezTo>
                  <a:close/>
                  <a:moveTo>
                    <a:pt x="21437" y="64657"/>
                  </a:moveTo>
                  <a:lnTo>
                    <a:pt x="48583" y="64657"/>
                  </a:lnTo>
                  <a:lnTo>
                    <a:pt x="48583" y="28557"/>
                  </a:lnTo>
                  <a:lnTo>
                    <a:pt x="21437" y="6465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1" name="Grafik 3866">
              <a:extLst>
                <a:ext uri="{FF2B5EF4-FFF2-40B4-BE49-F238E27FC236}">
                  <a16:creationId xmlns:a16="http://schemas.microsoft.com/office/drawing/2014/main" id="{6F96DE86-F291-03BA-0C55-67FC2217DC14}"/>
                </a:ext>
              </a:extLst>
            </p:cNvPr>
            <p:cNvSpPr/>
            <p:nvPr/>
          </p:nvSpPr>
          <p:spPr bwMode="gray">
            <a:xfrm>
              <a:off x="6128003" y="3529298"/>
              <a:ext cx="41909" cy="14287"/>
            </a:xfrm>
            <a:custGeom>
              <a:avLst/>
              <a:gdLst>
                <a:gd name="connsiteX0" fmla="*/ 34766 w 41909"/>
                <a:gd name="connsiteY0" fmla="*/ 14288 h 14287"/>
                <a:gd name="connsiteX1" fmla="*/ 7144 w 41909"/>
                <a:gd name="connsiteY1" fmla="*/ 14288 h 14287"/>
                <a:gd name="connsiteX2" fmla="*/ 0 w 41909"/>
                <a:gd name="connsiteY2" fmla="*/ 7144 h 14287"/>
                <a:gd name="connsiteX3" fmla="*/ 7144 w 41909"/>
                <a:gd name="connsiteY3" fmla="*/ 0 h 14287"/>
                <a:gd name="connsiteX4" fmla="*/ 34766 w 41909"/>
                <a:gd name="connsiteY4" fmla="*/ 0 h 14287"/>
                <a:gd name="connsiteX5" fmla="*/ 41910 w 41909"/>
                <a:gd name="connsiteY5" fmla="*/ 7144 h 14287"/>
                <a:gd name="connsiteX6" fmla="*/ 34766 w 41909"/>
                <a:gd name="connsiteY6" fmla="*/ 14288 h 1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909" h="14287">
                  <a:moveTo>
                    <a:pt x="34766" y="14288"/>
                  </a:move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239" y="0"/>
                    <a:pt x="7144" y="0"/>
                  </a:cubicBezTo>
                  <a:lnTo>
                    <a:pt x="34766" y="0"/>
                  </a:lnTo>
                  <a:cubicBezTo>
                    <a:pt x="38671" y="0"/>
                    <a:pt x="41910" y="3239"/>
                    <a:pt x="41910" y="7144"/>
                  </a:cubicBezTo>
                  <a:cubicBezTo>
                    <a:pt x="41910" y="11049"/>
                    <a:pt x="38671" y="14288"/>
                    <a:pt x="34766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292" name="Text Box 59">
            <a:extLst>
              <a:ext uri="{FF2B5EF4-FFF2-40B4-BE49-F238E27FC236}">
                <a16:creationId xmlns:a16="http://schemas.microsoft.com/office/drawing/2014/main" id="{F9065056-73AC-2089-51F1-89A1FEC5A9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4097338"/>
            <a:ext cx="45365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GGSN</a:t>
            </a:r>
          </a:p>
        </p:txBody>
      </p:sp>
      <p:sp>
        <p:nvSpPr>
          <p:cNvPr id="293" name="Text Box 59">
            <a:extLst>
              <a:ext uri="{FF2B5EF4-FFF2-40B4-BE49-F238E27FC236}">
                <a16:creationId xmlns:a16="http://schemas.microsoft.com/office/drawing/2014/main" id="{9F0E16BC-416E-1EF9-2767-A75334ED083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4643438"/>
            <a:ext cx="34144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MSC</a:t>
            </a:r>
          </a:p>
        </p:txBody>
      </p:sp>
      <p:grpSp>
        <p:nvGrpSpPr>
          <p:cNvPr id="294" name="Grafik 3870">
            <a:extLst>
              <a:ext uri="{FF2B5EF4-FFF2-40B4-BE49-F238E27FC236}">
                <a16:creationId xmlns:a16="http://schemas.microsoft.com/office/drawing/2014/main" id="{8DEB1393-C858-1062-1F41-C5740F2E6B44}"/>
              </a:ext>
            </a:extLst>
          </p:cNvPr>
          <p:cNvGrpSpPr/>
          <p:nvPr/>
        </p:nvGrpSpPr>
        <p:grpSpPr bwMode="gray">
          <a:xfrm>
            <a:off x="5130236" y="132775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295" name="Grafik 3870">
              <a:extLst>
                <a:ext uri="{FF2B5EF4-FFF2-40B4-BE49-F238E27FC236}">
                  <a16:creationId xmlns:a16="http://schemas.microsoft.com/office/drawing/2014/main" id="{8FF2BE2C-6DD8-6E87-BA57-1EE7C3E28D51}"/>
                </a:ext>
              </a:extLst>
            </p:cNvPr>
            <p:cNvSpPr/>
            <p:nvPr/>
          </p:nvSpPr>
          <p:spPr bwMode="gray">
            <a:xfrm>
              <a:off x="6021799" y="3419569"/>
              <a:ext cx="79057" cy="79057"/>
            </a:xfrm>
            <a:custGeom>
              <a:avLst/>
              <a:gdLst>
                <a:gd name="connsiteX0" fmla="*/ 39529 w 79057"/>
                <a:gd name="connsiteY0" fmla="*/ 79058 h 79057"/>
                <a:gd name="connsiteX1" fmla="*/ 0 w 79057"/>
                <a:gd name="connsiteY1" fmla="*/ 39529 h 79057"/>
                <a:gd name="connsiteX2" fmla="*/ 39529 w 79057"/>
                <a:gd name="connsiteY2" fmla="*/ 0 h 79057"/>
                <a:gd name="connsiteX3" fmla="*/ 79058 w 79057"/>
                <a:gd name="connsiteY3" fmla="*/ 39529 h 79057"/>
                <a:gd name="connsiteX4" fmla="*/ 39529 w 79057"/>
                <a:gd name="connsiteY4" fmla="*/ 79058 h 79057"/>
                <a:gd name="connsiteX5" fmla="*/ 39529 w 79057"/>
                <a:gd name="connsiteY5" fmla="*/ 14288 h 79057"/>
                <a:gd name="connsiteX6" fmla="*/ 14288 w 79057"/>
                <a:gd name="connsiteY6" fmla="*/ 39529 h 79057"/>
                <a:gd name="connsiteX7" fmla="*/ 39529 w 79057"/>
                <a:gd name="connsiteY7" fmla="*/ 64770 h 79057"/>
                <a:gd name="connsiteX8" fmla="*/ 64770 w 79057"/>
                <a:gd name="connsiteY8" fmla="*/ 39529 h 79057"/>
                <a:gd name="connsiteX9" fmla="*/ 39529 w 79057"/>
                <a:gd name="connsiteY9" fmla="*/ 14288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79058"/>
                  </a:moveTo>
                  <a:cubicBezTo>
                    <a:pt x="17717" y="79058"/>
                    <a:pt x="0" y="61341"/>
                    <a:pt x="0" y="39529"/>
                  </a:cubicBezTo>
                  <a:cubicBezTo>
                    <a:pt x="0" y="17717"/>
                    <a:pt x="17717" y="0"/>
                    <a:pt x="39529" y="0"/>
                  </a:cubicBezTo>
                  <a:cubicBezTo>
                    <a:pt x="61341" y="0"/>
                    <a:pt x="79058" y="17717"/>
                    <a:pt x="79058" y="39529"/>
                  </a:cubicBezTo>
                  <a:cubicBezTo>
                    <a:pt x="79058" y="61341"/>
                    <a:pt x="61341" y="79058"/>
                    <a:pt x="39529" y="79058"/>
                  </a:cubicBezTo>
                  <a:close/>
                  <a:moveTo>
                    <a:pt x="39529" y="14288"/>
                  </a:moveTo>
                  <a:cubicBezTo>
                    <a:pt x="25622" y="14288"/>
                    <a:pt x="14288" y="25622"/>
                    <a:pt x="14288" y="39529"/>
                  </a:cubicBezTo>
                  <a:cubicBezTo>
                    <a:pt x="14288" y="53435"/>
                    <a:pt x="25622" y="64770"/>
                    <a:pt x="39529" y="64770"/>
                  </a:cubicBezTo>
                  <a:cubicBezTo>
                    <a:pt x="53435" y="64770"/>
                    <a:pt x="64770" y="53435"/>
                    <a:pt x="64770" y="39529"/>
                  </a:cubicBezTo>
                  <a:cubicBezTo>
                    <a:pt x="64770" y="25622"/>
                    <a:pt x="53435" y="14288"/>
                    <a:pt x="39529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6" name="Grafik 3870">
              <a:extLst>
                <a:ext uri="{FF2B5EF4-FFF2-40B4-BE49-F238E27FC236}">
                  <a16:creationId xmlns:a16="http://schemas.microsoft.com/office/drawing/2014/main" id="{A27D6502-31C5-5366-12CB-D9120FDAA43C}"/>
                </a:ext>
              </a:extLst>
            </p:cNvPr>
            <p:cNvSpPr/>
            <p:nvPr/>
          </p:nvSpPr>
          <p:spPr bwMode="gray">
            <a:xfrm>
              <a:off x="6086569" y="3419569"/>
              <a:ext cx="79057" cy="79057"/>
            </a:xfrm>
            <a:custGeom>
              <a:avLst/>
              <a:gdLst>
                <a:gd name="connsiteX0" fmla="*/ 39529 w 79057"/>
                <a:gd name="connsiteY0" fmla="*/ 79058 h 79057"/>
                <a:gd name="connsiteX1" fmla="*/ 0 w 79057"/>
                <a:gd name="connsiteY1" fmla="*/ 39529 h 79057"/>
                <a:gd name="connsiteX2" fmla="*/ 39529 w 79057"/>
                <a:gd name="connsiteY2" fmla="*/ 0 h 79057"/>
                <a:gd name="connsiteX3" fmla="*/ 79058 w 79057"/>
                <a:gd name="connsiteY3" fmla="*/ 39529 h 79057"/>
                <a:gd name="connsiteX4" fmla="*/ 39529 w 79057"/>
                <a:gd name="connsiteY4" fmla="*/ 79058 h 79057"/>
                <a:gd name="connsiteX5" fmla="*/ 39529 w 79057"/>
                <a:gd name="connsiteY5" fmla="*/ 14288 h 79057"/>
                <a:gd name="connsiteX6" fmla="*/ 14288 w 79057"/>
                <a:gd name="connsiteY6" fmla="*/ 39529 h 79057"/>
                <a:gd name="connsiteX7" fmla="*/ 39529 w 79057"/>
                <a:gd name="connsiteY7" fmla="*/ 64770 h 79057"/>
                <a:gd name="connsiteX8" fmla="*/ 64770 w 79057"/>
                <a:gd name="connsiteY8" fmla="*/ 39529 h 79057"/>
                <a:gd name="connsiteX9" fmla="*/ 39529 w 79057"/>
                <a:gd name="connsiteY9" fmla="*/ 14288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79058"/>
                  </a:moveTo>
                  <a:cubicBezTo>
                    <a:pt x="17717" y="79058"/>
                    <a:pt x="0" y="61341"/>
                    <a:pt x="0" y="39529"/>
                  </a:cubicBezTo>
                  <a:cubicBezTo>
                    <a:pt x="0" y="17717"/>
                    <a:pt x="17717" y="0"/>
                    <a:pt x="39529" y="0"/>
                  </a:cubicBezTo>
                  <a:cubicBezTo>
                    <a:pt x="61341" y="0"/>
                    <a:pt x="79058" y="17717"/>
                    <a:pt x="79058" y="39529"/>
                  </a:cubicBezTo>
                  <a:cubicBezTo>
                    <a:pt x="79058" y="61341"/>
                    <a:pt x="61341" y="79058"/>
                    <a:pt x="39529" y="79058"/>
                  </a:cubicBezTo>
                  <a:close/>
                  <a:moveTo>
                    <a:pt x="39529" y="14288"/>
                  </a:moveTo>
                  <a:cubicBezTo>
                    <a:pt x="25622" y="14288"/>
                    <a:pt x="14288" y="25622"/>
                    <a:pt x="14288" y="39529"/>
                  </a:cubicBezTo>
                  <a:cubicBezTo>
                    <a:pt x="14288" y="53435"/>
                    <a:pt x="25622" y="64770"/>
                    <a:pt x="39529" y="64770"/>
                  </a:cubicBezTo>
                  <a:cubicBezTo>
                    <a:pt x="53435" y="64770"/>
                    <a:pt x="64770" y="53435"/>
                    <a:pt x="64770" y="39529"/>
                  </a:cubicBezTo>
                  <a:cubicBezTo>
                    <a:pt x="64770" y="25622"/>
                    <a:pt x="53530" y="14288"/>
                    <a:pt x="39529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7" name="Grafik 3870">
              <a:extLst>
                <a:ext uri="{FF2B5EF4-FFF2-40B4-BE49-F238E27FC236}">
                  <a16:creationId xmlns:a16="http://schemas.microsoft.com/office/drawing/2014/main" id="{995FD422-6BB5-B62F-5270-2B2F7079AD69}"/>
                </a:ext>
              </a:extLst>
            </p:cNvPr>
            <p:cNvSpPr/>
            <p:nvPr/>
          </p:nvSpPr>
          <p:spPr bwMode="gray">
            <a:xfrm>
              <a:off x="6151434" y="3419569"/>
              <a:ext cx="79057" cy="79057"/>
            </a:xfrm>
            <a:custGeom>
              <a:avLst/>
              <a:gdLst>
                <a:gd name="connsiteX0" fmla="*/ 39529 w 79057"/>
                <a:gd name="connsiteY0" fmla="*/ 79058 h 79057"/>
                <a:gd name="connsiteX1" fmla="*/ 0 w 79057"/>
                <a:gd name="connsiteY1" fmla="*/ 39529 h 79057"/>
                <a:gd name="connsiteX2" fmla="*/ 39529 w 79057"/>
                <a:gd name="connsiteY2" fmla="*/ 0 h 79057"/>
                <a:gd name="connsiteX3" fmla="*/ 79057 w 79057"/>
                <a:gd name="connsiteY3" fmla="*/ 39529 h 79057"/>
                <a:gd name="connsiteX4" fmla="*/ 39529 w 79057"/>
                <a:gd name="connsiteY4" fmla="*/ 79058 h 79057"/>
                <a:gd name="connsiteX5" fmla="*/ 39529 w 79057"/>
                <a:gd name="connsiteY5" fmla="*/ 14288 h 79057"/>
                <a:gd name="connsiteX6" fmla="*/ 14288 w 79057"/>
                <a:gd name="connsiteY6" fmla="*/ 39529 h 79057"/>
                <a:gd name="connsiteX7" fmla="*/ 39529 w 79057"/>
                <a:gd name="connsiteY7" fmla="*/ 64770 h 79057"/>
                <a:gd name="connsiteX8" fmla="*/ 64770 w 79057"/>
                <a:gd name="connsiteY8" fmla="*/ 39529 h 79057"/>
                <a:gd name="connsiteX9" fmla="*/ 39529 w 79057"/>
                <a:gd name="connsiteY9" fmla="*/ 14288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79058"/>
                  </a:moveTo>
                  <a:cubicBezTo>
                    <a:pt x="17717" y="79058"/>
                    <a:pt x="0" y="61341"/>
                    <a:pt x="0" y="39529"/>
                  </a:cubicBezTo>
                  <a:cubicBezTo>
                    <a:pt x="0" y="17717"/>
                    <a:pt x="17717" y="0"/>
                    <a:pt x="39529" y="0"/>
                  </a:cubicBezTo>
                  <a:cubicBezTo>
                    <a:pt x="61341" y="0"/>
                    <a:pt x="79057" y="17717"/>
                    <a:pt x="79057" y="39529"/>
                  </a:cubicBezTo>
                  <a:cubicBezTo>
                    <a:pt x="79057" y="61341"/>
                    <a:pt x="61341" y="79058"/>
                    <a:pt x="39529" y="79058"/>
                  </a:cubicBezTo>
                  <a:close/>
                  <a:moveTo>
                    <a:pt x="39529" y="14288"/>
                  </a:moveTo>
                  <a:cubicBezTo>
                    <a:pt x="25622" y="14288"/>
                    <a:pt x="14288" y="25622"/>
                    <a:pt x="14288" y="39529"/>
                  </a:cubicBezTo>
                  <a:cubicBezTo>
                    <a:pt x="14288" y="53435"/>
                    <a:pt x="25622" y="64770"/>
                    <a:pt x="39529" y="64770"/>
                  </a:cubicBezTo>
                  <a:cubicBezTo>
                    <a:pt x="53435" y="64770"/>
                    <a:pt x="64770" y="53435"/>
                    <a:pt x="64770" y="39529"/>
                  </a:cubicBezTo>
                  <a:cubicBezTo>
                    <a:pt x="64770" y="25622"/>
                    <a:pt x="53435" y="14288"/>
                    <a:pt x="39529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8" name="Grafik 3870">
              <a:extLst>
                <a:ext uri="{FF2B5EF4-FFF2-40B4-BE49-F238E27FC236}">
                  <a16:creationId xmlns:a16="http://schemas.microsoft.com/office/drawing/2014/main" id="{BB819988-DD49-135B-D75C-31EDD32ECE20}"/>
                </a:ext>
              </a:extLst>
            </p:cNvPr>
            <p:cNvSpPr/>
            <p:nvPr/>
          </p:nvSpPr>
          <p:spPr bwMode="gray">
            <a:xfrm>
              <a:off x="5957029" y="3419569"/>
              <a:ext cx="79057" cy="79057"/>
            </a:xfrm>
            <a:custGeom>
              <a:avLst/>
              <a:gdLst>
                <a:gd name="connsiteX0" fmla="*/ 39529 w 79057"/>
                <a:gd name="connsiteY0" fmla="*/ 79058 h 79057"/>
                <a:gd name="connsiteX1" fmla="*/ 0 w 79057"/>
                <a:gd name="connsiteY1" fmla="*/ 39529 h 79057"/>
                <a:gd name="connsiteX2" fmla="*/ 39529 w 79057"/>
                <a:gd name="connsiteY2" fmla="*/ 0 h 79057"/>
                <a:gd name="connsiteX3" fmla="*/ 79057 w 79057"/>
                <a:gd name="connsiteY3" fmla="*/ 39529 h 79057"/>
                <a:gd name="connsiteX4" fmla="*/ 39529 w 79057"/>
                <a:gd name="connsiteY4" fmla="*/ 79058 h 79057"/>
                <a:gd name="connsiteX5" fmla="*/ 39529 w 79057"/>
                <a:gd name="connsiteY5" fmla="*/ 14288 h 79057"/>
                <a:gd name="connsiteX6" fmla="*/ 14288 w 79057"/>
                <a:gd name="connsiteY6" fmla="*/ 39529 h 79057"/>
                <a:gd name="connsiteX7" fmla="*/ 39529 w 79057"/>
                <a:gd name="connsiteY7" fmla="*/ 64770 h 79057"/>
                <a:gd name="connsiteX8" fmla="*/ 64770 w 79057"/>
                <a:gd name="connsiteY8" fmla="*/ 39529 h 79057"/>
                <a:gd name="connsiteX9" fmla="*/ 39529 w 79057"/>
                <a:gd name="connsiteY9" fmla="*/ 14288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79058"/>
                  </a:moveTo>
                  <a:cubicBezTo>
                    <a:pt x="17717" y="79058"/>
                    <a:pt x="0" y="61341"/>
                    <a:pt x="0" y="39529"/>
                  </a:cubicBezTo>
                  <a:cubicBezTo>
                    <a:pt x="0" y="17717"/>
                    <a:pt x="17717" y="0"/>
                    <a:pt x="39529" y="0"/>
                  </a:cubicBezTo>
                  <a:cubicBezTo>
                    <a:pt x="61341" y="0"/>
                    <a:pt x="79057" y="17717"/>
                    <a:pt x="79057" y="39529"/>
                  </a:cubicBezTo>
                  <a:cubicBezTo>
                    <a:pt x="79057" y="61341"/>
                    <a:pt x="61341" y="79058"/>
                    <a:pt x="39529" y="79058"/>
                  </a:cubicBezTo>
                  <a:close/>
                  <a:moveTo>
                    <a:pt x="39529" y="14288"/>
                  </a:moveTo>
                  <a:cubicBezTo>
                    <a:pt x="25622" y="14288"/>
                    <a:pt x="14288" y="25622"/>
                    <a:pt x="14288" y="39529"/>
                  </a:cubicBezTo>
                  <a:cubicBezTo>
                    <a:pt x="14288" y="53435"/>
                    <a:pt x="25622" y="64770"/>
                    <a:pt x="39529" y="64770"/>
                  </a:cubicBezTo>
                  <a:cubicBezTo>
                    <a:pt x="53435" y="64770"/>
                    <a:pt x="64770" y="53435"/>
                    <a:pt x="64770" y="39529"/>
                  </a:cubicBezTo>
                  <a:cubicBezTo>
                    <a:pt x="64770" y="25622"/>
                    <a:pt x="53435" y="14288"/>
                    <a:pt x="39529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9" name="Grafik 3870">
              <a:extLst>
                <a:ext uri="{FF2B5EF4-FFF2-40B4-BE49-F238E27FC236}">
                  <a16:creationId xmlns:a16="http://schemas.microsoft.com/office/drawing/2014/main" id="{96970D1F-3669-A8E0-2CD6-4DFFEABC6777}"/>
                </a:ext>
              </a:extLst>
            </p:cNvPr>
            <p:cNvSpPr/>
            <p:nvPr/>
          </p:nvSpPr>
          <p:spPr bwMode="gray">
            <a:xfrm>
              <a:off x="5892164" y="3419569"/>
              <a:ext cx="79057" cy="79057"/>
            </a:xfrm>
            <a:custGeom>
              <a:avLst/>
              <a:gdLst>
                <a:gd name="connsiteX0" fmla="*/ 39529 w 79057"/>
                <a:gd name="connsiteY0" fmla="*/ 79058 h 79057"/>
                <a:gd name="connsiteX1" fmla="*/ 0 w 79057"/>
                <a:gd name="connsiteY1" fmla="*/ 39529 h 79057"/>
                <a:gd name="connsiteX2" fmla="*/ 39529 w 79057"/>
                <a:gd name="connsiteY2" fmla="*/ 0 h 79057"/>
                <a:gd name="connsiteX3" fmla="*/ 79058 w 79057"/>
                <a:gd name="connsiteY3" fmla="*/ 39529 h 79057"/>
                <a:gd name="connsiteX4" fmla="*/ 39529 w 79057"/>
                <a:gd name="connsiteY4" fmla="*/ 79058 h 79057"/>
                <a:gd name="connsiteX5" fmla="*/ 39529 w 79057"/>
                <a:gd name="connsiteY5" fmla="*/ 14288 h 79057"/>
                <a:gd name="connsiteX6" fmla="*/ 14288 w 79057"/>
                <a:gd name="connsiteY6" fmla="*/ 39529 h 79057"/>
                <a:gd name="connsiteX7" fmla="*/ 39529 w 79057"/>
                <a:gd name="connsiteY7" fmla="*/ 64770 h 79057"/>
                <a:gd name="connsiteX8" fmla="*/ 64770 w 79057"/>
                <a:gd name="connsiteY8" fmla="*/ 39529 h 79057"/>
                <a:gd name="connsiteX9" fmla="*/ 39529 w 79057"/>
                <a:gd name="connsiteY9" fmla="*/ 14288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79058"/>
                  </a:moveTo>
                  <a:cubicBezTo>
                    <a:pt x="17717" y="79058"/>
                    <a:pt x="0" y="61341"/>
                    <a:pt x="0" y="39529"/>
                  </a:cubicBezTo>
                  <a:cubicBezTo>
                    <a:pt x="0" y="17717"/>
                    <a:pt x="17717" y="0"/>
                    <a:pt x="39529" y="0"/>
                  </a:cubicBezTo>
                  <a:cubicBezTo>
                    <a:pt x="61341" y="0"/>
                    <a:pt x="79058" y="17717"/>
                    <a:pt x="79058" y="39529"/>
                  </a:cubicBezTo>
                  <a:cubicBezTo>
                    <a:pt x="79058" y="61341"/>
                    <a:pt x="61341" y="79058"/>
                    <a:pt x="39529" y="79058"/>
                  </a:cubicBezTo>
                  <a:close/>
                  <a:moveTo>
                    <a:pt x="39529" y="14288"/>
                  </a:moveTo>
                  <a:cubicBezTo>
                    <a:pt x="25622" y="14288"/>
                    <a:pt x="14288" y="25622"/>
                    <a:pt x="14288" y="39529"/>
                  </a:cubicBezTo>
                  <a:cubicBezTo>
                    <a:pt x="14288" y="53435"/>
                    <a:pt x="25622" y="64770"/>
                    <a:pt x="39529" y="64770"/>
                  </a:cubicBezTo>
                  <a:cubicBezTo>
                    <a:pt x="53435" y="64770"/>
                    <a:pt x="64770" y="53435"/>
                    <a:pt x="64770" y="39529"/>
                  </a:cubicBezTo>
                  <a:cubicBezTo>
                    <a:pt x="64770" y="25622"/>
                    <a:pt x="53531" y="14288"/>
                    <a:pt x="39529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0" name="Grafik 3870">
              <a:extLst>
                <a:ext uri="{FF2B5EF4-FFF2-40B4-BE49-F238E27FC236}">
                  <a16:creationId xmlns:a16="http://schemas.microsoft.com/office/drawing/2014/main" id="{457231F1-D8D0-E1E3-D205-C927B7DFB831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1" name="Grafik 3870">
              <a:extLst>
                <a:ext uri="{FF2B5EF4-FFF2-40B4-BE49-F238E27FC236}">
                  <a16:creationId xmlns:a16="http://schemas.microsoft.com/office/drawing/2014/main" id="{61CD370F-C087-65B0-F323-06D9BB5848A0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2" name="Grafik 3870">
              <a:extLst>
                <a:ext uri="{FF2B5EF4-FFF2-40B4-BE49-F238E27FC236}">
                  <a16:creationId xmlns:a16="http://schemas.microsoft.com/office/drawing/2014/main" id="{F4511C02-85C2-41E6-F8F8-E26C69076058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3" name="Grafik 3870">
              <a:extLst>
                <a:ext uri="{FF2B5EF4-FFF2-40B4-BE49-F238E27FC236}">
                  <a16:creationId xmlns:a16="http://schemas.microsoft.com/office/drawing/2014/main" id="{0664D050-DEB1-84B2-EF5C-A54F490DC978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4" name="Grafik 3870">
              <a:extLst>
                <a:ext uri="{FF2B5EF4-FFF2-40B4-BE49-F238E27FC236}">
                  <a16:creationId xmlns:a16="http://schemas.microsoft.com/office/drawing/2014/main" id="{64248044-9F77-60F7-7405-3994FFACA3AE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05" name="Grafik 3872">
            <a:extLst>
              <a:ext uri="{FF2B5EF4-FFF2-40B4-BE49-F238E27FC236}">
                <a16:creationId xmlns:a16="http://schemas.microsoft.com/office/drawing/2014/main" id="{C67D7DDD-E9AA-A5CB-B3E2-888FBE440366}"/>
              </a:ext>
            </a:extLst>
          </p:cNvPr>
          <p:cNvGrpSpPr/>
          <p:nvPr/>
        </p:nvGrpSpPr>
        <p:grpSpPr bwMode="gray">
          <a:xfrm>
            <a:off x="5130236" y="1865000"/>
            <a:ext cx="374400" cy="374400"/>
            <a:chOff x="5843548" y="3176587"/>
            <a:chExt cx="500291" cy="500253"/>
          </a:xfrm>
          <a:solidFill>
            <a:schemeClr val="tx1"/>
          </a:solidFill>
        </p:grpSpPr>
        <p:grpSp>
          <p:nvGrpSpPr>
            <p:cNvPr id="306" name="Grafik 3872">
              <a:extLst>
                <a:ext uri="{FF2B5EF4-FFF2-40B4-BE49-F238E27FC236}">
                  <a16:creationId xmlns:a16="http://schemas.microsoft.com/office/drawing/2014/main" id="{F673842B-C7B8-9AAD-F42E-2880CF0BEE8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09" name="Grafik 3872">
                <a:extLst>
                  <a:ext uri="{FF2B5EF4-FFF2-40B4-BE49-F238E27FC236}">
                    <a16:creationId xmlns:a16="http://schemas.microsoft.com/office/drawing/2014/main" id="{C0471E1B-477F-EA0A-599D-1D54BD6D1307}"/>
                  </a:ext>
                </a:extLst>
              </p:cNvPr>
              <p:cNvSpPr/>
              <p:nvPr/>
            </p:nvSpPr>
            <p:spPr bwMode="gray">
              <a:xfrm>
                <a:off x="6021799" y="3419665"/>
                <a:ext cx="79057" cy="79057"/>
              </a:xfrm>
              <a:custGeom>
                <a:avLst/>
                <a:gdLst>
                  <a:gd name="connsiteX0" fmla="*/ 39529 w 79057"/>
                  <a:gd name="connsiteY0" fmla="*/ 79057 h 79057"/>
                  <a:gd name="connsiteX1" fmla="*/ 0 w 79057"/>
                  <a:gd name="connsiteY1" fmla="*/ 39529 h 79057"/>
                  <a:gd name="connsiteX2" fmla="*/ 39529 w 79057"/>
                  <a:gd name="connsiteY2" fmla="*/ 0 h 79057"/>
                  <a:gd name="connsiteX3" fmla="*/ 79058 w 79057"/>
                  <a:gd name="connsiteY3" fmla="*/ 39529 h 79057"/>
                  <a:gd name="connsiteX4" fmla="*/ 39529 w 79057"/>
                  <a:gd name="connsiteY4" fmla="*/ 79057 h 79057"/>
                  <a:gd name="connsiteX5" fmla="*/ 39529 w 79057"/>
                  <a:gd name="connsiteY5" fmla="*/ 14192 h 79057"/>
                  <a:gd name="connsiteX6" fmla="*/ 14288 w 79057"/>
                  <a:gd name="connsiteY6" fmla="*/ 39433 h 79057"/>
                  <a:gd name="connsiteX7" fmla="*/ 39529 w 79057"/>
                  <a:gd name="connsiteY7" fmla="*/ 64675 h 79057"/>
                  <a:gd name="connsiteX8" fmla="*/ 64770 w 79057"/>
                  <a:gd name="connsiteY8" fmla="*/ 39433 h 79057"/>
                  <a:gd name="connsiteX9" fmla="*/ 39529 w 79057"/>
                  <a:gd name="connsiteY9" fmla="*/ 14192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9057" h="79057">
                    <a:moveTo>
                      <a:pt x="39529" y="79057"/>
                    </a:moveTo>
                    <a:cubicBezTo>
                      <a:pt x="17717" y="79057"/>
                      <a:pt x="0" y="61341"/>
                      <a:pt x="0" y="39529"/>
                    </a:cubicBezTo>
                    <a:cubicBezTo>
                      <a:pt x="0" y="17716"/>
                      <a:pt x="17717" y="0"/>
                      <a:pt x="39529" y="0"/>
                    </a:cubicBezTo>
                    <a:cubicBezTo>
                      <a:pt x="61341" y="0"/>
                      <a:pt x="79058" y="17716"/>
                      <a:pt x="79058" y="39529"/>
                    </a:cubicBezTo>
                    <a:cubicBezTo>
                      <a:pt x="79058" y="61341"/>
                      <a:pt x="61341" y="79057"/>
                      <a:pt x="39529" y="79057"/>
                    </a:cubicBezTo>
                    <a:close/>
                    <a:moveTo>
                      <a:pt x="39529" y="14192"/>
                    </a:moveTo>
                    <a:cubicBezTo>
                      <a:pt x="25622" y="14192"/>
                      <a:pt x="14288" y="25527"/>
                      <a:pt x="14288" y="39433"/>
                    </a:cubicBezTo>
                    <a:cubicBezTo>
                      <a:pt x="14288" y="53340"/>
                      <a:pt x="25622" y="64675"/>
                      <a:pt x="39529" y="64675"/>
                    </a:cubicBezTo>
                    <a:cubicBezTo>
                      <a:pt x="53435" y="64675"/>
                      <a:pt x="64770" y="53340"/>
                      <a:pt x="64770" y="39433"/>
                    </a:cubicBezTo>
                    <a:cubicBezTo>
                      <a:pt x="64770" y="25527"/>
                      <a:pt x="53435" y="14192"/>
                      <a:pt x="39529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0" name="Grafik 3872">
                <a:extLst>
                  <a:ext uri="{FF2B5EF4-FFF2-40B4-BE49-F238E27FC236}">
                    <a16:creationId xmlns:a16="http://schemas.microsoft.com/office/drawing/2014/main" id="{A6F49492-A126-40B1-6EBE-82ED75D5D37A}"/>
                  </a:ext>
                </a:extLst>
              </p:cNvPr>
              <p:cNvSpPr/>
              <p:nvPr/>
            </p:nvSpPr>
            <p:spPr bwMode="gray">
              <a:xfrm>
                <a:off x="6086569" y="3419665"/>
                <a:ext cx="79057" cy="79057"/>
              </a:xfrm>
              <a:custGeom>
                <a:avLst/>
                <a:gdLst>
                  <a:gd name="connsiteX0" fmla="*/ 39529 w 79057"/>
                  <a:gd name="connsiteY0" fmla="*/ 79057 h 79057"/>
                  <a:gd name="connsiteX1" fmla="*/ 0 w 79057"/>
                  <a:gd name="connsiteY1" fmla="*/ 39529 h 79057"/>
                  <a:gd name="connsiteX2" fmla="*/ 39529 w 79057"/>
                  <a:gd name="connsiteY2" fmla="*/ 0 h 79057"/>
                  <a:gd name="connsiteX3" fmla="*/ 79058 w 79057"/>
                  <a:gd name="connsiteY3" fmla="*/ 39529 h 79057"/>
                  <a:gd name="connsiteX4" fmla="*/ 39529 w 79057"/>
                  <a:gd name="connsiteY4" fmla="*/ 79057 h 79057"/>
                  <a:gd name="connsiteX5" fmla="*/ 39529 w 79057"/>
                  <a:gd name="connsiteY5" fmla="*/ 14192 h 79057"/>
                  <a:gd name="connsiteX6" fmla="*/ 14288 w 79057"/>
                  <a:gd name="connsiteY6" fmla="*/ 39433 h 79057"/>
                  <a:gd name="connsiteX7" fmla="*/ 39529 w 79057"/>
                  <a:gd name="connsiteY7" fmla="*/ 64675 h 79057"/>
                  <a:gd name="connsiteX8" fmla="*/ 64770 w 79057"/>
                  <a:gd name="connsiteY8" fmla="*/ 39433 h 79057"/>
                  <a:gd name="connsiteX9" fmla="*/ 39529 w 79057"/>
                  <a:gd name="connsiteY9" fmla="*/ 14192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9057" h="79057">
                    <a:moveTo>
                      <a:pt x="39529" y="79057"/>
                    </a:moveTo>
                    <a:cubicBezTo>
                      <a:pt x="17717" y="79057"/>
                      <a:pt x="0" y="61341"/>
                      <a:pt x="0" y="39529"/>
                    </a:cubicBezTo>
                    <a:cubicBezTo>
                      <a:pt x="0" y="17716"/>
                      <a:pt x="17717" y="0"/>
                      <a:pt x="39529" y="0"/>
                    </a:cubicBezTo>
                    <a:cubicBezTo>
                      <a:pt x="61341" y="0"/>
                      <a:pt x="79058" y="17716"/>
                      <a:pt x="79058" y="39529"/>
                    </a:cubicBezTo>
                    <a:cubicBezTo>
                      <a:pt x="79058" y="61341"/>
                      <a:pt x="61341" y="79057"/>
                      <a:pt x="39529" y="79057"/>
                    </a:cubicBezTo>
                    <a:close/>
                    <a:moveTo>
                      <a:pt x="39529" y="14192"/>
                    </a:moveTo>
                    <a:cubicBezTo>
                      <a:pt x="25622" y="14192"/>
                      <a:pt x="14288" y="25527"/>
                      <a:pt x="14288" y="39433"/>
                    </a:cubicBezTo>
                    <a:cubicBezTo>
                      <a:pt x="14288" y="53340"/>
                      <a:pt x="25622" y="64675"/>
                      <a:pt x="39529" y="64675"/>
                    </a:cubicBezTo>
                    <a:cubicBezTo>
                      <a:pt x="53435" y="64675"/>
                      <a:pt x="64770" y="53340"/>
                      <a:pt x="64770" y="39433"/>
                    </a:cubicBezTo>
                    <a:cubicBezTo>
                      <a:pt x="64770" y="25527"/>
                      <a:pt x="53530" y="14192"/>
                      <a:pt x="39529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1" name="Grafik 3872">
                <a:extLst>
                  <a:ext uri="{FF2B5EF4-FFF2-40B4-BE49-F238E27FC236}">
                    <a16:creationId xmlns:a16="http://schemas.microsoft.com/office/drawing/2014/main" id="{60BDD31B-6780-D4B2-1460-C5AAD3A72556}"/>
                  </a:ext>
                </a:extLst>
              </p:cNvPr>
              <p:cNvSpPr/>
              <p:nvPr/>
            </p:nvSpPr>
            <p:spPr bwMode="gray">
              <a:xfrm>
                <a:off x="6151434" y="3419665"/>
                <a:ext cx="79057" cy="79057"/>
              </a:xfrm>
              <a:custGeom>
                <a:avLst/>
                <a:gdLst>
                  <a:gd name="connsiteX0" fmla="*/ 39529 w 79057"/>
                  <a:gd name="connsiteY0" fmla="*/ 79057 h 79057"/>
                  <a:gd name="connsiteX1" fmla="*/ 0 w 79057"/>
                  <a:gd name="connsiteY1" fmla="*/ 39529 h 79057"/>
                  <a:gd name="connsiteX2" fmla="*/ 39529 w 79057"/>
                  <a:gd name="connsiteY2" fmla="*/ 0 h 79057"/>
                  <a:gd name="connsiteX3" fmla="*/ 79057 w 79057"/>
                  <a:gd name="connsiteY3" fmla="*/ 39529 h 79057"/>
                  <a:gd name="connsiteX4" fmla="*/ 39529 w 79057"/>
                  <a:gd name="connsiteY4" fmla="*/ 79057 h 79057"/>
                  <a:gd name="connsiteX5" fmla="*/ 39529 w 79057"/>
                  <a:gd name="connsiteY5" fmla="*/ 14192 h 79057"/>
                  <a:gd name="connsiteX6" fmla="*/ 14288 w 79057"/>
                  <a:gd name="connsiteY6" fmla="*/ 39433 h 79057"/>
                  <a:gd name="connsiteX7" fmla="*/ 39529 w 79057"/>
                  <a:gd name="connsiteY7" fmla="*/ 64675 h 79057"/>
                  <a:gd name="connsiteX8" fmla="*/ 64770 w 79057"/>
                  <a:gd name="connsiteY8" fmla="*/ 39433 h 79057"/>
                  <a:gd name="connsiteX9" fmla="*/ 39529 w 79057"/>
                  <a:gd name="connsiteY9" fmla="*/ 14192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9057" h="79057">
                    <a:moveTo>
                      <a:pt x="39529" y="79057"/>
                    </a:moveTo>
                    <a:cubicBezTo>
                      <a:pt x="17717" y="79057"/>
                      <a:pt x="0" y="61341"/>
                      <a:pt x="0" y="39529"/>
                    </a:cubicBezTo>
                    <a:cubicBezTo>
                      <a:pt x="0" y="17716"/>
                      <a:pt x="17717" y="0"/>
                      <a:pt x="39529" y="0"/>
                    </a:cubicBezTo>
                    <a:cubicBezTo>
                      <a:pt x="61341" y="0"/>
                      <a:pt x="79057" y="17716"/>
                      <a:pt x="79057" y="39529"/>
                    </a:cubicBezTo>
                    <a:cubicBezTo>
                      <a:pt x="79057" y="61341"/>
                      <a:pt x="61341" y="79057"/>
                      <a:pt x="39529" y="79057"/>
                    </a:cubicBezTo>
                    <a:close/>
                    <a:moveTo>
                      <a:pt x="39529" y="14192"/>
                    </a:moveTo>
                    <a:cubicBezTo>
                      <a:pt x="25622" y="14192"/>
                      <a:pt x="14288" y="25527"/>
                      <a:pt x="14288" y="39433"/>
                    </a:cubicBezTo>
                    <a:cubicBezTo>
                      <a:pt x="14288" y="53340"/>
                      <a:pt x="25622" y="64675"/>
                      <a:pt x="39529" y="64675"/>
                    </a:cubicBezTo>
                    <a:cubicBezTo>
                      <a:pt x="53435" y="64675"/>
                      <a:pt x="64770" y="53340"/>
                      <a:pt x="64770" y="39433"/>
                    </a:cubicBezTo>
                    <a:cubicBezTo>
                      <a:pt x="64770" y="25527"/>
                      <a:pt x="53435" y="14192"/>
                      <a:pt x="39529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2" name="Grafik 3872">
                <a:extLst>
                  <a:ext uri="{FF2B5EF4-FFF2-40B4-BE49-F238E27FC236}">
                    <a16:creationId xmlns:a16="http://schemas.microsoft.com/office/drawing/2014/main" id="{FDAB8203-AF35-A4AF-C5A9-24EC1A66AC6E}"/>
                  </a:ext>
                </a:extLst>
              </p:cNvPr>
              <p:cNvSpPr/>
              <p:nvPr/>
            </p:nvSpPr>
            <p:spPr bwMode="gray">
              <a:xfrm>
                <a:off x="5957029" y="3419665"/>
                <a:ext cx="79057" cy="79057"/>
              </a:xfrm>
              <a:custGeom>
                <a:avLst/>
                <a:gdLst>
                  <a:gd name="connsiteX0" fmla="*/ 39529 w 79057"/>
                  <a:gd name="connsiteY0" fmla="*/ 79057 h 79057"/>
                  <a:gd name="connsiteX1" fmla="*/ 0 w 79057"/>
                  <a:gd name="connsiteY1" fmla="*/ 39529 h 79057"/>
                  <a:gd name="connsiteX2" fmla="*/ 39529 w 79057"/>
                  <a:gd name="connsiteY2" fmla="*/ 0 h 79057"/>
                  <a:gd name="connsiteX3" fmla="*/ 79057 w 79057"/>
                  <a:gd name="connsiteY3" fmla="*/ 39529 h 79057"/>
                  <a:gd name="connsiteX4" fmla="*/ 39529 w 79057"/>
                  <a:gd name="connsiteY4" fmla="*/ 79057 h 79057"/>
                  <a:gd name="connsiteX5" fmla="*/ 39529 w 79057"/>
                  <a:gd name="connsiteY5" fmla="*/ 14192 h 79057"/>
                  <a:gd name="connsiteX6" fmla="*/ 14288 w 79057"/>
                  <a:gd name="connsiteY6" fmla="*/ 39433 h 79057"/>
                  <a:gd name="connsiteX7" fmla="*/ 39529 w 79057"/>
                  <a:gd name="connsiteY7" fmla="*/ 64675 h 79057"/>
                  <a:gd name="connsiteX8" fmla="*/ 64770 w 79057"/>
                  <a:gd name="connsiteY8" fmla="*/ 39433 h 79057"/>
                  <a:gd name="connsiteX9" fmla="*/ 39529 w 79057"/>
                  <a:gd name="connsiteY9" fmla="*/ 14192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9057" h="79057">
                    <a:moveTo>
                      <a:pt x="39529" y="79057"/>
                    </a:moveTo>
                    <a:cubicBezTo>
                      <a:pt x="17717" y="79057"/>
                      <a:pt x="0" y="61341"/>
                      <a:pt x="0" y="39529"/>
                    </a:cubicBezTo>
                    <a:cubicBezTo>
                      <a:pt x="0" y="17716"/>
                      <a:pt x="17717" y="0"/>
                      <a:pt x="39529" y="0"/>
                    </a:cubicBezTo>
                    <a:cubicBezTo>
                      <a:pt x="61341" y="0"/>
                      <a:pt x="79057" y="17716"/>
                      <a:pt x="79057" y="39529"/>
                    </a:cubicBezTo>
                    <a:cubicBezTo>
                      <a:pt x="79057" y="61341"/>
                      <a:pt x="61341" y="79057"/>
                      <a:pt x="39529" y="79057"/>
                    </a:cubicBezTo>
                    <a:close/>
                    <a:moveTo>
                      <a:pt x="39529" y="14192"/>
                    </a:moveTo>
                    <a:cubicBezTo>
                      <a:pt x="25622" y="14192"/>
                      <a:pt x="14288" y="25527"/>
                      <a:pt x="14288" y="39433"/>
                    </a:cubicBezTo>
                    <a:cubicBezTo>
                      <a:pt x="14288" y="53340"/>
                      <a:pt x="25622" y="64675"/>
                      <a:pt x="39529" y="64675"/>
                    </a:cubicBezTo>
                    <a:cubicBezTo>
                      <a:pt x="53435" y="64675"/>
                      <a:pt x="64770" y="53340"/>
                      <a:pt x="64770" y="39433"/>
                    </a:cubicBezTo>
                    <a:cubicBezTo>
                      <a:pt x="64770" y="25527"/>
                      <a:pt x="53435" y="14192"/>
                      <a:pt x="39529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3" name="Grafik 3872">
                <a:extLst>
                  <a:ext uri="{FF2B5EF4-FFF2-40B4-BE49-F238E27FC236}">
                    <a16:creationId xmlns:a16="http://schemas.microsoft.com/office/drawing/2014/main" id="{EF3F89C5-6AF7-03CE-F7C6-41826FE0C57B}"/>
                  </a:ext>
                </a:extLst>
              </p:cNvPr>
              <p:cNvSpPr/>
              <p:nvPr/>
            </p:nvSpPr>
            <p:spPr bwMode="gray">
              <a:xfrm>
                <a:off x="5892164" y="3419665"/>
                <a:ext cx="79057" cy="79057"/>
              </a:xfrm>
              <a:custGeom>
                <a:avLst/>
                <a:gdLst>
                  <a:gd name="connsiteX0" fmla="*/ 39529 w 79057"/>
                  <a:gd name="connsiteY0" fmla="*/ 79057 h 79057"/>
                  <a:gd name="connsiteX1" fmla="*/ 0 w 79057"/>
                  <a:gd name="connsiteY1" fmla="*/ 39529 h 79057"/>
                  <a:gd name="connsiteX2" fmla="*/ 39529 w 79057"/>
                  <a:gd name="connsiteY2" fmla="*/ 0 h 79057"/>
                  <a:gd name="connsiteX3" fmla="*/ 79058 w 79057"/>
                  <a:gd name="connsiteY3" fmla="*/ 39529 h 79057"/>
                  <a:gd name="connsiteX4" fmla="*/ 39529 w 79057"/>
                  <a:gd name="connsiteY4" fmla="*/ 79057 h 79057"/>
                  <a:gd name="connsiteX5" fmla="*/ 39529 w 79057"/>
                  <a:gd name="connsiteY5" fmla="*/ 14192 h 79057"/>
                  <a:gd name="connsiteX6" fmla="*/ 14288 w 79057"/>
                  <a:gd name="connsiteY6" fmla="*/ 39433 h 79057"/>
                  <a:gd name="connsiteX7" fmla="*/ 39529 w 79057"/>
                  <a:gd name="connsiteY7" fmla="*/ 64675 h 79057"/>
                  <a:gd name="connsiteX8" fmla="*/ 64770 w 79057"/>
                  <a:gd name="connsiteY8" fmla="*/ 39433 h 79057"/>
                  <a:gd name="connsiteX9" fmla="*/ 39529 w 79057"/>
                  <a:gd name="connsiteY9" fmla="*/ 14192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9057" h="79057">
                    <a:moveTo>
                      <a:pt x="39529" y="79057"/>
                    </a:moveTo>
                    <a:cubicBezTo>
                      <a:pt x="17717" y="79057"/>
                      <a:pt x="0" y="61341"/>
                      <a:pt x="0" y="39529"/>
                    </a:cubicBezTo>
                    <a:cubicBezTo>
                      <a:pt x="0" y="17716"/>
                      <a:pt x="17717" y="0"/>
                      <a:pt x="39529" y="0"/>
                    </a:cubicBezTo>
                    <a:cubicBezTo>
                      <a:pt x="61341" y="0"/>
                      <a:pt x="79058" y="17716"/>
                      <a:pt x="79058" y="39529"/>
                    </a:cubicBezTo>
                    <a:cubicBezTo>
                      <a:pt x="79058" y="61341"/>
                      <a:pt x="61341" y="79057"/>
                      <a:pt x="39529" y="79057"/>
                    </a:cubicBezTo>
                    <a:close/>
                    <a:moveTo>
                      <a:pt x="39529" y="14192"/>
                    </a:moveTo>
                    <a:cubicBezTo>
                      <a:pt x="25622" y="14192"/>
                      <a:pt x="14288" y="25527"/>
                      <a:pt x="14288" y="39433"/>
                    </a:cubicBezTo>
                    <a:cubicBezTo>
                      <a:pt x="14288" y="53340"/>
                      <a:pt x="25622" y="64675"/>
                      <a:pt x="39529" y="64675"/>
                    </a:cubicBezTo>
                    <a:cubicBezTo>
                      <a:pt x="53435" y="64675"/>
                      <a:pt x="64770" y="53340"/>
                      <a:pt x="64770" y="39433"/>
                    </a:cubicBezTo>
                    <a:cubicBezTo>
                      <a:pt x="64770" y="25527"/>
                      <a:pt x="53531" y="14192"/>
                      <a:pt x="39529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4" name="Grafik 3872">
                <a:extLst>
                  <a:ext uri="{FF2B5EF4-FFF2-40B4-BE49-F238E27FC236}">
                    <a16:creationId xmlns:a16="http://schemas.microsoft.com/office/drawing/2014/main" id="{86A81004-75FE-0046-BB64-D89F219CFD1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14288 w 435483"/>
                  <a:gd name="connsiteY5" fmla="*/ 7144 h 435483"/>
                  <a:gd name="connsiteX6" fmla="*/ 14288 w 435483"/>
                  <a:gd name="connsiteY6" fmla="*/ 421196 h 435483"/>
                  <a:gd name="connsiteX7" fmla="*/ 421196 w 435483"/>
                  <a:gd name="connsiteY7" fmla="*/ 421196 h 435483"/>
                  <a:gd name="connsiteX8" fmla="*/ 421196 w 435483"/>
                  <a:gd name="connsiteY8" fmla="*/ 7144 h 435483"/>
                  <a:gd name="connsiteX9" fmla="*/ 428339 w 435483"/>
                  <a:gd name="connsiteY9" fmla="*/ 0 h 435483"/>
                  <a:gd name="connsiteX10" fmla="*/ 435483 w 435483"/>
                  <a:gd name="connsiteY10" fmla="*/ 7144 h 435483"/>
                  <a:gd name="connsiteX11" fmla="*/ 435483 w 435483"/>
                  <a:gd name="connsiteY11" fmla="*/ 428339 h 435483"/>
                  <a:gd name="connsiteX12" fmla="*/ 428339 w 435483"/>
                  <a:gd name="connsiteY12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cubicBezTo>
                      <a:pt x="11049" y="0"/>
                      <a:pt x="14288" y="3238"/>
                      <a:pt x="14288" y="7144"/>
                    </a:cubicBezTo>
                    <a:lnTo>
                      <a:pt x="14288" y="421196"/>
                    </a:lnTo>
                    <a:lnTo>
                      <a:pt x="421196" y="421196"/>
                    </a:lnTo>
                    <a:lnTo>
                      <a:pt x="421196" y="7144"/>
                    </a:lnTo>
                    <a:cubicBezTo>
                      <a:pt x="421196" y="3238"/>
                      <a:pt x="424434" y="0"/>
                      <a:pt x="428339" y="0"/>
                    </a:cubicBez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5" name="Grafik 3872">
                <a:extLst>
                  <a:ext uri="{FF2B5EF4-FFF2-40B4-BE49-F238E27FC236}">
                    <a16:creationId xmlns:a16="http://schemas.microsoft.com/office/drawing/2014/main" id="{C658ED40-8C1F-BA00-FA02-646C418B1B6D}"/>
                  </a:ext>
                </a:extLst>
              </p:cNvPr>
              <p:cNvSpPr/>
              <p:nvPr/>
            </p:nvSpPr>
            <p:spPr bwMode="gray">
              <a:xfrm>
                <a:off x="6329552" y="3176587"/>
                <a:ext cx="14287" cy="435483"/>
              </a:xfrm>
              <a:custGeom>
                <a:avLst/>
                <a:gdLst>
                  <a:gd name="connsiteX0" fmla="*/ 7144 w 14287"/>
                  <a:gd name="connsiteY0" fmla="*/ 435483 h 435483"/>
                  <a:gd name="connsiteX1" fmla="*/ 0 w 14287"/>
                  <a:gd name="connsiteY1" fmla="*/ 428339 h 435483"/>
                  <a:gd name="connsiteX2" fmla="*/ 0 w 14287"/>
                  <a:gd name="connsiteY2" fmla="*/ 7144 h 435483"/>
                  <a:gd name="connsiteX3" fmla="*/ 7144 w 14287"/>
                  <a:gd name="connsiteY3" fmla="*/ 0 h 435483"/>
                  <a:gd name="connsiteX4" fmla="*/ 14288 w 14287"/>
                  <a:gd name="connsiteY4" fmla="*/ 7144 h 435483"/>
                  <a:gd name="connsiteX5" fmla="*/ 14288 w 14287"/>
                  <a:gd name="connsiteY5" fmla="*/ 428339 h 435483"/>
                  <a:gd name="connsiteX6" fmla="*/ 7144 w 14287"/>
                  <a:gd name="connsiteY6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435483">
                    <a:moveTo>
                      <a:pt x="7144" y="435483"/>
                    </a:moveTo>
                    <a:cubicBezTo>
                      <a:pt x="3239" y="435483"/>
                      <a:pt x="0" y="432245"/>
                      <a:pt x="0" y="42833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428339"/>
                    </a:lnTo>
                    <a:cubicBezTo>
                      <a:pt x="14288" y="432245"/>
                      <a:pt x="11144" y="435483"/>
                      <a:pt x="7144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6" name="Grafik 3872">
                <a:extLst>
                  <a:ext uri="{FF2B5EF4-FFF2-40B4-BE49-F238E27FC236}">
                    <a16:creationId xmlns:a16="http://schemas.microsoft.com/office/drawing/2014/main" id="{379739FA-19F8-A7A5-9801-1CEE082691EC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9525" h="9525"/>
                </a:pathLst>
              </a:custGeom>
              <a:grpFill/>
              <a:ln w="14288" cap="rnd">
                <a:solidFill>
                  <a:srgbClr val="FF00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7" name="Grafik 3872">
                <a:extLst>
                  <a:ext uri="{FF2B5EF4-FFF2-40B4-BE49-F238E27FC236}">
                    <a16:creationId xmlns:a16="http://schemas.microsoft.com/office/drawing/2014/main" id="{C411D5F6-481E-B284-EEF2-625E1B0C7538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8" name="Grafik 3872">
                <a:extLst>
                  <a:ext uri="{FF2B5EF4-FFF2-40B4-BE49-F238E27FC236}">
                    <a16:creationId xmlns:a16="http://schemas.microsoft.com/office/drawing/2014/main" id="{FFBF1A32-AFCA-465C-DDD5-F4DBD081D4B7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9" name="Grafik 3872">
                <a:extLst>
                  <a:ext uri="{FF2B5EF4-FFF2-40B4-BE49-F238E27FC236}">
                    <a16:creationId xmlns:a16="http://schemas.microsoft.com/office/drawing/2014/main" id="{E400B910-42DC-8675-C837-CCAC0078AD1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307" name="Grafik 3872">
              <a:extLst>
                <a:ext uri="{FF2B5EF4-FFF2-40B4-BE49-F238E27FC236}">
                  <a16:creationId xmlns:a16="http://schemas.microsoft.com/office/drawing/2014/main" id="{D3C1AC15-B1AA-7366-6104-C0C06ADE4A32}"/>
                </a:ext>
              </a:extLst>
            </p:cNvPr>
            <p:cNvSpPr/>
            <p:nvPr/>
          </p:nvSpPr>
          <p:spPr bwMode="gray">
            <a:xfrm>
              <a:off x="5843548" y="3241396"/>
              <a:ext cx="435370" cy="62158"/>
            </a:xfrm>
            <a:custGeom>
              <a:avLst/>
              <a:gdLst>
                <a:gd name="connsiteX0" fmla="*/ 217780 w 435370"/>
                <a:gd name="connsiteY0" fmla="*/ 62158 h 62158"/>
                <a:gd name="connsiteX1" fmla="*/ 4039 w 435370"/>
                <a:gd name="connsiteY1" fmla="*/ 13581 h 62158"/>
                <a:gd name="connsiteX2" fmla="*/ 706 w 435370"/>
                <a:gd name="connsiteY2" fmla="*/ 4056 h 62158"/>
                <a:gd name="connsiteX3" fmla="*/ 10231 w 435370"/>
                <a:gd name="connsiteY3" fmla="*/ 722 h 62158"/>
                <a:gd name="connsiteX4" fmla="*/ 217685 w 435370"/>
                <a:gd name="connsiteY4" fmla="*/ 47871 h 62158"/>
                <a:gd name="connsiteX5" fmla="*/ 425140 w 435370"/>
                <a:gd name="connsiteY5" fmla="*/ 722 h 62158"/>
                <a:gd name="connsiteX6" fmla="*/ 434665 w 435370"/>
                <a:gd name="connsiteY6" fmla="*/ 4056 h 62158"/>
                <a:gd name="connsiteX7" fmla="*/ 431331 w 435370"/>
                <a:gd name="connsiteY7" fmla="*/ 13581 h 62158"/>
                <a:gd name="connsiteX8" fmla="*/ 217780 w 435370"/>
                <a:gd name="connsiteY8" fmla="*/ 62158 h 62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5370" h="62158">
                  <a:moveTo>
                    <a:pt x="217780" y="62158"/>
                  </a:moveTo>
                  <a:cubicBezTo>
                    <a:pt x="142914" y="62158"/>
                    <a:pt x="71000" y="45775"/>
                    <a:pt x="4039" y="13581"/>
                  </a:cubicBezTo>
                  <a:cubicBezTo>
                    <a:pt x="515" y="11866"/>
                    <a:pt x="-1009" y="7580"/>
                    <a:pt x="706" y="4056"/>
                  </a:cubicBezTo>
                  <a:cubicBezTo>
                    <a:pt x="2420" y="436"/>
                    <a:pt x="6706" y="-992"/>
                    <a:pt x="10231" y="722"/>
                  </a:cubicBezTo>
                  <a:cubicBezTo>
                    <a:pt x="75191" y="32059"/>
                    <a:pt x="145009" y="47871"/>
                    <a:pt x="217685" y="47871"/>
                  </a:cubicBezTo>
                  <a:cubicBezTo>
                    <a:pt x="290361" y="47871"/>
                    <a:pt x="360179" y="31964"/>
                    <a:pt x="425140" y="722"/>
                  </a:cubicBezTo>
                  <a:cubicBezTo>
                    <a:pt x="428664" y="-992"/>
                    <a:pt x="432950" y="532"/>
                    <a:pt x="434665" y="4056"/>
                  </a:cubicBezTo>
                  <a:cubicBezTo>
                    <a:pt x="436379" y="7580"/>
                    <a:pt x="434855" y="11866"/>
                    <a:pt x="431331" y="13581"/>
                  </a:cubicBezTo>
                  <a:cubicBezTo>
                    <a:pt x="364561" y="45775"/>
                    <a:pt x="292647" y="62158"/>
                    <a:pt x="217780" y="6215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8" name="Grafik 3872">
              <a:extLst>
                <a:ext uri="{FF2B5EF4-FFF2-40B4-BE49-F238E27FC236}">
                  <a16:creationId xmlns:a16="http://schemas.microsoft.com/office/drawing/2014/main" id="{9C6B290C-8796-1260-12A2-C2C53527FEED}"/>
                </a:ext>
              </a:extLst>
            </p:cNvPr>
            <p:cNvSpPr/>
            <p:nvPr/>
          </p:nvSpPr>
          <p:spPr bwMode="gray">
            <a:xfrm>
              <a:off x="5908318" y="3176643"/>
              <a:ext cx="435465" cy="62141"/>
            </a:xfrm>
            <a:custGeom>
              <a:avLst/>
              <a:gdLst>
                <a:gd name="connsiteX0" fmla="*/ 217780 w 435465"/>
                <a:gd name="connsiteY0" fmla="*/ 62142 h 62141"/>
                <a:gd name="connsiteX1" fmla="*/ 4039 w 435465"/>
                <a:gd name="connsiteY1" fmla="*/ 13564 h 62141"/>
                <a:gd name="connsiteX2" fmla="*/ 706 w 435465"/>
                <a:gd name="connsiteY2" fmla="*/ 4039 h 62141"/>
                <a:gd name="connsiteX3" fmla="*/ 10231 w 435465"/>
                <a:gd name="connsiteY3" fmla="*/ 706 h 62141"/>
                <a:gd name="connsiteX4" fmla="*/ 217685 w 435465"/>
                <a:gd name="connsiteY4" fmla="*/ 47854 h 62141"/>
                <a:gd name="connsiteX5" fmla="*/ 425235 w 435465"/>
                <a:gd name="connsiteY5" fmla="*/ 706 h 62141"/>
                <a:gd name="connsiteX6" fmla="*/ 434760 w 435465"/>
                <a:gd name="connsiteY6" fmla="*/ 4039 h 62141"/>
                <a:gd name="connsiteX7" fmla="*/ 431426 w 435465"/>
                <a:gd name="connsiteY7" fmla="*/ 13564 h 62141"/>
                <a:gd name="connsiteX8" fmla="*/ 217780 w 435465"/>
                <a:gd name="connsiteY8" fmla="*/ 62142 h 62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5465" h="62141">
                  <a:moveTo>
                    <a:pt x="217780" y="62142"/>
                  </a:moveTo>
                  <a:cubicBezTo>
                    <a:pt x="142914" y="62142"/>
                    <a:pt x="71000" y="45759"/>
                    <a:pt x="4039" y="13564"/>
                  </a:cubicBezTo>
                  <a:cubicBezTo>
                    <a:pt x="515" y="11850"/>
                    <a:pt x="-1009" y="7564"/>
                    <a:pt x="706" y="4039"/>
                  </a:cubicBezTo>
                  <a:cubicBezTo>
                    <a:pt x="2420" y="515"/>
                    <a:pt x="6706" y="-1009"/>
                    <a:pt x="10231" y="706"/>
                  </a:cubicBezTo>
                  <a:cubicBezTo>
                    <a:pt x="75191" y="32043"/>
                    <a:pt x="145009" y="47854"/>
                    <a:pt x="217685" y="47854"/>
                  </a:cubicBezTo>
                  <a:cubicBezTo>
                    <a:pt x="290361" y="47854"/>
                    <a:pt x="360179" y="31948"/>
                    <a:pt x="425235" y="706"/>
                  </a:cubicBezTo>
                  <a:cubicBezTo>
                    <a:pt x="428759" y="-1009"/>
                    <a:pt x="433045" y="515"/>
                    <a:pt x="434760" y="4039"/>
                  </a:cubicBezTo>
                  <a:cubicBezTo>
                    <a:pt x="436474" y="7564"/>
                    <a:pt x="434950" y="11850"/>
                    <a:pt x="431426" y="13564"/>
                  </a:cubicBezTo>
                  <a:cubicBezTo>
                    <a:pt x="364561" y="45759"/>
                    <a:pt x="292647" y="62142"/>
                    <a:pt x="217780" y="6214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20" name="Grafik 3874">
            <a:extLst>
              <a:ext uri="{FF2B5EF4-FFF2-40B4-BE49-F238E27FC236}">
                <a16:creationId xmlns:a16="http://schemas.microsoft.com/office/drawing/2014/main" id="{80A08732-84CF-A37F-865A-5545D03A90EA}"/>
              </a:ext>
            </a:extLst>
          </p:cNvPr>
          <p:cNvGrpSpPr/>
          <p:nvPr/>
        </p:nvGrpSpPr>
        <p:grpSpPr bwMode="gray">
          <a:xfrm>
            <a:off x="5130236" y="240224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21" name="Grafik 3874">
              <a:extLst>
                <a:ext uri="{FF2B5EF4-FFF2-40B4-BE49-F238E27FC236}">
                  <a16:creationId xmlns:a16="http://schemas.microsoft.com/office/drawing/2014/main" id="{6491DE5A-D6A8-0013-3018-2925BE46494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339" name="Grafik 3874">
                <a:extLst>
                  <a:ext uri="{FF2B5EF4-FFF2-40B4-BE49-F238E27FC236}">
                    <a16:creationId xmlns:a16="http://schemas.microsoft.com/office/drawing/2014/main" id="{54737410-EEF4-1C49-7FB4-6D52487509C2}"/>
                  </a:ext>
                </a:extLst>
              </p:cNvPr>
              <p:cNvGrpSpPr/>
              <p:nvPr/>
            </p:nvGrpSpPr>
            <p:grpSpPr bwMode="gray">
              <a:xfrm>
                <a:off x="5892164" y="3549204"/>
                <a:ext cx="338327" cy="79057"/>
                <a:chOff x="5892164" y="3549204"/>
                <a:chExt cx="338327" cy="79057"/>
              </a:xfrm>
              <a:grpFill/>
            </p:grpSpPr>
            <p:sp>
              <p:nvSpPr>
                <p:cNvPr id="345" name="Grafik 3874">
                  <a:extLst>
                    <a:ext uri="{FF2B5EF4-FFF2-40B4-BE49-F238E27FC236}">
                      <a16:creationId xmlns:a16="http://schemas.microsoft.com/office/drawing/2014/main" id="{34EACD78-C4E6-DE3A-77CB-2B3A9E996F31}"/>
                    </a:ext>
                  </a:extLst>
                </p:cNvPr>
                <p:cNvSpPr/>
                <p:nvPr/>
              </p:nvSpPr>
              <p:spPr bwMode="gray">
                <a:xfrm>
                  <a:off x="6021799" y="3549204"/>
                  <a:ext cx="79057" cy="79057"/>
                </a:xfrm>
                <a:custGeom>
                  <a:avLst/>
                  <a:gdLst>
                    <a:gd name="connsiteX0" fmla="*/ 39529 w 79057"/>
                    <a:gd name="connsiteY0" fmla="*/ 79057 h 79057"/>
                    <a:gd name="connsiteX1" fmla="*/ 0 w 79057"/>
                    <a:gd name="connsiteY1" fmla="*/ 39529 h 79057"/>
                    <a:gd name="connsiteX2" fmla="*/ 39529 w 79057"/>
                    <a:gd name="connsiteY2" fmla="*/ 0 h 79057"/>
                    <a:gd name="connsiteX3" fmla="*/ 79058 w 79057"/>
                    <a:gd name="connsiteY3" fmla="*/ 39529 h 79057"/>
                    <a:gd name="connsiteX4" fmla="*/ 39529 w 79057"/>
                    <a:gd name="connsiteY4" fmla="*/ 79057 h 79057"/>
                    <a:gd name="connsiteX5" fmla="*/ 39529 w 79057"/>
                    <a:gd name="connsiteY5" fmla="*/ 14288 h 79057"/>
                    <a:gd name="connsiteX6" fmla="*/ 14288 w 79057"/>
                    <a:gd name="connsiteY6" fmla="*/ 39529 h 79057"/>
                    <a:gd name="connsiteX7" fmla="*/ 39529 w 79057"/>
                    <a:gd name="connsiteY7" fmla="*/ 64770 h 79057"/>
                    <a:gd name="connsiteX8" fmla="*/ 64770 w 79057"/>
                    <a:gd name="connsiteY8" fmla="*/ 39529 h 79057"/>
                    <a:gd name="connsiteX9" fmla="*/ 39529 w 79057"/>
                    <a:gd name="connsiteY9" fmla="*/ 14288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9057" h="79057">
                      <a:moveTo>
                        <a:pt x="39529" y="79057"/>
                      </a:moveTo>
                      <a:cubicBezTo>
                        <a:pt x="17717" y="79057"/>
                        <a:pt x="0" y="61341"/>
                        <a:pt x="0" y="39529"/>
                      </a:cubicBezTo>
                      <a:cubicBezTo>
                        <a:pt x="0" y="17717"/>
                        <a:pt x="17717" y="0"/>
                        <a:pt x="39529" y="0"/>
                      </a:cubicBezTo>
                      <a:cubicBezTo>
                        <a:pt x="61341" y="0"/>
                        <a:pt x="79058" y="17717"/>
                        <a:pt x="79058" y="39529"/>
                      </a:cubicBezTo>
                      <a:cubicBezTo>
                        <a:pt x="79058" y="61341"/>
                        <a:pt x="61341" y="79057"/>
                        <a:pt x="39529" y="79057"/>
                      </a:cubicBezTo>
                      <a:close/>
                      <a:moveTo>
                        <a:pt x="39529" y="14288"/>
                      </a:moveTo>
                      <a:cubicBezTo>
                        <a:pt x="25622" y="14288"/>
                        <a:pt x="14288" y="25622"/>
                        <a:pt x="14288" y="39529"/>
                      </a:cubicBezTo>
                      <a:cubicBezTo>
                        <a:pt x="14288" y="53435"/>
                        <a:pt x="25622" y="64770"/>
                        <a:pt x="39529" y="64770"/>
                      </a:cubicBezTo>
                      <a:cubicBezTo>
                        <a:pt x="53435" y="64770"/>
                        <a:pt x="64770" y="53435"/>
                        <a:pt x="64770" y="39529"/>
                      </a:cubicBezTo>
                      <a:cubicBezTo>
                        <a:pt x="64770" y="25622"/>
                        <a:pt x="53435" y="14288"/>
                        <a:pt x="3952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6" name="Grafik 3874">
                  <a:extLst>
                    <a:ext uri="{FF2B5EF4-FFF2-40B4-BE49-F238E27FC236}">
                      <a16:creationId xmlns:a16="http://schemas.microsoft.com/office/drawing/2014/main" id="{8356F005-3EF1-C09F-954D-3B8A56459C18}"/>
                    </a:ext>
                  </a:extLst>
                </p:cNvPr>
                <p:cNvSpPr/>
                <p:nvPr/>
              </p:nvSpPr>
              <p:spPr bwMode="gray">
                <a:xfrm>
                  <a:off x="6086569" y="3549204"/>
                  <a:ext cx="79057" cy="79057"/>
                </a:xfrm>
                <a:custGeom>
                  <a:avLst/>
                  <a:gdLst>
                    <a:gd name="connsiteX0" fmla="*/ 39529 w 79057"/>
                    <a:gd name="connsiteY0" fmla="*/ 79057 h 79057"/>
                    <a:gd name="connsiteX1" fmla="*/ 0 w 79057"/>
                    <a:gd name="connsiteY1" fmla="*/ 39529 h 79057"/>
                    <a:gd name="connsiteX2" fmla="*/ 39529 w 79057"/>
                    <a:gd name="connsiteY2" fmla="*/ 0 h 79057"/>
                    <a:gd name="connsiteX3" fmla="*/ 79058 w 79057"/>
                    <a:gd name="connsiteY3" fmla="*/ 39529 h 79057"/>
                    <a:gd name="connsiteX4" fmla="*/ 39529 w 79057"/>
                    <a:gd name="connsiteY4" fmla="*/ 79057 h 79057"/>
                    <a:gd name="connsiteX5" fmla="*/ 39529 w 79057"/>
                    <a:gd name="connsiteY5" fmla="*/ 14288 h 79057"/>
                    <a:gd name="connsiteX6" fmla="*/ 14288 w 79057"/>
                    <a:gd name="connsiteY6" fmla="*/ 39529 h 79057"/>
                    <a:gd name="connsiteX7" fmla="*/ 39529 w 79057"/>
                    <a:gd name="connsiteY7" fmla="*/ 64770 h 79057"/>
                    <a:gd name="connsiteX8" fmla="*/ 64770 w 79057"/>
                    <a:gd name="connsiteY8" fmla="*/ 39529 h 79057"/>
                    <a:gd name="connsiteX9" fmla="*/ 39529 w 79057"/>
                    <a:gd name="connsiteY9" fmla="*/ 14288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9057" h="79057">
                      <a:moveTo>
                        <a:pt x="39529" y="79057"/>
                      </a:moveTo>
                      <a:cubicBezTo>
                        <a:pt x="17717" y="79057"/>
                        <a:pt x="0" y="61341"/>
                        <a:pt x="0" y="39529"/>
                      </a:cubicBezTo>
                      <a:cubicBezTo>
                        <a:pt x="0" y="17717"/>
                        <a:pt x="17717" y="0"/>
                        <a:pt x="39529" y="0"/>
                      </a:cubicBezTo>
                      <a:cubicBezTo>
                        <a:pt x="61341" y="0"/>
                        <a:pt x="79058" y="17717"/>
                        <a:pt x="79058" y="39529"/>
                      </a:cubicBezTo>
                      <a:cubicBezTo>
                        <a:pt x="79058" y="61341"/>
                        <a:pt x="61341" y="79057"/>
                        <a:pt x="39529" y="79057"/>
                      </a:cubicBezTo>
                      <a:close/>
                      <a:moveTo>
                        <a:pt x="39529" y="14288"/>
                      </a:moveTo>
                      <a:cubicBezTo>
                        <a:pt x="25622" y="14288"/>
                        <a:pt x="14288" y="25622"/>
                        <a:pt x="14288" y="39529"/>
                      </a:cubicBezTo>
                      <a:cubicBezTo>
                        <a:pt x="14288" y="53435"/>
                        <a:pt x="25622" y="64770"/>
                        <a:pt x="39529" y="64770"/>
                      </a:cubicBezTo>
                      <a:cubicBezTo>
                        <a:pt x="53435" y="64770"/>
                        <a:pt x="64770" y="53435"/>
                        <a:pt x="64770" y="39529"/>
                      </a:cubicBezTo>
                      <a:cubicBezTo>
                        <a:pt x="64770" y="25622"/>
                        <a:pt x="53530" y="14288"/>
                        <a:pt x="3952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7" name="Grafik 3874">
                  <a:extLst>
                    <a:ext uri="{FF2B5EF4-FFF2-40B4-BE49-F238E27FC236}">
                      <a16:creationId xmlns:a16="http://schemas.microsoft.com/office/drawing/2014/main" id="{ABF38268-2594-2D7C-B424-3C46CC21E6CB}"/>
                    </a:ext>
                  </a:extLst>
                </p:cNvPr>
                <p:cNvSpPr/>
                <p:nvPr/>
              </p:nvSpPr>
              <p:spPr bwMode="gray">
                <a:xfrm>
                  <a:off x="6151434" y="3549204"/>
                  <a:ext cx="79057" cy="79057"/>
                </a:xfrm>
                <a:custGeom>
                  <a:avLst/>
                  <a:gdLst>
                    <a:gd name="connsiteX0" fmla="*/ 39529 w 79057"/>
                    <a:gd name="connsiteY0" fmla="*/ 79057 h 79057"/>
                    <a:gd name="connsiteX1" fmla="*/ 0 w 79057"/>
                    <a:gd name="connsiteY1" fmla="*/ 39529 h 79057"/>
                    <a:gd name="connsiteX2" fmla="*/ 39529 w 79057"/>
                    <a:gd name="connsiteY2" fmla="*/ 0 h 79057"/>
                    <a:gd name="connsiteX3" fmla="*/ 79057 w 79057"/>
                    <a:gd name="connsiteY3" fmla="*/ 39529 h 79057"/>
                    <a:gd name="connsiteX4" fmla="*/ 39529 w 79057"/>
                    <a:gd name="connsiteY4" fmla="*/ 79057 h 79057"/>
                    <a:gd name="connsiteX5" fmla="*/ 39529 w 79057"/>
                    <a:gd name="connsiteY5" fmla="*/ 14288 h 79057"/>
                    <a:gd name="connsiteX6" fmla="*/ 14288 w 79057"/>
                    <a:gd name="connsiteY6" fmla="*/ 39529 h 79057"/>
                    <a:gd name="connsiteX7" fmla="*/ 39529 w 79057"/>
                    <a:gd name="connsiteY7" fmla="*/ 64770 h 79057"/>
                    <a:gd name="connsiteX8" fmla="*/ 64770 w 79057"/>
                    <a:gd name="connsiteY8" fmla="*/ 39529 h 79057"/>
                    <a:gd name="connsiteX9" fmla="*/ 39529 w 79057"/>
                    <a:gd name="connsiteY9" fmla="*/ 14288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9057" h="79057">
                      <a:moveTo>
                        <a:pt x="39529" y="79057"/>
                      </a:moveTo>
                      <a:cubicBezTo>
                        <a:pt x="17717" y="79057"/>
                        <a:pt x="0" y="61341"/>
                        <a:pt x="0" y="39529"/>
                      </a:cubicBezTo>
                      <a:cubicBezTo>
                        <a:pt x="0" y="17717"/>
                        <a:pt x="17717" y="0"/>
                        <a:pt x="39529" y="0"/>
                      </a:cubicBezTo>
                      <a:cubicBezTo>
                        <a:pt x="61341" y="0"/>
                        <a:pt x="79057" y="17717"/>
                        <a:pt x="79057" y="39529"/>
                      </a:cubicBezTo>
                      <a:cubicBezTo>
                        <a:pt x="79057" y="61341"/>
                        <a:pt x="61341" y="79057"/>
                        <a:pt x="39529" y="79057"/>
                      </a:cubicBezTo>
                      <a:close/>
                      <a:moveTo>
                        <a:pt x="39529" y="14288"/>
                      </a:moveTo>
                      <a:cubicBezTo>
                        <a:pt x="25622" y="14288"/>
                        <a:pt x="14288" y="25622"/>
                        <a:pt x="14288" y="39529"/>
                      </a:cubicBezTo>
                      <a:cubicBezTo>
                        <a:pt x="14288" y="53435"/>
                        <a:pt x="25622" y="64770"/>
                        <a:pt x="39529" y="64770"/>
                      </a:cubicBezTo>
                      <a:cubicBezTo>
                        <a:pt x="53435" y="64770"/>
                        <a:pt x="64770" y="53435"/>
                        <a:pt x="64770" y="39529"/>
                      </a:cubicBezTo>
                      <a:cubicBezTo>
                        <a:pt x="64770" y="25622"/>
                        <a:pt x="53435" y="14288"/>
                        <a:pt x="3952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8" name="Grafik 3874">
                  <a:extLst>
                    <a:ext uri="{FF2B5EF4-FFF2-40B4-BE49-F238E27FC236}">
                      <a16:creationId xmlns:a16="http://schemas.microsoft.com/office/drawing/2014/main" id="{9C05DD33-DBF0-184D-AD1D-095F6EFB3B2D}"/>
                    </a:ext>
                  </a:extLst>
                </p:cNvPr>
                <p:cNvSpPr/>
                <p:nvPr/>
              </p:nvSpPr>
              <p:spPr bwMode="gray">
                <a:xfrm>
                  <a:off x="5957029" y="3549204"/>
                  <a:ext cx="79057" cy="79057"/>
                </a:xfrm>
                <a:custGeom>
                  <a:avLst/>
                  <a:gdLst>
                    <a:gd name="connsiteX0" fmla="*/ 39529 w 79057"/>
                    <a:gd name="connsiteY0" fmla="*/ 79057 h 79057"/>
                    <a:gd name="connsiteX1" fmla="*/ 0 w 79057"/>
                    <a:gd name="connsiteY1" fmla="*/ 39529 h 79057"/>
                    <a:gd name="connsiteX2" fmla="*/ 39529 w 79057"/>
                    <a:gd name="connsiteY2" fmla="*/ 0 h 79057"/>
                    <a:gd name="connsiteX3" fmla="*/ 79057 w 79057"/>
                    <a:gd name="connsiteY3" fmla="*/ 39529 h 79057"/>
                    <a:gd name="connsiteX4" fmla="*/ 39529 w 79057"/>
                    <a:gd name="connsiteY4" fmla="*/ 79057 h 79057"/>
                    <a:gd name="connsiteX5" fmla="*/ 39529 w 79057"/>
                    <a:gd name="connsiteY5" fmla="*/ 14288 h 79057"/>
                    <a:gd name="connsiteX6" fmla="*/ 14288 w 79057"/>
                    <a:gd name="connsiteY6" fmla="*/ 39529 h 79057"/>
                    <a:gd name="connsiteX7" fmla="*/ 39529 w 79057"/>
                    <a:gd name="connsiteY7" fmla="*/ 64770 h 79057"/>
                    <a:gd name="connsiteX8" fmla="*/ 64770 w 79057"/>
                    <a:gd name="connsiteY8" fmla="*/ 39529 h 79057"/>
                    <a:gd name="connsiteX9" fmla="*/ 39529 w 79057"/>
                    <a:gd name="connsiteY9" fmla="*/ 14288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9057" h="79057">
                      <a:moveTo>
                        <a:pt x="39529" y="79057"/>
                      </a:moveTo>
                      <a:cubicBezTo>
                        <a:pt x="17717" y="79057"/>
                        <a:pt x="0" y="61341"/>
                        <a:pt x="0" y="39529"/>
                      </a:cubicBezTo>
                      <a:cubicBezTo>
                        <a:pt x="0" y="17717"/>
                        <a:pt x="17717" y="0"/>
                        <a:pt x="39529" y="0"/>
                      </a:cubicBezTo>
                      <a:cubicBezTo>
                        <a:pt x="61341" y="0"/>
                        <a:pt x="79057" y="17717"/>
                        <a:pt x="79057" y="39529"/>
                      </a:cubicBezTo>
                      <a:cubicBezTo>
                        <a:pt x="79057" y="61341"/>
                        <a:pt x="61341" y="79057"/>
                        <a:pt x="39529" y="79057"/>
                      </a:cubicBezTo>
                      <a:close/>
                      <a:moveTo>
                        <a:pt x="39529" y="14288"/>
                      </a:moveTo>
                      <a:cubicBezTo>
                        <a:pt x="25622" y="14288"/>
                        <a:pt x="14288" y="25622"/>
                        <a:pt x="14288" y="39529"/>
                      </a:cubicBezTo>
                      <a:cubicBezTo>
                        <a:pt x="14288" y="53435"/>
                        <a:pt x="25622" y="64770"/>
                        <a:pt x="39529" y="64770"/>
                      </a:cubicBezTo>
                      <a:cubicBezTo>
                        <a:pt x="53435" y="64770"/>
                        <a:pt x="64770" y="53435"/>
                        <a:pt x="64770" y="39529"/>
                      </a:cubicBezTo>
                      <a:cubicBezTo>
                        <a:pt x="64770" y="25622"/>
                        <a:pt x="53435" y="14288"/>
                        <a:pt x="3952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9" name="Grafik 3874">
                  <a:extLst>
                    <a:ext uri="{FF2B5EF4-FFF2-40B4-BE49-F238E27FC236}">
                      <a16:creationId xmlns:a16="http://schemas.microsoft.com/office/drawing/2014/main" id="{71E43AA5-B462-4B21-0408-671D809624B8}"/>
                    </a:ext>
                  </a:extLst>
                </p:cNvPr>
                <p:cNvSpPr/>
                <p:nvPr/>
              </p:nvSpPr>
              <p:spPr bwMode="gray">
                <a:xfrm>
                  <a:off x="5892164" y="3549204"/>
                  <a:ext cx="79057" cy="79057"/>
                </a:xfrm>
                <a:custGeom>
                  <a:avLst/>
                  <a:gdLst>
                    <a:gd name="connsiteX0" fmla="*/ 39529 w 79057"/>
                    <a:gd name="connsiteY0" fmla="*/ 79057 h 79057"/>
                    <a:gd name="connsiteX1" fmla="*/ 0 w 79057"/>
                    <a:gd name="connsiteY1" fmla="*/ 39529 h 79057"/>
                    <a:gd name="connsiteX2" fmla="*/ 39529 w 79057"/>
                    <a:gd name="connsiteY2" fmla="*/ 0 h 79057"/>
                    <a:gd name="connsiteX3" fmla="*/ 79058 w 79057"/>
                    <a:gd name="connsiteY3" fmla="*/ 39529 h 79057"/>
                    <a:gd name="connsiteX4" fmla="*/ 39529 w 79057"/>
                    <a:gd name="connsiteY4" fmla="*/ 79057 h 79057"/>
                    <a:gd name="connsiteX5" fmla="*/ 39529 w 79057"/>
                    <a:gd name="connsiteY5" fmla="*/ 14288 h 79057"/>
                    <a:gd name="connsiteX6" fmla="*/ 14288 w 79057"/>
                    <a:gd name="connsiteY6" fmla="*/ 39529 h 79057"/>
                    <a:gd name="connsiteX7" fmla="*/ 39529 w 79057"/>
                    <a:gd name="connsiteY7" fmla="*/ 64770 h 79057"/>
                    <a:gd name="connsiteX8" fmla="*/ 64770 w 79057"/>
                    <a:gd name="connsiteY8" fmla="*/ 39529 h 79057"/>
                    <a:gd name="connsiteX9" fmla="*/ 39529 w 79057"/>
                    <a:gd name="connsiteY9" fmla="*/ 14288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9057" h="79057">
                      <a:moveTo>
                        <a:pt x="39529" y="79057"/>
                      </a:moveTo>
                      <a:cubicBezTo>
                        <a:pt x="17717" y="79057"/>
                        <a:pt x="0" y="61341"/>
                        <a:pt x="0" y="39529"/>
                      </a:cubicBezTo>
                      <a:cubicBezTo>
                        <a:pt x="0" y="17717"/>
                        <a:pt x="17717" y="0"/>
                        <a:pt x="39529" y="0"/>
                      </a:cubicBezTo>
                      <a:cubicBezTo>
                        <a:pt x="61341" y="0"/>
                        <a:pt x="79058" y="17717"/>
                        <a:pt x="79058" y="39529"/>
                      </a:cubicBezTo>
                      <a:cubicBezTo>
                        <a:pt x="79058" y="61341"/>
                        <a:pt x="61341" y="79057"/>
                        <a:pt x="39529" y="79057"/>
                      </a:cubicBezTo>
                      <a:close/>
                      <a:moveTo>
                        <a:pt x="39529" y="14288"/>
                      </a:moveTo>
                      <a:cubicBezTo>
                        <a:pt x="25622" y="14288"/>
                        <a:pt x="14288" y="25622"/>
                        <a:pt x="14288" y="39529"/>
                      </a:cubicBezTo>
                      <a:cubicBezTo>
                        <a:pt x="14288" y="53435"/>
                        <a:pt x="25622" y="64770"/>
                        <a:pt x="39529" y="64770"/>
                      </a:cubicBezTo>
                      <a:cubicBezTo>
                        <a:pt x="53435" y="64770"/>
                        <a:pt x="64770" y="53435"/>
                        <a:pt x="64770" y="39529"/>
                      </a:cubicBezTo>
                      <a:cubicBezTo>
                        <a:pt x="64770" y="25622"/>
                        <a:pt x="53531" y="14288"/>
                        <a:pt x="3952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340" name="Grafik 3874">
                <a:extLst>
                  <a:ext uri="{FF2B5EF4-FFF2-40B4-BE49-F238E27FC236}">
                    <a16:creationId xmlns:a16="http://schemas.microsoft.com/office/drawing/2014/main" id="{8A614711-522A-8FD9-08E4-16FDDFF067D7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1" name="Grafik 3874">
                <a:extLst>
                  <a:ext uri="{FF2B5EF4-FFF2-40B4-BE49-F238E27FC236}">
                    <a16:creationId xmlns:a16="http://schemas.microsoft.com/office/drawing/2014/main" id="{6AE9B2DD-7DDF-611E-FCAF-96D205B518A8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2" name="Grafik 3874">
                <a:extLst>
                  <a:ext uri="{FF2B5EF4-FFF2-40B4-BE49-F238E27FC236}">
                    <a16:creationId xmlns:a16="http://schemas.microsoft.com/office/drawing/2014/main" id="{26C21EFF-A85A-05B2-7414-08B2BE0929B2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3" name="Grafik 3874">
                <a:extLst>
                  <a:ext uri="{FF2B5EF4-FFF2-40B4-BE49-F238E27FC236}">
                    <a16:creationId xmlns:a16="http://schemas.microsoft.com/office/drawing/2014/main" id="{AB589A21-DF1F-6AA9-DE27-55A359BC833A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4" name="Grafik 3874">
                <a:extLst>
                  <a:ext uri="{FF2B5EF4-FFF2-40B4-BE49-F238E27FC236}">
                    <a16:creationId xmlns:a16="http://schemas.microsoft.com/office/drawing/2014/main" id="{6B65230E-86B4-F7D8-27B4-85E4249F43C2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22" name="Grafik 3874">
              <a:extLst>
                <a:ext uri="{FF2B5EF4-FFF2-40B4-BE49-F238E27FC236}">
                  <a16:creationId xmlns:a16="http://schemas.microsoft.com/office/drawing/2014/main" id="{5D197C51-1D38-9947-4437-DE208666F822}"/>
                </a:ext>
              </a:extLst>
            </p:cNvPr>
            <p:cNvGrpSpPr/>
            <p:nvPr/>
          </p:nvGrpSpPr>
          <p:grpSpPr bwMode="gray">
            <a:xfrm>
              <a:off x="5952005" y="3279457"/>
              <a:ext cx="218646" cy="224504"/>
              <a:chOff x="5952005" y="3279457"/>
              <a:chExt cx="218646" cy="224504"/>
            </a:xfrm>
            <a:grpFill/>
          </p:grpSpPr>
          <p:grpSp>
            <p:nvGrpSpPr>
              <p:cNvPr id="323" name="Grafik 3874">
                <a:extLst>
                  <a:ext uri="{FF2B5EF4-FFF2-40B4-BE49-F238E27FC236}">
                    <a16:creationId xmlns:a16="http://schemas.microsoft.com/office/drawing/2014/main" id="{428B90B0-CDB7-C7C8-8C52-9105F0E96E82}"/>
                  </a:ext>
                </a:extLst>
              </p:cNvPr>
              <p:cNvGrpSpPr/>
              <p:nvPr/>
            </p:nvGrpSpPr>
            <p:grpSpPr bwMode="gray">
              <a:xfrm>
                <a:off x="6110025" y="3400900"/>
                <a:ext cx="60626" cy="60674"/>
                <a:chOff x="6110025" y="3400900"/>
                <a:chExt cx="60626" cy="60674"/>
              </a:xfrm>
              <a:grpFill/>
            </p:grpSpPr>
            <p:sp>
              <p:nvSpPr>
                <p:cNvPr id="336" name="Grafik 3874">
                  <a:extLst>
                    <a:ext uri="{FF2B5EF4-FFF2-40B4-BE49-F238E27FC236}">
                      <a16:creationId xmlns:a16="http://schemas.microsoft.com/office/drawing/2014/main" id="{72940B4C-4E7E-1A71-41D9-6DE337DF55B5}"/>
                    </a:ext>
                  </a:extLst>
                </p:cNvPr>
                <p:cNvSpPr/>
                <p:nvPr/>
              </p:nvSpPr>
              <p:spPr bwMode="gray">
                <a:xfrm>
                  <a:off x="6110025" y="3400924"/>
                  <a:ext cx="60626" cy="60650"/>
                </a:xfrm>
                <a:custGeom>
                  <a:avLst/>
                  <a:gdLst>
                    <a:gd name="connsiteX0" fmla="*/ 53507 w 60626"/>
                    <a:gd name="connsiteY0" fmla="*/ 60650 h 60650"/>
                    <a:gd name="connsiteX1" fmla="*/ 48458 w 60626"/>
                    <a:gd name="connsiteY1" fmla="*/ 58555 h 60650"/>
                    <a:gd name="connsiteX2" fmla="*/ 2072 w 60626"/>
                    <a:gd name="connsiteY2" fmla="*/ 12168 h 60650"/>
                    <a:gd name="connsiteX3" fmla="*/ 2072 w 60626"/>
                    <a:gd name="connsiteY3" fmla="*/ 2072 h 60650"/>
                    <a:gd name="connsiteX4" fmla="*/ 12168 w 60626"/>
                    <a:gd name="connsiteY4" fmla="*/ 2072 h 60650"/>
                    <a:gd name="connsiteX5" fmla="*/ 58555 w 60626"/>
                    <a:gd name="connsiteY5" fmla="*/ 48458 h 60650"/>
                    <a:gd name="connsiteX6" fmla="*/ 58555 w 60626"/>
                    <a:gd name="connsiteY6" fmla="*/ 58555 h 60650"/>
                    <a:gd name="connsiteX7" fmla="*/ 53507 w 60626"/>
                    <a:gd name="connsiteY7" fmla="*/ 60650 h 606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0626" h="60650">
                      <a:moveTo>
                        <a:pt x="53507" y="60650"/>
                      </a:moveTo>
                      <a:cubicBezTo>
                        <a:pt x="51697" y="60650"/>
                        <a:pt x="49887" y="59984"/>
                        <a:pt x="48458" y="5855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58555" y="48458"/>
                      </a:lnTo>
                      <a:cubicBezTo>
                        <a:pt x="61317" y="51221"/>
                        <a:pt x="61317" y="55793"/>
                        <a:pt x="58555" y="58555"/>
                      </a:cubicBezTo>
                      <a:cubicBezTo>
                        <a:pt x="57221" y="59984"/>
                        <a:pt x="55412" y="60650"/>
                        <a:pt x="53507" y="606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7" name="Grafik 3874">
                  <a:extLst>
                    <a:ext uri="{FF2B5EF4-FFF2-40B4-BE49-F238E27FC236}">
                      <a16:creationId xmlns:a16="http://schemas.microsoft.com/office/drawing/2014/main" id="{AEBADF42-F0E0-3FE3-3658-5457D3BC4031}"/>
                    </a:ext>
                  </a:extLst>
                </p:cNvPr>
                <p:cNvSpPr/>
                <p:nvPr/>
              </p:nvSpPr>
              <p:spPr bwMode="gray">
                <a:xfrm>
                  <a:off x="6110096" y="3400900"/>
                  <a:ext cx="14287" cy="43434"/>
                </a:xfrm>
                <a:custGeom>
                  <a:avLst/>
                  <a:gdLst>
                    <a:gd name="connsiteX0" fmla="*/ 7144 w 14287"/>
                    <a:gd name="connsiteY0" fmla="*/ 43434 h 43434"/>
                    <a:gd name="connsiteX1" fmla="*/ 0 w 14287"/>
                    <a:gd name="connsiteY1" fmla="*/ 36290 h 43434"/>
                    <a:gd name="connsiteX2" fmla="*/ 0 w 14287"/>
                    <a:gd name="connsiteY2" fmla="*/ 7144 h 43434"/>
                    <a:gd name="connsiteX3" fmla="*/ 7144 w 14287"/>
                    <a:gd name="connsiteY3" fmla="*/ 0 h 43434"/>
                    <a:gd name="connsiteX4" fmla="*/ 14288 w 14287"/>
                    <a:gd name="connsiteY4" fmla="*/ 7144 h 43434"/>
                    <a:gd name="connsiteX5" fmla="*/ 14288 w 14287"/>
                    <a:gd name="connsiteY5" fmla="*/ 36290 h 43434"/>
                    <a:gd name="connsiteX6" fmla="*/ 7144 w 14287"/>
                    <a:gd name="connsiteY6" fmla="*/ 43434 h 434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3434">
                      <a:moveTo>
                        <a:pt x="7144" y="43434"/>
                      </a:moveTo>
                      <a:cubicBezTo>
                        <a:pt x="3239" y="43434"/>
                        <a:pt x="0" y="40196"/>
                        <a:pt x="0" y="36290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6290"/>
                      </a:lnTo>
                      <a:cubicBezTo>
                        <a:pt x="14288" y="40291"/>
                        <a:pt x="11049" y="43434"/>
                        <a:pt x="7144" y="434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8" name="Grafik 3874">
                  <a:extLst>
                    <a:ext uri="{FF2B5EF4-FFF2-40B4-BE49-F238E27FC236}">
                      <a16:creationId xmlns:a16="http://schemas.microsoft.com/office/drawing/2014/main" id="{F4284874-FADB-0368-A817-9598A2E63FBC}"/>
                    </a:ext>
                  </a:extLst>
                </p:cNvPr>
                <p:cNvSpPr/>
                <p:nvPr/>
              </p:nvSpPr>
              <p:spPr bwMode="gray">
                <a:xfrm>
                  <a:off x="6110096" y="3400900"/>
                  <a:ext cx="43434" cy="14287"/>
                </a:xfrm>
                <a:custGeom>
                  <a:avLst/>
                  <a:gdLst>
                    <a:gd name="connsiteX0" fmla="*/ 36290 w 43434"/>
                    <a:gd name="connsiteY0" fmla="*/ 14288 h 14287"/>
                    <a:gd name="connsiteX1" fmla="*/ 7144 w 43434"/>
                    <a:gd name="connsiteY1" fmla="*/ 14288 h 14287"/>
                    <a:gd name="connsiteX2" fmla="*/ 0 w 43434"/>
                    <a:gd name="connsiteY2" fmla="*/ 7144 h 14287"/>
                    <a:gd name="connsiteX3" fmla="*/ 7144 w 43434"/>
                    <a:gd name="connsiteY3" fmla="*/ 0 h 14287"/>
                    <a:gd name="connsiteX4" fmla="*/ 36290 w 43434"/>
                    <a:gd name="connsiteY4" fmla="*/ 0 h 14287"/>
                    <a:gd name="connsiteX5" fmla="*/ 43434 w 43434"/>
                    <a:gd name="connsiteY5" fmla="*/ 7144 h 14287"/>
                    <a:gd name="connsiteX6" fmla="*/ 36290 w 43434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3434" h="14287">
                      <a:moveTo>
                        <a:pt x="36290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6290" y="0"/>
                      </a:lnTo>
                      <a:cubicBezTo>
                        <a:pt x="40196" y="0"/>
                        <a:pt x="43434" y="3239"/>
                        <a:pt x="43434" y="7144"/>
                      </a:cubicBezTo>
                      <a:cubicBezTo>
                        <a:pt x="43434" y="11049"/>
                        <a:pt x="40196" y="14288"/>
                        <a:pt x="36290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24" name="Grafik 3874">
                <a:extLst>
                  <a:ext uri="{FF2B5EF4-FFF2-40B4-BE49-F238E27FC236}">
                    <a16:creationId xmlns:a16="http://schemas.microsoft.com/office/drawing/2014/main" id="{E3BD8804-669D-3906-4082-00B1AC78C622}"/>
                  </a:ext>
                </a:extLst>
              </p:cNvPr>
              <p:cNvGrpSpPr/>
              <p:nvPr/>
            </p:nvGrpSpPr>
            <p:grpSpPr bwMode="gray">
              <a:xfrm>
                <a:off x="5952005" y="3400900"/>
                <a:ext cx="60650" cy="60674"/>
                <a:chOff x="5952005" y="3400900"/>
                <a:chExt cx="60650" cy="60674"/>
              </a:xfrm>
              <a:grpFill/>
            </p:grpSpPr>
            <p:sp>
              <p:nvSpPr>
                <p:cNvPr id="333" name="Grafik 3874">
                  <a:extLst>
                    <a:ext uri="{FF2B5EF4-FFF2-40B4-BE49-F238E27FC236}">
                      <a16:creationId xmlns:a16="http://schemas.microsoft.com/office/drawing/2014/main" id="{67813732-BFC2-007F-75E1-14D81706DDF2}"/>
                    </a:ext>
                  </a:extLst>
                </p:cNvPr>
                <p:cNvSpPr/>
                <p:nvPr/>
              </p:nvSpPr>
              <p:spPr bwMode="gray">
                <a:xfrm>
                  <a:off x="5952005" y="3400924"/>
                  <a:ext cx="60626" cy="60650"/>
                </a:xfrm>
                <a:custGeom>
                  <a:avLst/>
                  <a:gdLst>
                    <a:gd name="connsiteX0" fmla="*/ 7120 w 60626"/>
                    <a:gd name="connsiteY0" fmla="*/ 60650 h 60650"/>
                    <a:gd name="connsiteX1" fmla="*/ 2072 w 60626"/>
                    <a:gd name="connsiteY1" fmla="*/ 58555 h 60650"/>
                    <a:gd name="connsiteX2" fmla="*/ 2072 w 60626"/>
                    <a:gd name="connsiteY2" fmla="*/ 48458 h 60650"/>
                    <a:gd name="connsiteX3" fmla="*/ 48458 w 60626"/>
                    <a:gd name="connsiteY3" fmla="*/ 2072 h 60650"/>
                    <a:gd name="connsiteX4" fmla="*/ 58555 w 60626"/>
                    <a:gd name="connsiteY4" fmla="*/ 2072 h 60650"/>
                    <a:gd name="connsiteX5" fmla="*/ 58555 w 60626"/>
                    <a:gd name="connsiteY5" fmla="*/ 12168 h 60650"/>
                    <a:gd name="connsiteX6" fmla="*/ 12168 w 60626"/>
                    <a:gd name="connsiteY6" fmla="*/ 58555 h 60650"/>
                    <a:gd name="connsiteX7" fmla="*/ 7120 w 60626"/>
                    <a:gd name="connsiteY7" fmla="*/ 60650 h 606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0626" h="60650">
                      <a:moveTo>
                        <a:pt x="7120" y="60650"/>
                      </a:moveTo>
                      <a:cubicBezTo>
                        <a:pt x="5310" y="60650"/>
                        <a:pt x="3500" y="59984"/>
                        <a:pt x="2072" y="58555"/>
                      </a:cubicBezTo>
                      <a:cubicBezTo>
                        <a:pt x="-691" y="55793"/>
                        <a:pt x="-691" y="51221"/>
                        <a:pt x="2072" y="48458"/>
                      </a:cubicBezTo>
                      <a:lnTo>
                        <a:pt x="48458" y="2072"/>
                      </a:lnTo>
                      <a:cubicBezTo>
                        <a:pt x="51221" y="-691"/>
                        <a:pt x="55793" y="-691"/>
                        <a:pt x="58555" y="2072"/>
                      </a:cubicBezTo>
                      <a:cubicBezTo>
                        <a:pt x="61317" y="4834"/>
                        <a:pt x="61317" y="9406"/>
                        <a:pt x="58555" y="12168"/>
                      </a:cubicBezTo>
                      <a:lnTo>
                        <a:pt x="12168" y="58555"/>
                      </a:lnTo>
                      <a:cubicBezTo>
                        <a:pt x="10739" y="59984"/>
                        <a:pt x="8930" y="60650"/>
                        <a:pt x="7120" y="606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4" name="Grafik 3874">
                  <a:extLst>
                    <a:ext uri="{FF2B5EF4-FFF2-40B4-BE49-F238E27FC236}">
                      <a16:creationId xmlns:a16="http://schemas.microsoft.com/office/drawing/2014/main" id="{4193BF72-EBDF-10FB-6EFF-81A74BB5ADBF}"/>
                    </a:ext>
                  </a:extLst>
                </p:cNvPr>
                <p:cNvSpPr/>
                <p:nvPr/>
              </p:nvSpPr>
              <p:spPr bwMode="gray">
                <a:xfrm>
                  <a:off x="5969221" y="3400900"/>
                  <a:ext cx="43434" cy="14287"/>
                </a:xfrm>
                <a:custGeom>
                  <a:avLst/>
                  <a:gdLst>
                    <a:gd name="connsiteX0" fmla="*/ 36290 w 43434"/>
                    <a:gd name="connsiteY0" fmla="*/ 14288 h 14287"/>
                    <a:gd name="connsiteX1" fmla="*/ 7144 w 43434"/>
                    <a:gd name="connsiteY1" fmla="*/ 14288 h 14287"/>
                    <a:gd name="connsiteX2" fmla="*/ 0 w 43434"/>
                    <a:gd name="connsiteY2" fmla="*/ 7144 h 14287"/>
                    <a:gd name="connsiteX3" fmla="*/ 7144 w 43434"/>
                    <a:gd name="connsiteY3" fmla="*/ 0 h 14287"/>
                    <a:gd name="connsiteX4" fmla="*/ 36290 w 43434"/>
                    <a:gd name="connsiteY4" fmla="*/ 0 h 14287"/>
                    <a:gd name="connsiteX5" fmla="*/ 43434 w 43434"/>
                    <a:gd name="connsiteY5" fmla="*/ 7144 h 14287"/>
                    <a:gd name="connsiteX6" fmla="*/ 36290 w 43434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3434" h="14287">
                      <a:moveTo>
                        <a:pt x="36290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6290" y="0"/>
                      </a:lnTo>
                      <a:cubicBezTo>
                        <a:pt x="40196" y="0"/>
                        <a:pt x="43434" y="3239"/>
                        <a:pt x="43434" y="7144"/>
                      </a:cubicBezTo>
                      <a:cubicBezTo>
                        <a:pt x="43434" y="11049"/>
                        <a:pt x="40196" y="14288"/>
                        <a:pt x="36290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5" name="Grafik 3874">
                  <a:extLst>
                    <a:ext uri="{FF2B5EF4-FFF2-40B4-BE49-F238E27FC236}">
                      <a16:creationId xmlns:a16="http://schemas.microsoft.com/office/drawing/2014/main" id="{C9A19F34-A5EB-F18C-4139-6327B2B24CDE}"/>
                    </a:ext>
                  </a:extLst>
                </p:cNvPr>
                <p:cNvSpPr/>
                <p:nvPr/>
              </p:nvSpPr>
              <p:spPr bwMode="gray">
                <a:xfrm>
                  <a:off x="5998368" y="3400900"/>
                  <a:ext cx="14287" cy="43434"/>
                </a:xfrm>
                <a:custGeom>
                  <a:avLst/>
                  <a:gdLst>
                    <a:gd name="connsiteX0" fmla="*/ 7144 w 14287"/>
                    <a:gd name="connsiteY0" fmla="*/ 43434 h 43434"/>
                    <a:gd name="connsiteX1" fmla="*/ 0 w 14287"/>
                    <a:gd name="connsiteY1" fmla="*/ 36290 h 43434"/>
                    <a:gd name="connsiteX2" fmla="*/ 0 w 14287"/>
                    <a:gd name="connsiteY2" fmla="*/ 7144 h 43434"/>
                    <a:gd name="connsiteX3" fmla="*/ 7144 w 14287"/>
                    <a:gd name="connsiteY3" fmla="*/ 0 h 43434"/>
                    <a:gd name="connsiteX4" fmla="*/ 14288 w 14287"/>
                    <a:gd name="connsiteY4" fmla="*/ 7144 h 43434"/>
                    <a:gd name="connsiteX5" fmla="*/ 14288 w 14287"/>
                    <a:gd name="connsiteY5" fmla="*/ 36290 h 43434"/>
                    <a:gd name="connsiteX6" fmla="*/ 7144 w 14287"/>
                    <a:gd name="connsiteY6" fmla="*/ 43434 h 434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3434">
                      <a:moveTo>
                        <a:pt x="7144" y="43434"/>
                      </a:moveTo>
                      <a:cubicBezTo>
                        <a:pt x="3239" y="43434"/>
                        <a:pt x="0" y="40196"/>
                        <a:pt x="0" y="36290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6290"/>
                      </a:lnTo>
                      <a:cubicBezTo>
                        <a:pt x="14288" y="40291"/>
                        <a:pt x="11049" y="43434"/>
                        <a:pt x="7144" y="434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25" name="Grafik 3874">
                <a:extLst>
                  <a:ext uri="{FF2B5EF4-FFF2-40B4-BE49-F238E27FC236}">
                    <a16:creationId xmlns:a16="http://schemas.microsoft.com/office/drawing/2014/main" id="{7F51EDE7-F277-4710-D12D-7D17CC692E85}"/>
                  </a:ext>
                </a:extLst>
              </p:cNvPr>
              <p:cNvGrpSpPr/>
              <p:nvPr/>
            </p:nvGrpSpPr>
            <p:grpSpPr bwMode="gray">
              <a:xfrm>
                <a:off x="6033634" y="3424046"/>
                <a:ext cx="55387" cy="79914"/>
                <a:chOff x="6033634" y="3424046"/>
                <a:chExt cx="55387" cy="79914"/>
              </a:xfrm>
              <a:grpFill/>
            </p:grpSpPr>
            <p:sp>
              <p:nvSpPr>
                <p:cNvPr id="330" name="Grafik 3874">
                  <a:extLst>
                    <a:ext uri="{FF2B5EF4-FFF2-40B4-BE49-F238E27FC236}">
                      <a16:creationId xmlns:a16="http://schemas.microsoft.com/office/drawing/2014/main" id="{BCC188F7-F52F-D4D6-B2B7-36767B45E5D1}"/>
                    </a:ext>
                  </a:extLst>
                </p:cNvPr>
                <p:cNvSpPr/>
                <p:nvPr/>
              </p:nvSpPr>
              <p:spPr bwMode="gray">
                <a:xfrm>
                  <a:off x="6054184" y="3424046"/>
                  <a:ext cx="14287" cy="79914"/>
                </a:xfrm>
                <a:custGeom>
                  <a:avLst/>
                  <a:gdLst>
                    <a:gd name="connsiteX0" fmla="*/ 7144 w 14287"/>
                    <a:gd name="connsiteY0" fmla="*/ 79915 h 79914"/>
                    <a:gd name="connsiteX1" fmla="*/ 0 w 14287"/>
                    <a:gd name="connsiteY1" fmla="*/ 72771 h 79914"/>
                    <a:gd name="connsiteX2" fmla="*/ 0 w 14287"/>
                    <a:gd name="connsiteY2" fmla="*/ 7144 h 79914"/>
                    <a:gd name="connsiteX3" fmla="*/ 7144 w 14287"/>
                    <a:gd name="connsiteY3" fmla="*/ 0 h 79914"/>
                    <a:gd name="connsiteX4" fmla="*/ 14288 w 14287"/>
                    <a:gd name="connsiteY4" fmla="*/ 7144 h 79914"/>
                    <a:gd name="connsiteX5" fmla="*/ 14288 w 14287"/>
                    <a:gd name="connsiteY5" fmla="*/ 72771 h 79914"/>
                    <a:gd name="connsiteX6" fmla="*/ 7144 w 14287"/>
                    <a:gd name="connsiteY6" fmla="*/ 79915 h 799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79914">
                      <a:moveTo>
                        <a:pt x="7144" y="79915"/>
                      </a:moveTo>
                      <a:cubicBezTo>
                        <a:pt x="3239" y="79915"/>
                        <a:pt x="0" y="76676"/>
                        <a:pt x="0" y="72771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2771"/>
                      </a:lnTo>
                      <a:cubicBezTo>
                        <a:pt x="14288" y="76676"/>
                        <a:pt x="11049" y="79915"/>
                        <a:pt x="7144" y="7991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1" name="Grafik 3874">
                  <a:extLst>
                    <a:ext uri="{FF2B5EF4-FFF2-40B4-BE49-F238E27FC236}">
                      <a16:creationId xmlns:a16="http://schemas.microsoft.com/office/drawing/2014/main" id="{E0960DA8-FC52-9F47-E78A-8C78C58673E9}"/>
                    </a:ext>
                  </a:extLst>
                </p:cNvPr>
                <p:cNvSpPr/>
                <p:nvPr/>
              </p:nvSpPr>
              <p:spPr bwMode="gray">
                <a:xfrm>
                  <a:off x="6033634" y="3424165"/>
                  <a:ext cx="34813" cy="34837"/>
                </a:xfrm>
                <a:custGeom>
                  <a:avLst/>
                  <a:gdLst>
                    <a:gd name="connsiteX0" fmla="*/ 7120 w 34813"/>
                    <a:gd name="connsiteY0" fmla="*/ 34838 h 34837"/>
                    <a:gd name="connsiteX1" fmla="*/ 2072 w 34813"/>
                    <a:gd name="connsiteY1" fmla="*/ 32742 h 34837"/>
                    <a:gd name="connsiteX2" fmla="*/ 2072 w 34813"/>
                    <a:gd name="connsiteY2" fmla="*/ 22646 h 34837"/>
                    <a:gd name="connsiteX3" fmla="*/ 22646 w 34813"/>
                    <a:gd name="connsiteY3" fmla="*/ 2072 h 34837"/>
                    <a:gd name="connsiteX4" fmla="*/ 32742 w 34813"/>
                    <a:gd name="connsiteY4" fmla="*/ 2072 h 34837"/>
                    <a:gd name="connsiteX5" fmla="*/ 32742 w 34813"/>
                    <a:gd name="connsiteY5" fmla="*/ 12168 h 34837"/>
                    <a:gd name="connsiteX6" fmla="*/ 12168 w 34813"/>
                    <a:gd name="connsiteY6" fmla="*/ 32742 h 34837"/>
                    <a:gd name="connsiteX7" fmla="*/ 7120 w 34813"/>
                    <a:gd name="connsiteY7" fmla="*/ 34838 h 348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4813" h="34837">
                      <a:moveTo>
                        <a:pt x="7120" y="34838"/>
                      </a:moveTo>
                      <a:cubicBezTo>
                        <a:pt x="5310" y="34838"/>
                        <a:pt x="3500" y="34171"/>
                        <a:pt x="2072" y="32742"/>
                      </a:cubicBezTo>
                      <a:cubicBezTo>
                        <a:pt x="-691" y="29980"/>
                        <a:pt x="-691" y="25408"/>
                        <a:pt x="2072" y="22646"/>
                      </a:cubicBezTo>
                      <a:lnTo>
                        <a:pt x="22646" y="2072"/>
                      </a:lnTo>
                      <a:cubicBezTo>
                        <a:pt x="25408" y="-691"/>
                        <a:pt x="29980" y="-691"/>
                        <a:pt x="32742" y="2072"/>
                      </a:cubicBezTo>
                      <a:cubicBezTo>
                        <a:pt x="35504" y="4834"/>
                        <a:pt x="35504" y="9406"/>
                        <a:pt x="32742" y="12168"/>
                      </a:cubicBezTo>
                      <a:lnTo>
                        <a:pt x="12168" y="32742"/>
                      </a:lnTo>
                      <a:cubicBezTo>
                        <a:pt x="10739" y="34076"/>
                        <a:pt x="8930" y="34838"/>
                        <a:pt x="7120" y="3483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2" name="Grafik 3874">
                  <a:extLst>
                    <a:ext uri="{FF2B5EF4-FFF2-40B4-BE49-F238E27FC236}">
                      <a16:creationId xmlns:a16="http://schemas.microsoft.com/office/drawing/2014/main" id="{8E2BE690-2E4B-C1F0-12EF-A31D5F8068C2}"/>
                    </a:ext>
                  </a:extLst>
                </p:cNvPr>
                <p:cNvSpPr/>
                <p:nvPr/>
              </p:nvSpPr>
              <p:spPr bwMode="gray">
                <a:xfrm>
                  <a:off x="6054113" y="3424165"/>
                  <a:ext cx="34909" cy="34837"/>
                </a:xfrm>
                <a:custGeom>
                  <a:avLst/>
                  <a:gdLst>
                    <a:gd name="connsiteX0" fmla="*/ 27789 w 34909"/>
                    <a:gd name="connsiteY0" fmla="*/ 34838 h 34837"/>
                    <a:gd name="connsiteX1" fmla="*/ 22741 w 34909"/>
                    <a:gd name="connsiteY1" fmla="*/ 32742 h 34837"/>
                    <a:gd name="connsiteX2" fmla="*/ 2072 w 34909"/>
                    <a:gd name="connsiteY2" fmla="*/ 12168 h 34837"/>
                    <a:gd name="connsiteX3" fmla="*/ 2072 w 34909"/>
                    <a:gd name="connsiteY3" fmla="*/ 2072 h 34837"/>
                    <a:gd name="connsiteX4" fmla="*/ 12168 w 34909"/>
                    <a:gd name="connsiteY4" fmla="*/ 2072 h 34837"/>
                    <a:gd name="connsiteX5" fmla="*/ 32837 w 34909"/>
                    <a:gd name="connsiteY5" fmla="*/ 22646 h 34837"/>
                    <a:gd name="connsiteX6" fmla="*/ 32837 w 34909"/>
                    <a:gd name="connsiteY6" fmla="*/ 32742 h 34837"/>
                    <a:gd name="connsiteX7" fmla="*/ 27789 w 34909"/>
                    <a:gd name="connsiteY7" fmla="*/ 34838 h 348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4909" h="34837">
                      <a:moveTo>
                        <a:pt x="27789" y="34838"/>
                      </a:moveTo>
                      <a:cubicBezTo>
                        <a:pt x="25979" y="34838"/>
                        <a:pt x="24170" y="34171"/>
                        <a:pt x="22741" y="32742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2837" y="22646"/>
                      </a:lnTo>
                      <a:cubicBezTo>
                        <a:pt x="35600" y="25408"/>
                        <a:pt x="35600" y="29980"/>
                        <a:pt x="32837" y="32742"/>
                      </a:cubicBezTo>
                      <a:cubicBezTo>
                        <a:pt x="31504" y="34076"/>
                        <a:pt x="29694" y="34838"/>
                        <a:pt x="27789" y="3483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26" name="Grafik 3874">
                <a:extLst>
                  <a:ext uri="{FF2B5EF4-FFF2-40B4-BE49-F238E27FC236}">
                    <a16:creationId xmlns:a16="http://schemas.microsoft.com/office/drawing/2014/main" id="{0984CE9D-D319-447D-86E8-9A519FEA6C97}"/>
                  </a:ext>
                </a:extLst>
              </p:cNvPr>
              <p:cNvGrpSpPr/>
              <p:nvPr/>
            </p:nvGrpSpPr>
            <p:grpSpPr bwMode="gray">
              <a:xfrm>
                <a:off x="6033634" y="3279457"/>
                <a:ext cx="55387" cy="79914"/>
                <a:chOff x="6033634" y="3279457"/>
                <a:chExt cx="55387" cy="79914"/>
              </a:xfrm>
              <a:grpFill/>
            </p:grpSpPr>
            <p:sp>
              <p:nvSpPr>
                <p:cNvPr id="327" name="Grafik 3874">
                  <a:extLst>
                    <a:ext uri="{FF2B5EF4-FFF2-40B4-BE49-F238E27FC236}">
                      <a16:creationId xmlns:a16="http://schemas.microsoft.com/office/drawing/2014/main" id="{5ADF94EE-D367-C310-98B9-2E2199C2A279}"/>
                    </a:ext>
                  </a:extLst>
                </p:cNvPr>
                <p:cNvSpPr/>
                <p:nvPr/>
              </p:nvSpPr>
              <p:spPr bwMode="gray">
                <a:xfrm>
                  <a:off x="6054184" y="3279457"/>
                  <a:ext cx="14287" cy="79914"/>
                </a:xfrm>
                <a:custGeom>
                  <a:avLst/>
                  <a:gdLst>
                    <a:gd name="connsiteX0" fmla="*/ 7144 w 14287"/>
                    <a:gd name="connsiteY0" fmla="*/ 79915 h 79914"/>
                    <a:gd name="connsiteX1" fmla="*/ 0 w 14287"/>
                    <a:gd name="connsiteY1" fmla="*/ 72771 h 79914"/>
                    <a:gd name="connsiteX2" fmla="*/ 0 w 14287"/>
                    <a:gd name="connsiteY2" fmla="*/ 7144 h 79914"/>
                    <a:gd name="connsiteX3" fmla="*/ 7144 w 14287"/>
                    <a:gd name="connsiteY3" fmla="*/ 0 h 79914"/>
                    <a:gd name="connsiteX4" fmla="*/ 14288 w 14287"/>
                    <a:gd name="connsiteY4" fmla="*/ 7144 h 79914"/>
                    <a:gd name="connsiteX5" fmla="*/ 14288 w 14287"/>
                    <a:gd name="connsiteY5" fmla="*/ 72771 h 79914"/>
                    <a:gd name="connsiteX6" fmla="*/ 7144 w 14287"/>
                    <a:gd name="connsiteY6" fmla="*/ 79915 h 799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79914">
                      <a:moveTo>
                        <a:pt x="7144" y="79915"/>
                      </a:moveTo>
                      <a:cubicBezTo>
                        <a:pt x="3239" y="79915"/>
                        <a:pt x="0" y="76676"/>
                        <a:pt x="0" y="72771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2771"/>
                      </a:lnTo>
                      <a:cubicBezTo>
                        <a:pt x="14288" y="76676"/>
                        <a:pt x="11049" y="79915"/>
                        <a:pt x="7144" y="7991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28" name="Grafik 3874">
                  <a:extLst>
                    <a:ext uri="{FF2B5EF4-FFF2-40B4-BE49-F238E27FC236}">
                      <a16:creationId xmlns:a16="http://schemas.microsoft.com/office/drawing/2014/main" id="{BC405E65-F8D9-4100-373F-BA74D18F0CF3}"/>
                    </a:ext>
                  </a:extLst>
                </p:cNvPr>
                <p:cNvSpPr/>
                <p:nvPr/>
              </p:nvSpPr>
              <p:spPr bwMode="gray">
                <a:xfrm>
                  <a:off x="6033634" y="3279480"/>
                  <a:ext cx="34813" cy="34932"/>
                </a:xfrm>
                <a:custGeom>
                  <a:avLst/>
                  <a:gdLst>
                    <a:gd name="connsiteX0" fmla="*/ 7120 w 34813"/>
                    <a:gd name="connsiteY0" fmla="*/ 34933 h 34932"/>
                    <a:gd name="connsiteX1" fmla="*/ 2072 w 34813"/>
                    <a:gd name="connsiteY1" fmla="*/ 32837 h 34932"/>
                    <a:gd name="connsiteX2" fmla="*/ 2072 w 34813"/>
                    <a:gd name="connsiteY2" fmla="*/ 22741 h 34932"/>
                    <a:gd name="connsiteX3" fmla="*/ 22646 w 34813"/>
                    <a:gd name="connsiteY3" fmla="*/ 2072 h 34932"/>
                    <a:gd name="connsiteX4" fmla="*/ 32742 w 34813"/>
                    <a:gd name="connsiteY4" fmla="*/ 2072 h 34932"/>
                    <a:gd name="connsiteX5" fmla="*/ 32742 w 34813"/>
                    <a:gd name="connsiteY5" fmla="*/ 12168 h 34932"/>
                    <a:gd name="connsiteX6" fmla="*/ 12168 w 34813"/>
                    <a:gd name="connsiteY6" fmla="*/ 32837 h 34932"/>
                    <a:gd name="connsiteX7" fmla="*/ 7120 w 34813"/>
                    <a:gd name="connsiteY7" fmla="*/ 34933 h 349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4813" h="34932">
                      <a:moveTo>
                        <a:pt x="7120" y="34933"/>
                      </a:moveTo>
                      <a:cubicBezTo>
                        <a:pt x="5310" y="34933"/>
                        <a:pt x="3500" y="34266"/>
                        <a:pt x="2072" y="32837"/>
                      </a:cubicBezTo>
                      <a:cubicBezTo>
                        <a:pt x="-691" y="30075"/>
                        <a:pt x="-691" y="25503"/>
                        <a:pt x="2072" y="22741"/>
                      </a:cubicBezTo>
                      <a:lnTo>
                        <a:pt x="22646" y="2072"/>
                      </a:lnTo>
                      <a:cubicBezTo>
                        <a:pt x="25408" y="-691"/>
                        <a:pt x="29980" y="-691"/>
                        <a:pt x="32742" y="2072"/>
                      </a:cubicBezTo>
                      <a:cubicBezTo>
                        <a:pt x="35504" y="4834"/>
                        <a:pt x="35504" y="9406"/>
                        <a:pt x="32742" y="12168"/>
                      </a:cubicBezTo>
                      <a:lnTo>
                        <a:pt x="12168" y="32837"/>
                      </a:lnTo>
                      <a:cubicBezTo>
                        <a:pt x="10739" y="34171"/>
                        <a:pt x="8930" y="34933"/>
                        <a:pt x="7120" y="3493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29" name="Grafik 3874">
                  <a:extLst>
                    <a:ext uri="{FF2B5EF4-FFF2-40B4-BE49-F238E27FC236}">
                      <a16:creationId xmlns:a16="http://schemas.microsoft.com/office/drawing/2014/main" id="{DF9F4A35-7365-DC10-476C-F5A77442E832}"/>
                    </a:ext>
                  </a:extLst>
                </p:cNvPr>
                <p:cNvSpPr/>
                <p:nvPr/>
              </p:nvSpPr>
              <p:spPr bwMode="gray">
                <a:xfrm>
                  <a:off x="6054113" y="3279480"/>
                  <a:ext cx="34909" cy="34932"/>
                </a:xfrm>
                <a:custGeom>
                  <a:avLst/>
                  <a:gdLst>
                    <a:gd name="connsiteX0" fmla="*/ 27789 w 34909"/>
                    <a:gd name="connsiteY0" fmla="*/ 34933 h 34932"/>
                    <a:gd name="connsiteX1" fmla="*/ 22741 w 34909"/>
                    <a:gd name="connsiteY1" fmla="*/ 32837 h 34932"/>
                    <a:gd name="connsiteX2" fmla="*/ 2072 w 34909"/>
                    <a:gd name="connsiteY2" fmla="*/ 12168 h 34932"/>
                    <a:gd name="connsiteX3" fmla="*/ 2072 w 34909"/>
                    <a:gd name="connsiteY3" fmla="*/ 2072 h 34932"/>
                    <a:gd name="connsiteX4" fmla="*/ 12168 w 34909"/>
                    <a:gd name="connsiteY4" fmla="*/ 2072 h 34932"/>
                    <a:gd name="connsiteX5" fmla="*/ 32837 w 34909"/>
                    <a:gd name="connsiteY5" fmla="*/ 22741 h 34932"/>
                    <a:gd name="connsiteX6" fmla="*/ 32837 w 34909"/>
                    <a:gd name="connsiteY6" fmla="*/ 32837 h 34932"/>
                    <a:gd name="connsiteX7" fmla="*/ 27789 w 34909"/>
                    <a:gd name="connsiteY7" fmla="*/ 34933 h 349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4909" h="34932">
                      <a:moveTo>
                        <a:pt x="27789" y="34933"/>
                      </a:moveTo>
                      <a:cubicBezTo>
                        <a:pt x="25979" y="34933"/>
                        <a:pt x="24170" y="34266"/>
                        <a:pt x="22741" y="32837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2837" y="22741"/>
                      </a:lnTo>
                      <a:cubicBezTo>
                        <a:pt x="35600" y="25503"/>
                        <a:pt x="35600" y="30075"/>
                        <a:pt x="32837" y="32837"/>
                      </a:cubicBezTo>
                      <a:cubicBezTo>
                        <a:pt x="31504" y="34171"/>
                        <a:pt x="29694" y="34933"/>
                        <a:pt x="27789" y="3493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350" name="Grafik 3876">
            <a:extLst>
              <a:ext uri="{FF2B5EF4-FFF2-40B4-BE49-F238E27FC236}">
                <a16:creationId xmlns:a16="http://schemas.microsoft.com/office/drawing/2014/main" id="{FF82BE64-0EB7-0EE1-014C-4BF52BEB0B2F}"/>
              </a:ext>
            </a:extLst>
          </p:cNvPr>
          <p:cNvGrpSpPr/>
          <p:nvPr/>
        </p:nvGrpSpPr>
        <p:grpSpPr bwMode="gray">
          <a:xfrm>
            <a:off x="5228749" y="2939492"/>
            <a:ext cx="177375" cy="374400"/>
            <a:chOff x="5976937" y="3176587"/>
            <a:chExt cx="241077" cy="500253"/>
          </a:xfrm>
          <a:solidFill>
            <a:schemeClr val="tx1"/>
          </a:solidFill>
        </p:grpSpPr>
        <p:sp>
          <p:nvSpPr>
            <p:cNvPr id="351" name="Grafik 3876">
              <a:extLst>
                <a:ext uri="{FF2B5EF4-FFF2-40B4-BE49-F238E27FC236}">
                  <a16:creationId xmlns:a16="http://schemas.microsoft.com/office/drawing/2014/main" id="{16BFCACE-D094-5225-EBA6-81A71FEEA451}"/>
                </a:ext>
              </a:extLst>
            </p:cNvPr>
            <p:cNvSpPr/>
            <p:nvPr/>
          </p:nvSpPr>
          <p:spPr bwMode="gray">
            <a:xfrm>
              <a:off x="6074187" y="3468147"/>
              <a:ext cx="46672" cy="46672"/>
            </a:xfrm>
            <a:custGeom>
              <a:avLst/>
              <a:gdLst>
                <a:gd name="connsiteX0" fmla="*/ 39529 w 46672"/>
                <a:gd name="connsiteY0" fmla="*/ 46672 h 46672"/>
                <a:gd name="connsiteX1" fmla="*/ 7144 w 46672"/>
                <a:gd name="connsiteY1" fmla="*/ 46672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2 h 46672"/>
                <a:gd name="connsiteX9" fmla="*/ 14192 w 46672"/>
                <a:gd name="connsiteY9" fmla="*/ 32385 h 46672"/>
                <a:gd name="connsiteX10" fmla="*/ 32290 w 46672"/>
                <a:gd name="connsiteY10" fmla="*/ 32385 h 46672"/>
                <a:gd name="connsiteX11" fmla="*/ 32290 w 46672"/>
                <a:gd name="connsiteY11" fmla="*/ 14288 h 46672"/>
                <a:gd name="connsiteX12" fmla="*/ 14192 w 46672"/>
                <a:gd name="connsiteY12" fmla="*/ 14288 h 46672"/>
                <a:gd name="connsiteX13" fmla="*/ 14192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2"/>
                  </a:moveTo>
                  <a:lnTo>
                    <a:pt x="7144" y="46672"/>
                  </a:lnTo>
                  <a:cubicBezTo>
                    <a:pt x="3239" y="46672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529"/>
                    <a:pt x="43434" y="46672"/>
                    <a:pt x="39529" y="46672"/>
                  </a:cubicBezTo>
                  <a:close/>
                  <a:moveTo>
                    <a:pt x="14192" y="32385"/>
                  </a:moveTo>
                  <a:lnTo>
                    <a:pt x="32290" y="32385"/>
                  </a:lnTo>
                  <a:lnTo>
                    <a:pt x="32290" y="14288"/>
                  </a:lnTo>
                  <a:lnTo>
                    <a:pt x="14192" y="14288"/>
                  </a:lnTo>
                  <a:lnTo>
                    <a:pt x="14192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2" name="Grafik 3876">
              <a:extLst>
                <a:ext uri="{FF2B5EF4-FFF2-40B4-BE49-F238E27FC236}">
                  <a16:creationId xmlns:a16="http://schemas.microsoft.com/office/drawing/2014/main" id="{F4CBB8C6-F97D-E1C6-B1CA-3C6515E3751E}"/>
                </a:ext>
              </a:extLst>
            </p:cNvPr>
            <p:cNvSpPr/>
            <p:nvPr/>
          </p:nvSpPr>
          <p:spPr bwMode="gray">
            <a:xfrm>
              <a:off x="6138957" y="3468147"/>
              <a:ext cx="46672" cy="46672"/>
            </a:xfrm>
            <a:custGeom>
              <a:avLst/>
              <a:gdLst>
                <a:gd name="connsiteX0" fmla="*/ 39529 w 46672"/>
                <a:gd name="connsiteY0" fmla="*/ 46672 h 46672"/>
                <a:gd name="connsiteX1" fmla="*/ 7144 w 46672"/>
                <a:gd name="connsiteY1" fmla="*/ 46672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2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8 h 46672"/>
                <a:gd name="connsiteX12" fmla="*/ 14288 w 46672"/>
                <a:gd name="connsiteY12" fmla="*/ 14288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2"/>
                  </a:moveTo>
                  <a:lnTo>
                    <a:pt x="7144" y="46672"/>
                  </a:lnTo>
                  <a:cubicBezTo>
                    <a:pt x="3239" y="46672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529"/>
                    <a:pt x="43434" y="46672"/>
                    <a:pt x="39529" y="46672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3" name="Grafik 3876">
              <a:extLst>
                <a:ext uri="{FF2B5EF4-FFF2-40B4-BE49-F238E27FC236}">
                  <a16:creationId xmlns:a16="http://schemas.microsoft.com/office/drawing/2014/main" id="{2445A552-921C-4EE4-04E5-B2F9C87806D2}"/>
                </a:ext>
              </a:extLst>
            </p:cNvPr>
            <p:cNvSpPr/>
            <p:nvPr/>
          </p:nvSpPr>
          <p:spPr bwMode="gray">
            <a:xfrm>
              <a:off x="6009322" y="3468147"/>
              <a:ext cx="46672" cy="46672"/>
            </a:xfrm>
            <a:custGeom>
              <a:avLst/>
              <a:gdLst>
                <a:gd name="connsiteX0" fmla="*/ 39529 w 46672"/>
                <a:gd name="connsiteY0" fmla="*/ 46672 h 46672"/>
                <a:gd name="connsiteX1" fmla="*/ 7144 w 46672"/>
                <a:gd name="connsiteY1" fmla="*/ 46672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3 w 46672"/>
                <a:gd name="connsiteY6" fmla="*/ 7144 h 46672"/>
                <a:gd name="connsiteX7" fmla="*/ 46673 w 46672"/>
                <a:gd name="connsiteY7" fmla="*/ 39529 h 46672"/>
                <a:gd name="connsiteX8" fmla="*/ 39529 w 46672"/>
                <a:gd name="connsiteY8" fmla="*/ 46672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8 h 46672"/>
                <a:gd name="connsiteX12" fmla="*/ 14288 w 46672"/>
                <a:gd name="connsiteY12" fmla="*/ 14288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2"/>
                  </a:moveTo>
                  <a:lnTo>
                    <a:pt x="7144" y="46672"/>
                  </a:lnTo>
                  <a:cubicBezTo>
                    <a:pt x="3238" y="46672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8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3" y="3239"/>
                    <a:pt x="46673" y="7144"/>
                  </a:cubicBezTo>
                  <a:lnTo>
                    <a:pt x="46673" y="39529"/>
                  </a:lnTo>
                  <a:cubicBezTo>
                    <a:pt x="46673" y="43529"/>
                    <a:pt x="43529" y="46672"/>
                    <a:pt x="39529" y="46672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4" name="Grafik 3876">
              <a:extLst>
                <a:ext uri="{FF2B5EF4-FFF2-40B4-BE49-F238E27FC236}">
                  <a16:creationId xmlns:a16="http://schemas.microsoft.com/office/drawing/2014/main" id="{1EA8FDB0-B642-B608-5EEA-931AEE3D0640}"/>
                </a:ext>
              </a:extLst>
            </p:cNvPr>
            <p:cNvSpPr/>
            <p:nvPr/>
          </p:nvSpPr>
          <p:spPr bwMode="gray">
            <a:xfrm>
              <a:off x="6074187" y="3533012"/>
              <a:ext cx="46672" cy="46672"/>
            </a:xfrm>
            <a:custGeom>
              <a:avLst/>
              <a:gdLst>
                <a:gd name="connsiteX0" fmla="*/ 39529 w 46672"/>
                <a:gd name="connsiteY0" fmla="*/ 46673 h 46672"/>
                <a:gd name="connsiteX1" fmla="*/ 7144 w 46672"/>
                <a:gd name="connsiteY1" fmla="*/ 46673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3 h 46672"/>
                <a:gd name="connsiteX9" fmla="*/ 14192 w 46672"/>
                <a:gd name="connsiteY9" fmla="*/ 32385 h 46672"/>
                <a:gd name="connsiteX10" fmla="*/ 32290 w 46672"/>
                <a:gd name="connsiteY10" fmla="*/ 32385 h 46672"/>
                <a:gd name="connsiteX11" fmla="*/ 32290 w 46672"/>
                <a:gd name="connsiteY11" fmla="*/ 14288 h 46672"/>
                <a:gd name="connsiteX12" fmla="*/ 14192 w 46672"/>
                <a:gd name="connsiteY12" fmla="*/ 14288 h 46672"/>
                <a:gd name="connsiteX13" fmla="*/ 14192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3"/>
                  </a:moveTo>
                  <a:lnTo>
                    <a:pt x="7144" y="46673"/>
                  </a:lnTo>
                  <a:cubicBezTo>
                    <a:pt x="3239" y="46673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434"/>
                    <a:pt x="43434" y="46673"/>
                    <a:pt x="39529" y="46673"/>
                  </a:cubicBezTo>
                  <a:close/>
                  <a:moveTo>
                    <a:pt x="14192" y="32385"/>
                  </a:moveTo>
                  <a:lnTo>
                    <a:pt x="32290" y="32385"/>
                  </a:lnTo>
                  <a:lnTo>
                    <a:pt x="32290" y="14288"/>
                  </a:lnTo>
                  <a:lnTo>
                    <a:pt x="14192" y="14288"/>
                  </a:lnTo>
                  <a:lnTo>
                    <a:pt x="14192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5" name="Grafik 3876">
              <a:extLst>
                <a:ext uri="{FF2B5EF4-FFF2-40B4-BE49-F238E27FC236}">
                  <a16:creationId xmlns:a16="http://schemas.microsoft.com/office/drawing/2014/main" id="{2C1BC9ED-A319-3CA0-6F47-C2525446D7F7}"/>
                </a:ext>
              </a:extLst>
            </p:cNvPr>
            <p:cNvSpPr/>
            <p:nvPr/>
          </p:nvSpPr>
          <p:spPr bwMode="gray">
            <a:xfrm>
              <a:off x="5976937" y="3241357"/>
              <a:ext cx="241077" cy="435483"/>
            </a:xfrm>
            <a:custGeom>
              <a:avLst/>
              <a:gdLst>
                <a:gd name="connsiteX0" fmla="*/ 201549 w 241077"/>
                <a:gd name="connsiteY0" fmla="*/ 435483 h 435483"/>
                <a:gd name="connsiteX1" fmla="*/ 39529 w 241077"/>
                <a:gd name="connsiteY1" fmla="*/ 435483 h 435483"/>
                <a:gd name="connsiteX2" fmla="*/ 0 w 241077"/>
                <a:gd name="connsiteY2" fmla="*/ 395954 h 435483"/>
                <a:gd name="connsiteX3" fmla="*/ 0 w 241077"/>
                <a:gd name="connsiteY3" fmla="*/ 39624 h 435483"/>
                <a:gd name="connsiteX4" fmla="*/ 39529 w 241077"/>
                <a:gd name="connsiteY4" fmla="*/ 0 h 435483"/>
                <a:gd name="connsiteX5" fmla="*/ 201549 w 241077"/>
                <a:gd name="connsiteY5" fmla="*/ 0 h 435483"/>
                <a:gd name="connsiteX6" fmla="*/ 241078 w 241077"/>
                <a:gd name="connsiteY6" fmla="*/ 39529 h 435483"/>
                <a:gd name="connsiteX7" fmla="*/ 241078 w 241077"/>
                <a:gd name="connsiteY7" fmla="*/ 395954 h 435483"/>
                <a:gd name="connsiteX8" fmla="*/ 201549 w 241077"/>
                <a:gd name="connsiteY8" fmla="*/ 435483 h 435483"/>
                <a:gd name="connsiteX9" fmla="*/ 39529 w 241077"/>
                <a:gd name="connsiteY9" fmla="*/ 14288 h 435483"/>
                <a:gd name="connsiteX10" fmla="*/ 14288 w 241077"/>
                <a:gd name="connsiteY10" fmla="*/ 39529 h 435483"/>
                <a:gd name="connsiteX11" fmla="*/ 14288 w 241077"/>
                <a:gd name="connsiteY11" fmla="*/ 395954 h 435483"/>
                <a:gd name="connsiteX12" fmla="*/ 39529 w 241077"/>
                <a:gd name="connsiteY12" fmla="*/ 421196 h 435483"/>
                <a:gd name="connsiteX13" fmla="*/ 201549 w 241077"/>
                <a:gd name="connsiteY13" fmla="*/ 421196 h 435483"/>
                <a:gd name="connsiteX14" fmla="*/ 226790 w 241077"/>
                <a:gd name="connsiteY14" fmla="*/ 395954 h 435483"/>
                <a:gd name="connsiteX15" fmla="*/ 226790 w 241077"/>
                <a:gd name="connsiteY15" fmla="*/ 39624 h 435483"/>
                <a:gd name="connsiteX16" fmla="*/ 201549 w 241077"/>
                <a:gd name="connsiteY16" fmla="*/ 14383 h 435483"/>
                <a:gd name="connsiteX17" fmla="*/ 39529 w 241077"/>
                <a:gd name="connsiteY17" fmla="*/ 143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1077" h="435483">
                  <a:moveTo>
                    <a:pt x="201549" y="435483"/>
                  </a:moveTo>
                  <a:lnTo>
                    <a:pt x="39529" y="435483"/>
                  </a:lnTo>
                  <a:cubicBezTo>
                    <a:pt x="17717" y="435483"/>
                    <a:pt x="0" y="417767"/>
                    <a:pt x="0" y="395954"/>
                  </a:cubicBezTo>
                  <a:lnTo>
                    <a:pt x="0" y="39624"/>
                  </a:lnTo>
                  <a:cubicBezTo>
                    <a:pt x="0" y="17812"/>
                    <a:pt x="17717" y="0"/>
                    <a:pt x="39529" y="0"/>
                  </a:cubicBezTo>
                  <a:lnTo>
                    <a:pt x="201549" y="0"/>
                  </a:lnTo>
                  <a:cubicBezTo>
                    <a:pt x="223361" y="0"/>
                    <a:pt x="241078" y="17716"/>
                    <a:pt x="241078" y="39529"/>
                  </a:cubicBezTo>
                  <a:lnTo>
                    <a:pt x="241078" y="395954"/>
                  </a:lnTo>
                  <a:cubicBezTo>
                    <a:pt x="241078" y="417767"/>
                    <a:pt x="223361" y="435483"/>
                    <a:pt x="201549" y="435483"/>
                  </a:cubicBezTo>
                  <a:close/>
                  <a:moveTo>
                    <a:pt x="39529" y="14288"/>
                  </a:moveTo>
                  <a:cubicBezTo>
                    <a:pt x="25622" y="14288"/>
                    <a:pt x="14288" y="25622"/>
                    <a:pt x="14288" y="39529"/>
                  </a:cubicBezTo>
                  <a:lnTo>
                    <a:pt x="14288" y="395954"/>
                  </a:lnTo>
                  <a:cubicBezTo>
                    <a:pt x="14288" y="409861"/>
                    <a:pt x="25622" y="421196"/>
                    <a:pt x="39529" y="421196"/>
                  </a:cubicBezTo>
                  <a:lnTo>
                    <a:pt x="201549" y="421196"/>
                  </a:lnTo>
                  <a:cubicBezTo>
                    <a:pt x="215456" y="421196"/>
                    <a:pt x="226790" y="409861"/>
                    <a:pt x="226790" y="395954"/>
                  </a:cubicBezTo>
                  <a:lnTo>
                    <a:pt x="226790" y="39624"/>
                  </a:lnTo>
                  <a:cubicBezTo>
                    <a:pt x="226790" y="25717"/>
                    <a:pt x="215456" y="14383"/>
                    <a:pt x="201549" y="14383"/>
                  </a:cubicBezTo>
                  <a:lnTo>
                    <a:pt x="39529" y="143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6" name="Grafik 3876">
              <a:extLst>
                <a:ext uri="{FF2B5EF4-FFF2-40B4-BE49-F238E27FC236}">
                  <a16:creationId xmlns:a16="http://schemas.microsoft.com/office/drawing/2014/main" id="{08E3D592-F7B3-2083-25A9-006640104D33}"/>
                </a:ext>
              </a:extLst>
            </p:cNvPr>
            <p:cNvSpPr/>
            <p:nvPr/>
          </p:nvSpPr>
          <p:spPr bwMode="gray">
            <a:xfrm>
              <a:off x="6138957" y="3533012"/>
              <a:ext cx="46672" cy="46672"/>
            </a:xfrm>
            <a:custGeom>
              <a:avLst/>
              <a:gdLst>
                <a:gd name="connsiteX0" fmla="*/ 39529 w 46672"/>
                <a:gd name="connsiteY0" fmla="*/ 46673 h 46672"/>
                <a:gd name="connsiteX1" fmla="*/ 7144 w 46672"/>
                <a:gd name="connsiteY1" fmla="*/ 46673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3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8 h 46672"/>
                <a:gd name="connsiteX12" fmla="*/ 14288 w 46672"/>
                <a:gd name="connsiteY12" fmla="*/ 14288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3"/>
                  </a:moveTo>
                  <a:lnTo>
                    <a:pt x="7144" y="46673"/>
                  </a:lnTo>
                  <a:cubicBezTo>
                    <a:pt x="3239" y="46673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434"/>
                    <a:pt x="43434" y="46673"/>
                    <a:pt x="39529" y="46673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7" name="Grafik 3876">
              <a:extLst>
                <a:ext uri="{FF2B5EF4-FFF2-40B4-BE49-F238E27FC236}">
                  <a16:creationId xmlns:a16="http://schemas.microsoft.com/office/drawing/2014/main" id="{FABF63A0-F19D-5757-05CF-A9E151A20FE0}"/>
                </a:ext>
              </a:extLst>
            </p:cNvPr>
            <p:cNvSpPr/>
            <p:nvPr/>
          </p:nvSpPr>
          <p:spPr bwMode="gray">
            <a:xfrm>
              <a:off x="6009322" y="3533012"/>
              <a:ext cx="46672" cy="46672"/>
            </a:xfrm>
            <a:custGeom>
              <a:avLst/>
              <a:gdLst>
                <a:gd name="connsiteX0" fmla="*/ 39529 w 46672"/>
                <a:gd name="connsiteY0" fmla="*/ 46673 h 46672"/>
                <a:gd name="connsiteX1" fmla="*/ 7144 w 46672"/>
                <a:gd name="connsiteY1" fmla="*/ 46673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3 w 46672"/>
                <a:gd name="connsiteY6" fmla="*/ 7144 h 46672"/>
                <a:gd name="connsiteX7" fmla="*/ 46673 w 46672"/>
                <a:gd name="connsiteY7" fmla="*/ 39529 h 46672"/>
                <a:gd name="connsiteX8" fmla="*/ 39529 w 46672"/>
                <a:gd name="connsiteY8" fmla="*/ 46673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8 h 46672"/>
                <a:gd name="connsiteX12" fmla="*/ 14288 w 46672"/>
                <a:gd name="connsiteY12" fmla="*/ 14288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3"/>
                  </a:moveTo>
                  <a:lnTo>
                    <a:pt x="7144" y="46673"/>
                  </a:lnTo>
                  <a:cubicBezTo>
                    <a:pt x="3238" y="46673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8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3" y="3239"/>
                    <a:pt x="46673" y="7144"/>
                  </a:cubicBezTo>
                  <a:lnTo>
                    <a:pt x="46673" y="39529"/>
                  </a:lnTo>
                  <a:cubicBezTo>
                    <a:pt x="46673" y="43434"/>
                    <a:pt x="43529" y="46673"/>
                    <a:pt x="39529" y="46673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8" name="Grafik 3876">
              <a:extLst>
                <a:ext uri="{FF2B5EF4-FFF2-40B4-BE49-F238E27FC236}">
                  <a16:creationId xmlns:a16="http://schemas.microsoft.com/office/drawing/2014/main" id="{EB215DD5-CBB9-C44D-5E03-7402D9562636}"/>
                </a:ext>
              </a:extLst>
            </p:cNvPr>
            <p:cNvSpPr/>
            <p:nvPr/>
          </p:nvSpPr>
          <p:spPr bwMode="gray">
            <a:xfrm>
              <a:off x="6074187" y="3597782"/>
              <a:ext cx="46672" cy="46672"/>
            </a:xfrm>
            <a:custGeom>
              <a:avLst/>
              <a:gdLst>
                <a:gd name="connsiteX0" fmla="*/ 39529 w 46672"/>
                <a:gd name="connsiteY0" fmla="*/ 46672 h 46672"/>
                <a:gd name="connsiteX1" fmla="*/ 7144 w 46672"/>
                <a:gd name="connsiteY1" fmla="*/ 46672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2 h 46672"/>
                <a:gd name="connsiteX9" fmla="*/ 14192 w 46672"/>
                <a:gd name="connsiteY9" fmla="*/ 32385 h 46672"/>
                <a:gd name="connsiteX10" fmla="*/ 32290 w 46672"/>
                <a:gd name="connsiteY10" fmla="*/ 32385 h 46672"/>
                <a:gd name="connsiteX11" fmla="*/ 32290 w 46672"/>
                <a:gd name="connsiteY11" fmla="*/ 14288 h 46672"/>
                <a:gd name="connsiteX12" fmla="*/ 14192 w 46672"/>
                <a:gd name="connsiteY12" fmla="*/ 14288 h 46672"/>
                <a:gd name="connsiteX13" fmla="*/ 14192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2"/>
                  </a:moveTo>
                  <a:lnTo>
                    <a:pt x="7144" y="46672"/>
                  </a:lnTo>
                  <a:cubicBezTo>
                    <a:pt x="3239" y="46672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529"/>
                    <a:pt x="43434" y="46672"/>
                    <a:pt x="39529" y="46672"/>
                  </a:cubicBezTo>
                  <a:close/>
                  <a:moveTo>
                    <a:pt x="14192" y="32385"/>
                  </a:moveTo>
                  <a:lnTo>
                    <a:pt x="32290" y="32385"/>
                  </a:lnTo>
                  <a:lnTo>
                    <a:pt x="32290" y="14288"/>
                  </a:lnTo>
                  <a:lnTo>
                    <a:pt x="14192" y="14288"/>
                  </a:lnTo>
                  <a:lnTo>
                    <a:pt x="14192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9" name="Grafik 3876">
              <a:extLst>
                <a:ext uri="{FF2B5EF4-FFF2-40B4-BE49-F238E27FC236}">
                  <a16:creationId xmlns:a16="http://schemas.microsoft.com/office/drawing/2014/main" id="{B1153C7F-4CE8-36F1-BC24-3588116887AA}"/>
                </a:ext>
              </a:extLst>
            </p:cNvPr>
            <p:cNvSpPr/>
            <p:nvPr/>
          </p:nvSpPr>
          <p:spPr bwMode="gray">
            <a:xfrm>
              <a:off x="6138957" y="3597782"/>
              <a:ext cx="46672" cy="46672"/>
            </a:xfrm>
            <a:custGeom>
              <a:avLst/>
              <a:gdLst>
                <a:gd name="connsiteX0" fmla="*/ 39529 w 46672"/>
                <a:gd name="connsiteY0" fmla="*/ 46672 h 46672"/>
                <a:gd name="connsiteX1" fmla="*/ 7144 w 46672"/>
                <a:gd name="connsiteY1" fmla="*/ 46672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2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8 h 46672"/>
                <a:gd name="connsiteX12" fmla="*/ 14288 w 46672"/>
                <a:gd name="connsiteY12" fmla="*/ 14288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2"/>
                  </a:moveTo>
                  <a:lnTo>
                    <a:pt x="7144" y="46672"/>
                  </a:lnTo>
                  <a:cubicBezTo>
                    <a:pt x="3239" y="46672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529"/>
                    <a:pt x="43434" y="46672"/>
                    <a:pt x="39529" y="46672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0" name="Grafik 3876">
              <a:extLst>
                <a:ext uri="{FF2B5EF4-FFF2-40B4-BE49-F238E27FC236}">
                  <a16:creationId xmlns:a16="http://schemas.microsoft.com/office/drawing/2014/main" id="{A3E303AD-3A34-350F-44CB-8AD962AE7328}"/>
                </a:ext>
              </a:extLst>
            </p:cNvPr>
            <p:cNvSpPr/>
            <p:nvPr/>
          </p:nvSpPr>
          <p:spPr bwMode="gray">
            <a:xfrm>
              <a:off x="6009322" y="3597782"/>
              <a:ext cx="46672" cy="46672"/>
            </a:xfrm>
            <a:custGeom>
              <a:avLst/>
              <a:gdLst>
                <a:gd name="connsiteX0" fmla="*/ 39529 w 46672"/>
                <a:gd name="connsiteY0" fmla="*/ 46672 h 46672"/>
                <a:gd name="connsiteX1" fmla="*/ 7144 w 46672"/>
                <a:gd name="connsiteY1" fmla="*/ 46672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3 w 46672"/>
                <a:gd name="connsiteY6" fmla="*/ 7144 h 46672"/>
                <a:gd name="connsiteX7" fmla="*/ 46673 w 46672"/>
                <a:gd name="connsiteY7" fmla="*/ 39529 h 46672"/>
                <a:gd name="connsiteX8" fmla="*/ 39529 w 46672"/>
                <a:gd name="connsiteY8" fmla="*/ 46672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8 h 46672"/>
                <a:gd name="connsiteX12" fmla="*/ 14288 w 46672"/>
                <a:gd name="connsiteY12" fmla="*/ 14288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2"/>
                  </a:moveTo>
                  <a:lnTo>
                    <a:pt x="7144" y="46672"/>
                  </a:lnTo>
                  <a:cubicBezTo>
                    <a:pt x="3238" y="46672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8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3" y="3239"/>
                    <a:pt x="46673" y="7144"/>
                  </a:cubicBezTo>
                  <a:lnTo>
                    <a:pt x="46673" y="39529"/>
                  </a:lnTo>
                  <a:cubicBezTo>
                    <a:pt x="46673" y="43529"/>
                    <a:pt x="43529" y="46672"/>
                    <a:pt x="39529" y="46672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1" name="Grafik 3876">
              <a:extLst>
                <a:ext uri="{FF2B5EF4-FFF2-40B4-BE49-F238E27FC236}">
                  <a16:creationId xmlns:a16="http://schemas.microsoft.com/office/drawing/2014/main" id="{71600D13-B25C-648A-1C38-002D8592F9A4}"/>
                </a:ext>
              </a:extLst>
            </p:cNvPr>
            <p:cNvSpPr/>
            <p:nvPr/>
          </p:nvSpPr>
          <p:spPr bwMode="gray">
            <a:xfrm>
              <a:off x="6065995" y="3387184"/>
              <a:ext cx="62864" cy="62864"/>
            </a:xfrm>
            <a:custGeom>
              <a:avLst/>
              <a:gdLst>
                <a:gd name="connsiteX0" fmla="*/ 31432 w 62864"/>
                <a:gd name="connsiteY0" fmla="*/ 62865 h 62864"/>
                <a:gd name="connsiteX1" fmla="*/ 0 w 62864"/>
                <a:gd name="connsiteY1" fmla="*/ 31432 h 62864"/>
                <a:gd name="connsiteX2" fmla="*/ 31432 w 62864"/>
                <a:gd name="connsiteY2" fmla="*/ 0 h 62864"/>
                <a:gd name="connsiteX3" fmla="*/ 62865 w 62864"/>
                <a:gd name="connsiteY3" fmla="*/ 31432 h 62864"/>
                <a:gd name="connsiteX4" fmla="*/ 31432 w 62864"/>
                <a:gd name="connsiteY4" fmla="*/ 62865 h 62864"/>
                <a:gd name="connsiteX5" fmla="*/ 31432 w 62864"/>
                <a:gd name="connsiteY5" fmla="*/ 14288 h 62864"/>
                <a:gd name="connsiteX6" fmla="*/ 14288 w 62864"/>
                <a:gd name="connsiteY6" fmla="*/ 31432 h 62864"/>
                <a:gd name="connsiteX7" fmla="*/ 31432 w 62864"/>
                <a:gd name="connsiteY7" fmla="*/ 48577 h 62864"/>
                <a:gd name="connsiteX8" fmla="*/ 48577 w 62864"/>
                <a:gd name="connsiteY8" fmla="*/ 31432 h 62864"/>
                <a:gd name="connsiteX9" fmla="*/ 31432 w 62864"/>
                <a:gd name="connsiteY9" fmla="*/ 14288 h 62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2864" h="62864">
                  <a:moveTo>
                    <a:pt x="31432" y="62865"/>
                  </a:moveTo>
                  <a:cubicBezTo>
                    <a:pt x="14097" y="62865"/>
                    <a:pt x="0" y="48768"/>
                    <a:pt x="0" y="31432"/>
                  </a:cubicBezTo>
                  <a:cubicBezTo>
                    <a:pt x="0" y="14097"/>
                    <a:pt x="14097" y="0"/>
                    <a:pt x="31432" y="0"/>
                  </a:cubicBezTo>
                  <a:cubicBezTo>
                    <a:pt x="48768" y="0"/>
                    <a:pt x="62865" y="14097"/>
                    <a:pt x="62865" y="31432"/>
                  </a:cubicBezTo>
                  <a:cubicBezTo>
                    <a:pt x="62865" y="48768"/>
                    <a:pt x="48863" y="62865"/>
                    <a:pt x="31432" y="62865"/>
                  </a:cubicBezTo>
                  <a:close/>
                  <a:moveTo>
                    <a:pt x="31432" y="14288"/>
                  </a:moveTo>
                  <a:cubicBezTo>
                    <a:pt x="22003" y="14288"/>
                    <a:pt x="14288" y="22003"/>
                    <a:pt x="14288" y="31432"/>
                  </a:cubicBezTo>
                  <a:cubicBezTo>
                    <a:pt x="14288" y="40862"/>
                    <a:pt x="22003" y="48577"/>
                    <a:pt x="31432" y="48577"/>
                  </a:cubicBezTo>
                  <a:cubicBezTo>
                    <a:pt x="40862" y="48577"/>
                    <a:pt x="48577" y="40862"/>
                    <a:pt x="48577" y="31432"/>
                  </a:cubicBezTo>
                  <a:cubicBezTo>
                    <a:pt x="48577" y="22003"/>
                    <a:pt x="40957" y="14288"/>
                    <a:pt x="31432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2" name="Grafik 3876">
              <a:extLst>
                <a:ext uri="{FF2B5EF4-FFF2-40B4-BE49-F238E27FC236}">
                  <a16:creationId xmlns:a16="http://schemas.microsoft.com/office/drawing/2014/main" id="{7230521D-FC5B-26E2-999F-8E267A51A76E}"/>
                </a:ext>
              </a:extLst>
            </p:cNvPr>
            <p:cNvSpPr/>
            <p:nvPr/>
          </p:nvSpPr>
          <p:spPr bwMode="gray">
            <a:xfrm>
              <a:off x="6138957" y="3176587"/>
              <a:ext cx="46672" cy="79057"/>
            </a:xfrm>
            <a:custGeom>
              <a:avLst/>
              <a:gdLst>
                <a:gd name="connsiteX0" fmla="*/ 39529 w 46672"/>
                <a:gd name="connsiteY0" fmla="*/ 79058 h 79057"/>
                <a:gd name="connsiteX1" fmla="*/ 32385 w 46672"/>
                <a:gd name="connsiteY1" fmla="*/ 71914 h 79057"/>
                <a:gd name="connsiteX2" fmla="*/ 32385 w 46672"/>
                <a:gd name="connsiteY2" fmla="*/ 23336 h 79057"/>
                <a:gd name="connsiteX3" fmla="*/ 23336 w 46672"/>
                <a:gd name="connsiteY3" fmla="*/ 14288 h 79057"/>
                <a:gd name="connsiteX4" fmla="*/ 14288 w 46672"/>
                <a:gd name="connsiteY4" fmla="*/ 23336 h 79057"/>
                <a:gd name="connsiteX5" fmla="*/ 14288 w 46672"/>
                <a:gd name="connsiteY5" fmla="*/ 71914 h 79057"/>
                <a:gd name="connsiteX6" fmla="*/ 7144 w 46672"/>
                <a:gd name="connsiteY6" fmla="*/ 79058 h 79057"/>
                <a:gd name="connsiteX7" fmla="*/ 0 w 46672"/>
                <a:gd name="connsiteY7" fmla="*/ 71914 h 79057"/>
                <a:gd name="connsiteX8" fmla="*/ 0 w 46672"/>
                <a:gd name="connsiteY8" fmla="*/ 23336 h 79057"/>
                <a:gd name="connsiteX9" fmla="*/ 23336 w 46672"/>
                <a:gd name="connsiteY9" fmla="*/ 0 h 79057"/>
                <a:gd name="connsiteX10" fmla="*/ 46672 w 46672"/>
                <a:gd name="connsiteY10" fmla="*/ 23336 h 79057"/>
                <a:gd name="connsiteX11" fmla="*/ 46672 w 46672"/>
                <a:gd name="connsiteY11" fmla="*/ 71914 h 79057"/>
                <a:gd name="connsiteX12" fmla="*/ 39529 w 46672"/>
                <a:gd name="connsiteY12" fmla="*/ 79058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" h="79057">
                  <a:moveTo>
                    <a:pt x="39529" y="79058"/>
                  </a:moveTo>
                  <a:cubicBezTo>
                    <a:pt x="35623" y="79058"/>
                    <a:pt x="32385" y="75819"/>
                    <a:pt x="32385" y="71914"/>
                  </a:cubicBezTo>
                  <a:lnTo>
                    <a:pt x="32385" y="23336"/>
                  </a:lnTo>
                  <a:cubicBezTo>
                    <a:pt x="32385" y="18383"/>
                    <a:pt x="28289" y="14288"/>
                    <a:pt x="23336" y="14288"/>
                  </a:cubicBezTo>
                  <a:cubicBezTo>
                    <a:pt x="18383" y="14288"/>
                    <a:pt x="14288" y="18383"/>
                    <a:pt x="14288" y="23336"/>
                  </a:cubicBezTo>
                  <a:lnTo>
                    <a:pt x="14288" y="71914"/>
                  </a:lnTo>
                  <a:cubicBezTo>
                    <a:pt x="14288" y="75819"/>
                    <a:pt x="11049" y="79058"/>
                    <a:pt x="7144" y="79058"/>
                  </a:cubicBezTo>
                  <a:cubicBezTo>
                    <a:pt x="3239" y="79058"/>
                    <a:pt x="0" y="75819"/>
                    <a:pt x="0" y="71914"/>
                  </a:cubicBezTo>
                  <a:lnTo>
                    <a:pt x="0" y="23336"/>
                  </a:lnTo>
                  <a:cubicBezTo>
                    <a:pt x="0" y="10478"/>
                    <a:pt x="10382" y="0"/>
                    <a:pt x="23336" y="0"/>
                  </a:cubicBezTo>
                  <a:cubicBezTo>
                    <a:pt x="36195" y="0"/>
                    <a:pt x="46672" y="10478"/>
                    <a:pt x="46672" y="23336"/>
                  </a:cubicBezTo>
                  <a:lnTo>
                    <a:pt x="46672" y="71914"/>
                  </a:lnTo>
                  <a:cubicBezTo>
                    <a:pt x="46672" y="75914"/>
                    <a:pt x="43434" y="79058"/>
                    <a:pt x="39529" y="7905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3" name="Grafik 3876">
              <a:extLst>
                <a:ext uri="{FF2B5EF4-FFF2-40B4-BE49-F238E27FC236}">
                  <a16:creationId xmlns:a16="http://schemas.microsoft.com/office/drawing/2014/main" id="{8CC4FF35-9B01-F585-C683-16C1899D7C6F}"/>
                </a:ext>
              </a:extLst>
            </p:cNvPr>
            <p:cNvSpPr/>
            <p:nvPr/>
          </p:nvSpPr>
          <p:spPr bwMode="gray">
            <a:xfrm>
              <a:off x="6009322" y="3273837"/>
              <a:ext cx="176307" cy="95249"/>
            </a:xfrm>
            <a:custGeom>
              <a:avLst/>
              <a:gdLst>
                <a:gd name="connsiteX0" fmla="*/ 152971 w 176307"/>
                <a:gd name="connsiteY0" fmla="*/ 95250 h 95249"/>
                <a:gd name="connsiteX1" fmla="*/ 23336 w 176307"/>
                <a:gd name="connsiteY1" fmla="*/ 95250 h 95249"/>
                <a:gd name="connsiteX2" fmla="*/ 0 w 176307"/>
                <a:gd name="connsiteY2" fmla="*/ 71914 h 95249"/>
                <a:gd name="connsiteX3" fmla="*/ 0 w 176307"/>
                <a:gd name="connsiteY3" fmla="*/ 23336 h 95249"/>
                <a:gd name="connsiteX4" fmla="*/ 23336 w 176307"/>
                <a:gd name="connsiteY4" fmla="*/ 0 h 95249"/>
                <a:gd name="connsiteX5" fmla="*/ 152971 w 176307"/>
                <a:gd name="connsiteY5" fmla="*/ 0 h 95249"/>
                <a:gd name="connsiteX6" fmla="*/ 176308 w 176307"/>
                <a:gd name="connsiteY6" fmla="*/ 23336 h 95249"/>
                <a:gd name="connsiteX7" fmla="*/ 176308 w 176307"/>
                <a:gd name="connsiteY7" fmla="*/ 71914 h 95249"/>
                <a:gd name="connsiteX8" fmla="*/ 152971 w 176307"/>
                <a:gd name="connsiteY8" fmla="*/ 95250 h 95249"/>
                <a:gd name="connsiteX9" fmla="*/ 23336 w 176307"/>
                <a:gd name="connsiteY9" fmla="*/ 14288 h 95249"/>
                <a:gd name="connsiteX10" fmla="*/ 14288 w 176307"/>
                <a:gd name="connsiteY10" fmla="*/ 23336 h 95249"/>
                <a:gd name="connsiteX11" fmla="*/ 14288 w 176307"/>
                <a:gd name="connsiteY11" fmla="*/ 71914 h 95249"/>
                <a:gd name="connsiteX12" fmla="*/ 23336 w 176307"/>
                <a:gd name="connsiteY12" fmla="*/ 80962 h 95249"/>
                <a:gd name="connsiteX13" fmla="*/ 152971 w 176307"/>
                <a:gd name="connsiteY13" fmla="*/ 80962 h 95249"/>
                <a:gd name="connsiteX14" fmla="*/ 162020 w 176307"/>
                <a:gd name="connsiteY14" fmla="*/ 71914 h 95249"/>
                <a:gd name="connsiteX15" fmla="*/ 162020 w 176307"/>
                <a:gd name="connsiteY15" fmla="*/ 23336 h 95249"/>
                <a:gd name="connsiteX16" fmla="*/ 152971 w 176307"/>
                <a:gd name="connsiteY16" fmla="*/ 14288 h 95249"/>
                <a:gd name="connsiteX17" fmla="*/ 23336 w 176307"/>
                <a:gd name="connsiteY17" fmla="*/ 14288 h 9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76307" h="95249">
                  <a:moveTo>
                    <a:pt x="152971" y="95250"/>
                  </a:moveTo>
                  <a:lnTo>
                    <a:pt x="23336" y="95250"/>
                  </a:lnTo>
                  <a:cubicBezTo>
                    <a:pt x="10477" y="95250"/>
                    <a:pt x="0" y="84773"/>
                    <a:pt x="0" y="71914"/>
                  </a:cubicBezTo>
                  <a:lnTo>
                    <a:pt x="0" y="23336"/>
                  </a:lnTo>
                  <a:cubicBezTo>
                    <a:pt x="0" y="10478"/>
                    <a:pt x="10477" y="0"/>
                    <a:pt x="23336" y="0"/>
                  </a:cubicBezTo>
                  <a:lnTo>
                    <a:pt x="152971" y="0"/>
                  </a:lnTo>
                  <a:cubicBezTo>
                    <a:pt x="165830" y="0"/>
                    <a:pt x="176308" y="10478"/>
                    <a:pt x="176308" y="23336"/>
                  </a:cubicBezTo>
                  <a:lnTo>
                    <a:pt x="176308" y="71914"/>
                  </a:lnTo>
                  <a:cubicBezTo>
                    <a:pt x="176308" y="84773"/>
                    <a:pt x="165830" y="95250"/>
                    <a:pt x="152971" y="95250"/>
                  </a:cubicBezTo>
                  <a:close/>
                  <a:moveTo>
                    <a:pt x="23336" y="14288"/>
                  </a:moveTo>
                  <a:cubicBezTo>
                    <a:pt x="18383" y="14288"/>
                    <a:pt x="14288" y="18383"/>
                    <a:pt x="14288" y="23336"/>
                  </a:cubicBezTo>
                  <a:lnTo>
                    <a:pt x="14288" y="71914"/>
                  </a:lnTo>
                  <a:cubicBezTo>
                    <a:pt x="14288" y="76867"/>
                    <a:pt x="18383" y="80962"/>
                    <a:pt x="23336" y="80962"/>
                  </a:cubicBezTo>
                  <a:lnTo>
                    <a:pt x="152971" y="80962"/>
                  </a:lnTo>
                  <a:cubicBezTo>
                    <a:pt x="157925" y="80962"/>
                    <a:pt x="162020" y="76867"/>
                    <a:pt x="162020" y="71914"/>
                  </a:cubicBezTo>
                  <a:lnTo>
                    <a:pt x="162020" y="23336"/>
                  </a:lnTo>
                  <a:cubicBezTo>
                    <a:pt x="162020" y="18383"/>
                    <a:pt x="157925" y="14288"/>
                    <a:pt x="152971" y="14288"/>
                  </a:cubicBezTo>
                  <a:lnTo>
                    <a:pt x="23336" y="1428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64" name="Grafik 3878">
            <a:extLst>
              <a:ext uri="{FF2B5EF4-FFF2-40B4-BE49-F238E27FC236}">
                <a16:creationId xmlns:a16="http://schemas.microsoft.com/office/drawing/2014/main" id="{B8A2E332-8C4B-73C3-E09E-F3D5505CAA34}"/>
              </a:ext>
            </a:extLst>
          </p:cNvPr>
          <p:cNvGrpSpPr/>
          <p:nvPr/>
        </p:nvGrpSpPr>
        <p:grpSpPr bwMode="gray">
          <a:xfrm>
            <a:off x="5130236" y="347673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365" name="Grafik 3878">
              <a:extLst>
                <a:ext uri="{FF2B5EF4-FFF2-40B4-BE49-F238E27FC236}">
                  <a16:creationId xmlns:a16="http://schemas.microsoft.com/office/drawing/2014/main" id="{010DC006-227A-B59F-1866-F869782EB793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6" name="Grafik 3878">
              <a:extLst>
                <a:ext uri="{FF2B5EF4-FFF2-40B4-BE49-F238E27FC236}">
                  <a16:creationId xmlns:a16="http://schemas.microsoft.com/office/drawing/2014/main" id="{0DF8CB6C-57E7-9CE4-D3A7-54F4489AF1CE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7" name="Grafik 3878">
              <a:extLst>
                <a:ext uri="{FF2B5EF4-FFF2-40B4-BE49-F238E27FC236}">
                  <a16:creationId xmlns:a16="http://schemas.microsoft.com/office/drawing/2014/main" id="{ADF2864D-8EBF-0C3C-46E0-E3F2B6A90AAE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8" name="Grafik 3878">
              <a:extLst>
                <a:ext uri="{FF2B5EF4-FFF2-40B4-BE49-F238E27FC236}">
                  <a16:creationId xmlns:a16="http://schemas.microsoft.com/office/drawing/2014/main" id="{67087C8D-5420-2A5C-52DC-D9929488AF9C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9" name="Grafik 3878">
              <a:extLst>
                <a:ext uri="{FF2B5EF4-FFF2-40B4-BE49-F238E27FC236}">
                  <a16:creationId xmlns:a16="http://schemas.microsoft.com/office/drawing/2014/main" id="{B6C5C7E8-7BAC-6FAD-512B-08FE551B129D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0" name="Grafik 3878">
              <a:extLst>
                <a:ext uri="{FF2B5EF4-FFF2-40B4-BE49-F238E27FC236}">
                  <a16:creationId xmlns:a16="http://schemas.microsoft.com/office/drawing/2014/main" id="{02CD3730-A40C-2AA0-4B82-AED0F5CB861F}"/>
                </a:ext>
              </a:extLst>
            </p:cNvPr>
            <p:cNvSpPr/>
            <p:nvPr/>
          </p:nvSpPr>
          <p:spPr bwMode="gray">
            <a:xfrm>
              <a:off x="5892135" y="3290196"/>
              <a:ext cx="338354" cy="338066"/>
            </a:xfrm>
            <a:custGeom>
              <a:avLst/>
              <a:gdLst>
                <a:gd name="connsiteX0" fmla="*/ 331214 w 338354"/>
                <a:gd name="connsiteY0" fmla="*/ 338066 h 338066"/>
                <a:gd name="connsiteX1" fmla="*/ 7173 w 338354"/>
                <a:gd name="connsiteY1" fmla="*/ 338066 h 338066"/>
                <a:gd name="connsiteX2" fmla="*/ 1077 w 338354"/>
                <a:gd name="connsiteY2" fmla="*/ 334637 h 338066"/>
                <a:gd name="connsiteX3" fmla="*/ 791 w 338354"/>
                <a:gd name="connsiteY3" fmla="*/ 327684 h 338066"/>
                <a:gd name="connsiteX4" fmla="*/ 162812 w 338354"/>
                <a:gd name="connsiteY4" fmla="*/ 3643 h 338066"/>
                <a:gd name="connsiteX5" fmla="*/ 175575 w 338354"/>
                <a:gd name="connsiteY5" fmla="*/ 3643 h 338066"/>
                <a:gd name="connsiteX6" fmla="*/ 337595 w 338354"/>
                <a:gd name="connsiteY6" fmla="*/ 327684 h 338066"/>
                <a:gd name="connsiteX7" fmla="*/ 337310 w 338354"/>
                <a:gd name="connsiteY7" fmla="*/ 334637 h 338066"/>
                <a:gd name="connsiteX8" fmla="*/ 331214 w 338354"/>
                <a:gd name="connsiteY8" fmla="*/ 338066 h 338066"/>
                <a:gd name="connsiteX9" fmla="*/ 18794 w 338354"/>
                <a:gd name="connsiteY9" fmla="*/ 323779 h 338066"/>
                <a:gd name="connsiteX10" fmla="*/ 319688 w 338354"/>
                <a:gd name="connsiteY10" fmla="*/ 323779 h 338066"/>
                <a:gd name="connsiteX11" fmla="*/ 169193 w 338354"/>
                <a:gd name="connsiteY11" fmla="*/ 22884 h 338066"/>
                <a:gd name="connsiteX12" fmla="*/ 18794 w 338354"/>
                <a:gd name="connsiteY12" fmla="*/ 323779 h 338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8354" h="338066">
                  <a:moveTo>
                    <a:pt x="331214" y="338066"/>
                  </a:moveTo>
                  <a:lnTo>
                    <a:pt x="7173" y="338066"/>
                  </a:lnTo>
                  <a:cubicBezTo>
                    <a:pt x="4697" y="338066"/>
                    <a:pt x="2411" y="336828"/>
                    <a:pt x="1077" y="334637"/>
                  </a:cubicBezTo>
                  <a:cubicBezTo>
                    <a:pt x="-256" y="332542"/>
                    <a:pt x="-352" y="329875"/>
                    <a:pt x="791" y="327684"/>
                  </a:cubicBezTo>
                  <a:lnTo>
                    <a:pt x="162812" y="3643"/>
                  </a:lnTo>
                  <a:cubicBezTo>
                    <a:pt x="165193" y="-1214"/>
                    <a:pt x="173194" y="-1214"/>
                    <a:pt x="175575" y="3643"/>
                  </a:cubicBezTo>
                  <a:lnTo>
                    <a:pt x="337595" y="327684"/>
                  </a:lnTo>
                  <a:cubicBezTo>
                    <a:pt x="338738" y="329875"/>
                    <a:pt x="338548" y="332542"/>
                    <a:pt x="337310" y="334637"/>
                  </a:cubicBezTo>
                  <a:cubicBezTo>
                    <a:pt x="335976" y="336828"/>
                    <a:pt x="333690" y="338066"/>
                    <a:pt x="331214" y="338066"/>
                  </a:cubicBezTo>
                  <a:close/>
                  <a:moveTo>
                    <a:pt x="18794" y="323779"/>
                  </a:moveTo>
                  <a:lnTo>
                    <a:pt x="319688" y="323779"/>
                  </a:lnTo>
                  <a:lnTo>
                    <a:pt x="169193" y="22884"/>
                  </a:lnTo>
                  <a:lnTo>
                    <a:pt x="18794" y="32377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1" name="Grafik 3878">
              <a:extLst>
                <a:ext uri="{FF2B5EF4-FFF2-40B4-BE49-F238E27FC236}">
                  <a16:creationId xmlns:a16="http://schemas.microsoft.com/office/drawing/2014/main" id="{CFEBB4DD-236D-5C6A-F754-D5715392E458}"/>
                </a:ext>
              </a:extLst>
            </p:cNvPr>
            <p:cNvSpPr/>
            <p:nvPr/>
          </p:nvSpPr>
          <p:spPr bwMode="gray">
            <a:xfrm>
              <a:off x="6075896" y="3411927"/>
              <a:ext cx="44772" cy="54695"/>
            </a:xfrm>
            <a:custGeom>
              <a:avLst/>
              <a:gdLst>
                <a:gd name="connsiteX0" fmla="*/ 37915 w 44772"/>
                <a:gd name="connsiteY0" fmla="*/ 54696 h 54695"/>
                <a:gd name="connsiteX1" fmla="*/ 35629 w 44772"/>
                <a:gd name="connsiteY1" fmla="*/ 54315 h 54695"/>
                <a:gd name="connsiteX2" fmla="*/ 4863 w 44772"/>
                <a:gd name="connsiteY2" fmla="*/ 44028 h 54695"/>
                <a:gd name="connsiteX3" fmla="*/ 100 w 44772"/>
                <a:gd name="connsiteY3" fmla="*/ 36027 h 54695"/>
                <a:gd name="connsiteX4" fmla="*/ 100 w 44772"/>
                <a:gd name="connsiteY4" fmla="*/ 36027 h 54695"/>
                <a:gd name="connsiteX5" fmla="*/ 100 w 44772"/>
                <a:gd name="connsiteY5" fmla="*/ 35932 h 54695"/>
                <a:gd name="connsiteX6" fmla="*/ 100 w 44772"/>
                <a:gd name="connsiteY6" fmla="*/ 35932 h 54695"/>
                <a:gd name="connsiteX7" fmla="*/ 100 w 44772"/>
                <a:gd name="connsiteY7" fmla="*/ 35932 h 54695"/>
                <a:gd name="connsiteX8" fmla="*/ 100 w 44772"/>
                <a:gd name="connsiteY8" fmla="*/ 35932 h 54695"/>
                <a:gd name="connsiteX9" fmla="*/ 100 w 44772"/>
                <a:gd name="connsiteY9" fmla="*/ 35932 h 54695"/>
                <a:gd name="connsiteX10" fmla="*/ 100 w 44772"/>
                <a:gd name="connsiteY10" fmla="*/ 35932 h 54695"/>
                <a:gd name="connsiteX11" fmla="*/ 100 w 44772"/>
                <a:gd name="connsiteY11" fmla="*/ 35836 h 54695"/>
                <a:gd name="connsiteX12" fmla="*/ 100 w 44772"/>
                <a:gd name="connsiteY12" fmla="*/ 35836 h 54695"/>
                <a:gd name="connsiteX13" fmla="*/ 100 w 44772"/>
                <a:gd name="connsiteY13" fmla="*/ 35836 h 54695"/>
                <a:gd name="connsiteX14" fmla="*/ 100 w 44772"/>
                <a:gd name="connsiteY14" fmla="*/ 35836 h 54695"/>
                <a:gd name="connsiteX15" fmla="*/ 100 w 44772"/>
                <a:gd name="connsiteY15" fmla="*/ 35836 h 54695"/>
                <a:gd name="connsiteX16" fmla="*/ 100 w 44772"/>
                <a:gd name="connsiteY16" fmla="*/ 35836 h 54695"/>
                <a:gd name="connsiteX17" fmla="*/ 100 w 44772"/>
                <a:gd name="connsiteY17" fmla="*/ 35836 h 54695"/>
                <a:gd name="connsiteX18" fmla="*/ 100 w 44772"/>
                <a:gd name="connsiteY18" fmla="*/ 35836 h 54695"/>
                <a:gd name="connsiteX19" fmla="*/ 100 w 44772"/>
                <a:gd name="connsiteY19" fmla="*/ 35836 h 54695"/>
                <a:gd name="connsiteX20" fmla="*/ 100 w 44772"/>
                <a:gd name="connsiteY20" fmla="*/ 35836 h 54695"/>
                <a:gd name="connsiteX21" fmla="*/ 100 w 44772"/>
                <a:gd name="connsiteY21" fmla="*/ 35836 h 54695"/>
                <a:gd name="connsiteX22" fmla="*/ 100 w 44772"/>
                <a:gd name="connsiteY22" fmla="*/ 35836 h 54695"/>
                <a:gd name="connsiteX23" fmla="*/ 100 w 44772"/>
                <a:gd name="connsiteY23" fmla="*/ 35836 h 54695"/>
                <a:gd name="connsiteX24" fmla="*/ 100 w 44772"/>
                <a:gd name="connsiteY24" fmla="*/ 35836 h 54695"/>
                <a:gd name="connsiteX25" fmla="*/ 100 w 44772"/>
                <a:gd name="connsiteY25" fmla="*/ 35741 h 54695"/>
                <a:gd name="connsiteX26" fmla="*/ 100 w 44772"/>
                <a:gd name="connsiteY26" fmla="*/ 35741 h 54695"/>
                <a:gd name="connsiteX27" fmla="*/ 100 w 44772"/>
                <a:gd name="connsiteY27" fmla="*/ 35646 h 54695"/>
                <a:gd name="connsiteX28" fmla="*/ 100 w 44772"/>
                <a:gd name="connsiteY28" fmla="*/ 35646 h 54695"/>
                <a:gd name="connsiteX29" fmla="*/ 100 w 44772"/>
                <a:gd name="connsiteY29" fmla="*/ 35646 h 54695"/>
                <a:gd name="connsiteX30" fmla="*/ 100 w 44772"/>
                <a:gd name="connsiteY30" fmla="*/ 35646 h 54695"/>
                <a:gd name="connsiteX31" fmla="*/ 100 w 44772"/>
                <a:gd name="connsiteY31" fmla="*/ 35646 h 54695"/>
                <a:gd name="connsiteX32" fmla="*/ 100 w 44772"/>
                <a:gd name="connsiteY32" fmla="*/ 35646 h 54695"/>
                <a:gd name="connsiteX33" fmla="*/ 100 w 44772"/>
                <a:gd name="connsiteY33" fmla="*/ 35646 h 54695"/>
                <a:gd name="connsiteX34" fmla="*/ 100 w 44772"/>
                <a:gd name="connsiteY34" fmla="*/ 35646 h 54695"/>
                <a:gd name="connsiteX35" fmla="*/ 100 w 44772"/>
                <a:gd name="connsiteY35" fmla="*/ 35646 h 54695"/>
                <a:gd name="connsiteX36" fmla="*/ 100 w 44772"/>
                <a:gd name="connsiteY36" fmla="*/ 35646 h 54695"/>
                <a:gd name="connsiteX37" fmla="*/ 100 w 44772"/>
                <a:gd name="connsiteY37" fmla="*/ 35646 h 54695"/>
                <a:gd name="connsiteX38" fmla="*/ 100 w 44772"/>
                <a:gd name="connsiteY38" fmla="*/ 35646 h 54695"/>
                <a:gd name="connsiteX39" fmla="*/ 100 w 44772"/>
                <a:gd name="connsiteY39" fmla="*/ 35646 h 54695"/>
                <a:gd name="connsiteX40" fmla="*/ 100 w 44772"/>
                <a:gd name="connsiteY40" fmla="*/ 35646 h 54695"/>
                <a:gd name="connsiteX41" fmla="*/ 100 w 44772"/>
                <a:gd name="connsiteY41" fmla="*/ 35646 h 54695"/>
                <a:gd name="connsiteX42" fmla="*/ 100 w 44772"/>
                <a:gd name="connsiteY42" fmla="*/ 35646 h 54695"/>
                <a:gd name="connsiteX43" fmla="*/ 100 w 44772"/>
                <a:gd name="connsiteY43" fmla="*/ 35646 h 54695"/>
                <a:gd name="connsiteX44" fmla="*/ 100 w 44772"/>
                <a:gd name="connsiteY44" fmla="*/ 35646 h 54695"/>
                <a:gd name="connsiteX45" fmla="*/ 100 w 44772"/>
                <a:gd name="connsiteY45" fmla="*/ 35646 h 54695"/>
                <a:gd name="connsiteX46" fmla="*/ 100 w 44772"/>
                <a:gd name="connsiteY46" fmla="*/ 35646 h 54695"/>
                <a:gd name="connsiteX47" fmla="*/ 100 w 44772"/>
                <a:gd name="connsiteY47" fmla="*/ 35646 h 54695"/>
                <a:gd name="connsiteX48" fmla="*/ 100 w 44772"/>
                <a:gd name="connsiteY48" fmla="*/ 35646 h 54695"/>
                <a:gd name="connsiteX49" fmla="*/ 100 w 44772"/>
                <a:gd name="connsiteY49" fmla="*/ 35646 h 54695"/>
                <a:gd name="connsiteX50" fmla="*/ 100 w 44772"/>
                <a:gd name="connsiteY50" fmla="*/ 35646 h 54695"/>
                <a:gd name="connsiteX51" fmla="*/ 100 w 44772"/>
                <a:gd name="connsiteY51" fmla="*/ 35646 h 54695"/>
                <a:gd name="connsiteX52" fmla="*/ 100 w 44772"/>
                <a:gd name="connsiteY52" fmla="*/ 35646 h 54695"/>
                <a:gd name="connsiteX53" fmla="*/ 100 w 44772"/>
                <a:gd name="connsiteY53" fmla="*/ 35646 h 54695"/>
                <a:gd name="connsiteX54" fmla="*/ 100 w 44772"/>
                <a:gd name="connsiteY54" fmla="*/ 35646 h 54695"/>
                <a:gd name="connsiteX55" fmla="*/ 100 w 44772"/>
                <a:gd name="connsiteY55" fmla="*/ 35646 h 54695"/>
                <a:gd name="connsiteX56" fmla="*/ 100 w 44772"/>
                <a:gd name="connsiteY56" fmla="*/ 35646 h 54695"/>
                <a:gd name="connsiteX57" fmla="*/ 100 w 44772"/>
                <a:gd name="connsiteY57" fmla="*/ 35646 h 54695"/>
                <a:gd name="connsiteX58" fmla="*/ 100 w 44772"/>
                <a:gd name="connsiteY58" fmla="*/ 35646 h 54695"/>
                <a:gd name="connsiteX59" fmla="*/ 100 w 44772"/>
                <a:gd name="connsiteY59" fmla="*/ 35646 h 54695"/>
                <a:gd name="connsiteX60" fmla="*/ 100 w 44772"/>
                <a:gd name="connsiteY60" fmla="*/ 35646 h 54695"/>
                <a:gd name="connsiteX61" fmla="*/ 100 w 44772"/>
                <a:gd name="connsiteY61" fmla="*/ 35646 h 54695"/>
                <a:gd name="connsiteX62" fmla="*/ 100 w 44772"/>
                <a:gd name="connsiteY62" fmla="*/ 35646 h 54695"/>
                <a:gd name="connsiteX63" fmla="*/ 100 w 44772"/>
                <a:gd name="connsiteY63" fmla="*/ 35646 h 54695"/>
                <a:gd name="connsiteX64" fmla="*/ 100 w 44772"/>
                <a:gd name="connsiteY64" fmla="*/ 35646 h 54695"/>
                <a:gd name="connsiteX65" fmla="*/ 100 w 44772"/>
                <a:gd name="connsiteY65" fmla="*/ 35646 h 54695"/>
                <a:gd name="connsiteX66" fmla="*/ 100 w 44772"/>
                <a:gd name="connsiteY66" fmla="*/ 35646 h 54695"/>
                <a:gd name="connsiteX67" fmla="*/ 100 w 44772"/>
                <a:gd name="connsiteY67" fmla="*/ 35646 h 54695"/>
                <a:gd name="connsiteX68" fmla="*/ 100 w 44772"/>
                <a:gd name="connsiteY68" fmla="*/ 35646 h 54695"/>
                <a:gd name="connsiteX69" fmla="*/ 100 w 44772"/>
                <a:gd name="connsiteY69" fmla="*/ 35646 h 54695"/>
                <a:gd name="connsiteX70" fmla="*/ 100 w 44772"/>
                <a:gd name="connsiteY70" fmla="*/ 35646 h 54695"/>
                <a:gd name="connsiteX71" fmla="*/ 100 w 44772"/>
                <a:gd name="connsiteY71" fmla="*/ 35646 h 54695"/>
                <a:gd name="connsiteX72" fmla="*/ 100 w 44772"/>
                <a:gd name="connsiteY72" fmla="*/ 35646 h 54695"/>
                <a:gd name="connsiteX73" fmla="*/ 100 w 44772"/>
                <a:gd name="connsiteY73" fmla="*/ 35646 h 54695"/>
                <a:gd name="connsiteX74" fmla="*/ 100 w 44772"/>
                <a:gd name="connsiteY74" fmla="*/ 35646 h 54695"/>
                <a:gd name="connsiteX75" fmla="*/ 10387 w 44772"/>
                <a:gd name="connsiteY75" fmla="*/ 4880 h 54695"/>
                <a:gd name="connsiteX76" fmla="*/ 19436 w 44772"/>
                <a:gd name="connsiteY76" fmla="*/ 403 h 54695"/>
                <a:gd name="connsiteX77" fmla="*/ 23913 w 44772"/>
                <a:gd name="connsiteY77" fmla="*/ 9452 h 54695"/>
                <a:gd name="connsiteX78" fmla="*/ 15912 w 44772"/>
                <a:gd name="connsiteY78" fmla="*/ 33360 h 54695"/>
                <a:gd name="connsiteX79" fmla="*/ 39915 w 44772"/>
                <a:gd name="connsiteY79" fmla="*/ 41361 h 54695"/>
                <a:gd name="connsiteX80" fmla="*/ 44773 w 44772"/>
                <a:gd name="connsiteY80" fmla="*/ 48124 h 54695"/>
                <a:gd name="connsiteX81" fmla="*/ 44392 w 44772"/>
                <a:gd name="connsiteY81" fmla="*/ 50410 h 54695"/>
                <a:gd name="connsiteX82" fmla="*/ 37915 w 44772"/>
                <a:gd name="connsiteY82" fmla="*/ 54696 h 54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44772" h="54695">
                  <a:moveTo>
                    <a:pt x="37915" y="54696"/>
                  </a:moveTo>
                  <a:cubicBezTo>
                    <a:pt x="37153" y="54696"/>
                    <a:pt x="36391" y="54601"/>
                    <a:pt x="35629" y="54315"/>
                  </a:cubicBezTo>
                  <a:lnTo>
                    <a:pt x="4863" y="44028"/>
                  </a:lnTo>
                  <a:cubicBezTo>
                    <a:pt x="1434" y="42885"/>
                    <a:pt x="-471" y="39456"/>
                    <a:pt x="100" y="36027"/>
                  </a:cubicBezTo>
                  <a:lnTo>
                    <a:pt x="100" y="36027"/>
                  </a:lnTo>
                  <a:cubicBezTo>
                    <a:pt x="100" y="36027"/>
                    <a:pt x="100" y="36027"/>
                    <a:pt x="100" y="35932"/>
                  </a:cubicBezTo>
                  <a:lnTo>
                    <a:pt x="100" y="35932"/>
                  </a:lnTo>
                  <a:cubicBezTo>
                    <a:pt x="100" y="35932"/>
                    <a:pt x="100" y="35932"/>
                    <a:pt x="100" y="35932"/>
                  </a:cubicBezTo>
                  <a:lnTo>
                    <a:pt x="100" y="35932"/>
                  </a:lnTo>
                  <a:cubicBezTo>
                    <a:pt x="100" y="35932"/>
                    <a:pt x="100" y="35932"/>
                    <a:pt x="100" y="35932"/>
                  </a:cubicBezTo>
                  <a:lnTo>
                    <a:pt x="100" y="35932"/>
                  </a:lnTo>
                  <a:cubicBezTo>
                    <a:pt x="100" y="35932"/>
                    <a:pt x="100" y="35932"/>
                    <a:pt x="100" y="35836"/>
                  </a:cubicBezTo>
                  <a:cubicBezTo>
                    <a:pt x="100" y="35836"/>
                    <a:pt x="100" y="35836"/>
                    <a:pt x="100" y="35836"/>
                  </a:cubicBezTo>
                  <a:cubicBezTo>
                    <a:pt x="100" y="35836"/>
                    <a:pt x="100" y="35836"/>
                    <a:pt x="100" y="35836"/>
                  </a:cubicBezTo>
                  <a:lnTo>
                    <a:pt x="100" y="35836"/>
                  </a:lnTo>
                  <a:cubicBezTo>
                    <a:pt x="100" y="35836"/>
                    <a:pt x="100" y="35836"/>
                    <a:pt x="100" y="35836"/>
                  </a:cubicBezTo>
                  <a:lnTo>
                    <a:pt x="100" y="35836"/>
                  </a:lnTo>
                  <a:cubicBezTo>
                    <a:pt x="100" y="35836"/>
                    <a:pt x="100" y="35836"/>
                    <a:pt x="100" y="35836"/>
                  </a:cubicBezTo>
                  <a:lnTo>
                    <a:pt x="100" y="35836"/>
                  </a:lnTo>
                  <a:cubicBezTo>
                    <a:pt x="100" y="35836"/>
                    <a:pt x="100" y="35836"/>
                    <a:pt x="100" y="35836"/>
                  </a:cubicBezTo>
                  <a:lnTo>
                    <a:pt x="100" y="35836"/>
                  </a:lnTo>
                  <a:cubicBezTo>
                    <a:pt x="100" y="35836"/>
                    <a:pt x="100" y="35836"/>
                    <a:pt x="100" y="35836"/>
                  </a:cubicBezTo>
                  <a:cubicBezTo>
                    <a:pt x="100" y="35836"/>
                    <a:pt x="100" y="35836"/>
                    <a:pt x="100" y="35836"/>
                  </a:cubicBezTo>
                  <a:cubicBezTo>
                    <a:pt x="100" y="35836"/>
                    <a:pt x="100" y="35836"/>
                    <a:pt x="100" y="35836"/>
                  </a:cubicBezTo>
                  <a:lnTo>
                    <a:pt x="100" y="35836"/>
                  </a:lnTo>
                  <a:cubicBezTo>
                    <a:pt x="100" y="35836"/>
                    <a:pt x="100" y="35836"/>
                    <a:pt x="100" y="35741"/>
                  </a:cubicBezTo>
                  <a:lnTo>
                    <a:pt x="100" y="35741"/>
                  </a:lnTo>
                  <a:cubicBezTo>
                    <a:pt x="100" y="35741"/>
                    <a:pt x="100" y="35741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lnTo>
                    <a:pt x="100" y="35646"/>
                  </a:ln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lnTo>
                    <a:pt x="100" y="35646"/>
                  </a:lnTo>
                  <a:lnTo>
                    <a:pt x="10387" y="4880"/>
                  </a:lnTo>
                  <a:cubicBezTo>
                    <a:pt x="11626" y="1165"/>
                    <a:pt x="15626" y="-930"/>
                    <a:pt x="19436" y="403"/>
                  </a:cubicBezTo>
                  <a:cubicBezTo>
                    <a:pt x="23151" y="1642"/>
                    <a:pt x="25151" y="5737"/>
                    <a:pt x="23913" y="9452"/>
                  </a:cubicBezTo>
                  <a:lnTo>
                    <a:pt x="15912" y="33360"/>
                  </a:lnTo>
                  <a:lnTo>
                    <a:pt x="39915" y="41361"/>
                  </a:lnTo>
                  <a:cubicBezTo>
                    <a:pt x="42868" y="42409"/>
                    <a:pt x="44773" y="45171"/>
                    <a:pt x="44773" y="48124"/>
                  </a:cubicBezTo>
                  <a:cubicBezTo>
                    <a:pt x="44773" y="48886"/>
                    <a:pt x="44677" y="49648"/>
                    <a:pt x="44392" y="50410"/>
                  </a:cubicBezTo>
                  <a:cubicBezTo>
                    <a:pt x="43725" y="52791"/>
                    <a:pt x="40963" y="54696"/>
                    <a:pt x="37915" y="5469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2" name="Grafik 3878">
              <a:extLst>
                <a:ext uri="{FF2B5EF4-FFF2-40B4-BE49-F238E27FC236}">
                  <a16:creationId xmlns:a16="http://schemas.microsoft.com/office/drawing/2014/main" id="{905E060F-E9CC-62B8-0A93-6C877D48915F}"/>
                </a:ext>
              </a:extLst>
            </p:cNvPr>
            <p:cNvSpPr/>
            <p:nvPr/>
          </p:nvSpPr>
          <p:spPr bwMode="gray">
            <a:xfrm>
              <a:off x="6054258" y="3282286"/>
              <a:ext cx="119902" cy="152428"/>
            </a:xfrm>
            <a:custGeom>
              <a:avLst/>
              <a:gdLst>
                <a:gd name="connsiteX0" fmla="*/ 72316 w 119902"/>
                <a:gd name="connsiteY0" fmla="*/ 152428 h 152428"/>
                <a:gd name="connsiteX1" fmla="*/ 65934 w 119902"/>
                <a:gd name="connsiteY1" fmla="*/ 148523 h 152428"/>
                <a:gd name="connsiteX2" fmla="*/ 69173 w 119902"/>
                <a:gd name="connsiteY2" fmla="*/ 138903 h 152428"/>
                <a:gd name="connsiteX3" fmla="*/ 98605 w 119902"/>
                <a:gd name="connsiteY3" fmla="*/ 50701 h 152428"/>
                <a:gd name="connsiteX4" fmla="*/ 60600 w 119902"/>
                <a:gd name="connsiteY4" fmla="*/ 17745 h 152428"/>
                <a:gd name="connsiteX5" fmla="*/ 10403 w 119902"/>
                <a:gd name="connsiteY5" fmla="*/ 21364 h 152428"/>
                <a:gd name="connsiteX6" fmla="*/ 783 w 119902"/>
                <a:gd name="connsiteY6" fmla="*/ 18126 h 152428"/>
                <a:gd name="connsiteX7" fmla="*/ 4022 w 119902"/>
                <a:gd name="connsiteY7" fmla="*/ 8506 h 152428"/>
                <a:gd name="connsiteX8" fmla="*/ 65172 w 119902"/>
                <a:gd name="connsiteY8" fmla="*/ 4124 h 152428"/>
                <a:gd name="connsiteX9" fmla="*/ 111464 w 119902"/>
                <a:gd name="connsiteY9" fmla="*/ 44224 h 152428"/>
                <a:gd name="connsiteX10" fmla="*/ 75650 w 119902"/>
                <a:gd name="connsiteY10" fmla="*/ 151571 h 152428"/>
                <a:gd name="connsiteX11" fmla="*/ 72316 w 119902"/>
                <a:gd name="connsiteY11" fmla="*/ 152428 h 152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902" h="152428">
                  <a:moveTo>
                    <a:pt x="72316" y="152428"/>
                  </a:moveTo>
                  <a:cubicBezTo>
                    <a:pt x="69744" y="152428"/>
                    <a:pt x="67172" y="151000"/>
                    <a:pt x="65934" y="148523"/>
                  </a:cubicBezTo>
                  <a:cubicBezTo>
                    <a:pt x="64124" y="144999"/>
                    <a:pt x="65553" y="140713"/>
                    <a:pt x="69173" y="138903"/>
                  </a:cubicBezTo>
                  <a:cubicBezTo>
                    <a:pt x="101558" y="122710"/>
                    <a:pt x="114797" y="83086"/>
                    <a:pt x="98605" y="50701"/>
                  </a:cubicBezTo>
                  <a:cubicBezTo>
                    <a:pt x="90794" y="34985"/>
                    <a:pt x="77269" y="23269"/>
                    <a:pt x="60600" y="17745"/>
                  </a:cubicBezTo>
                  <a:cubicBezTo>
                    <a:pt x="43931" y="12220"/>
                    <a:pt x="26120" y="13459"/>
                    <a:pt x="10403" y="21364"/>
                  </a:cubicBezTo>
                  <a:cubicBezTo>
                    <a:pt x="6879" y="23174"/>
                    <a:pt x="2593" y="21745"/>
                    <a:pt x="783" y="18126"/>
                  </a:cubicBezTo>
                  <a:cubicBezTo>
                    <a:pt x="-1027" y="14602"/>
                    <a:pt x="402" y="10315"/>
                    <a:pt x="4022" y="8506"/>
                  </a:cubicBezTo>
                  <a:cubicBezTo>
                    <a:pt x="23167" y="-1019"/>
                    <a:pt x="44884" y="-2639"/>
                    <a:pt x="65172" y="4124"/>
                  </a:cubicBezTo>
                  <a:cubicBezTo>
                    <a:pt x="85460" y="10887"/>
                    <a:pt x="101843" y="25174"/>
                    <a:pt x="111464" y="44224"/>
                  </a:cubicBezTo>
                  <a:cubicBezTo>
                    <a:pt x="131180" y="83658"/>
                    <a:pt x="115178" y="131854"/>
                    <a:pt x="75650" y="151571"/>
                  </a:cubicBezTo>
                  <a:cubicBezTo>
                    <a:pt x="74411" y="152143"/>
                    <a:pt x="73364" y="152428"/>
                    <a:pt x="72316" y="15242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3" name="Grafik 3878">
              <a:extLst>
                <a:ext uri="{FF2B5EF4-FFF2-40B4-BE49-F238E27FC236}">
                  <a16:creationId xmlns:a16="http://schemas.microsoft.com/office/drawing/2014/main" id="{DB82F4B5-0942-B602-24E9-B1F5071AAD68}"/>
                </a:ext>
              </a:extLst>
            </p:cNvPr>
            <p:cNvSpPr/>
            <p:nvPr/>
          </p:nvSpPr>
          <p:spPr bwMode="gray">
            <a:xfrm>
              <a:off x="6075880" y="3420352"/>
              <a:ext cx="57858" cy="36078"/>
            </a:xfrm>
            <a:custGeom>
              <a:avLst/>
              <a:gdLst>
                <a:gd name="connsiteX0" fmla="*/ 7165 w 57858"/>
                <a:gd name="connsiteY0" fmla="*/ 36079 h 36078"/>
                <a:gd name="connsiteX1" fmla="*/ 783 w 57858"/>
                <a:gd name="connsiteY1" fmla="*/ 32078 h 36078"/>
                <a:gd name="connsiteX2" fmla="*/ 4022 w 57858"/>
                <a:gd name="connsiteY2" fmla="*/ 22458 h 36078"/>
                <a:gd name="connsiteX3" fmla="*/ 47456 w 57858"/>
                <a:gd name="connsiteY3" fmla="*/ 741 h 36078"/>
                <a:gd name="connsiteX4" fmla="*/ 57076 w 57858"/>
                <a:gd name="connsiteY4" fmla="*/ 3980 h 36078"/>
                <a:gd name="connsiteX5" fmla="*/ 53837 w 57858"/>
                <a:gd name="connsiteY5" fmla="*/ 13600 h 36078"/>
                <a:gd name="connsiteX6" fmla="*/ 10403 w 57858"/>
                <a:gd name="connsiteY6" fmla="*/ 35317 h 36078"/>
                <a:gd name="connsiteX7" fmla="*/ 7165 w 57858"/>
                <a:gd name="connsiteY7" fmla="*/ 36079 h 36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7858" h="36078">
                  <a:moveTo>
                    <a:pt x="7165" y="36079"/>
                  </a:moveTo>
                  <a:cubicBezTo>
                    <a:pt x="4593" y="36079"/>
                    <a:pt x="2021" y="34650"/>
                    <a:pt x="783" y="32078"/>
                  </a:cubicBezTo>
                  <a:cubicBezTo>
                    <a:pt x="-1027" y="28554"/>
                    <a:pt x="402" y="24268"/>
                    <a:pt x="4022" y="22458"/>
                  </a:cubicBezTo>
                  <a:lnTo>
                    <a:pt x="47456" y="741"/>
                  </a:lnTo>
                  <a:cubicBezTo>
                    <a:pt x="50980" y="-973"/>
                    <a:pt x="55266" y="360"/>
                    <a:pt x="57076" y="3980"/>
                  </a:cubicBezTo>
                  <a:cubicBezTo>
                    <a:pt x="58886" y="7504"/>
                    <a:pt x="57457" y="11790"/>
                    <a:pt x="53837" y="13600"/>
                  </a:cubicBezTo>
                  <a:lnTo>
                    <a:pt x="10403" y="35317"/>
                  </a:lnTo>
                  <a:cubicBezTo>
                    <a:pt x="9356" y="35793"/>
                    <a:pt x="8308" y="36079"/>
                    <a:pt x="7165" y="3607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4" name="Grafik 3878">
              <a:extLst>
                <a:ext uri="{FF2B5EF4-FFF2-40B4-BE49-F238E27FC236}">
                  <a16:creationId xmlns:a16="http://schemas.microsoft.com/office/drawing/2014/main" id="{61B290AF-04D2-29D2-749F-F02B4A788349}"/>
                </a:ext>
              </a:extLst>
            </p:cNvPr>
            <p:cNvSpPr/>
            <p:nvPr/>
          </p:nvSpPr>
          <p:spPr bwMode="gray">
            <a:xfrm>
              <a:off x="5969126" y="3476543"/>
              <a:ext cx="44848" cy="55325"/>
            </a:xfrm>
            <a:custGeom>
              <a:avLst/>
              <a:gdLst>
                <a:gd name="connsiteX0" fmla="*/ 7144 w 44848"/>
                <a:gd name="connsiteY0" fmla="*/ 55326 h 55325"/>
                <a:gd name="connsiteX1" fmla="*/ 381 w 44848"/>
                <a:gd name="connsiteY1" fmla="*/ 50468 h 55325"/>
                <a:gd name="connsiteX2" fmla="*/ 0 w 44848"/>
                <a:gd name="connsiteY2" fmla="*/ 48182 h 55325"/>
                <a:gd name="connsiteX3" fmla="*/ 4858 w 44848"/>
                <a:gd name="connsiteY3" fmla="*/ 41419 h 55325"/>
                <a:gd name="connsiteX4" fmla="*/ 28766 w 44848"/>
                <a:gd name="connsiteY4" fmla="*/ 33418 h 55325"/>
                <a:gd name="connsiteX5" fmla="*/ 20764 w 44848"/>
                <a:gd name="connsiteY5" fmla="*/ 9415 h 55325"/>
                <a:gd name="connsiteX6" fmla="*/ 25241 w 44848"/>
                <a:gd name="connsiteY6" fmla="*/ 367 h 55325"/>
                <a:gd name="connsiteX7" fmla="*/ 34290 w 44848"/>
                <a:gd name="connsiteY7" fmla="*/ 4843 h 55325"/>
                <a:gd name="connsiteX8" fmla="*/ 44482 w 44848"/>
                <a:gd name="connsiteY8" fmla="*/ 35514 h 55325"/>
                <a:gd name="connsiteX9" fmla="*/ 44482 w 44848"/>
                <a:gd name="connsiteY9" fmla="*/ 35514 h 55325"/>
                <a:gd name="connsiteX10" fmla="*/ 40005 w 44848"/>
                <a:gd name="connsiteY10" fmla="*/ 44563 h 55325"/>
                <a:gd name="connsiteX11" fmla="*/ 40005 w 44848"/>
                <a:gd name="connsiteY11" fmla="*/ 44563 h 55325"/>
                <a:gd name="connsiteX12" fmla="*/ 40005 w 44848"/>
                <a:gd name="connsiteY12" fmla="*/ 44563 h 55325"/>
                <a:gd name="connsiteX13" fmla="*/ 9239 w 44848"/>
                <a:gd name="connsiteY13" fmla="*/ 54850 h 55325"/>
                <a:gd name="connsiteX14" fmla="*/ 7144 w 44848"/>
                <a:gd name="connsiteY14" fmla="*/ 55326 h 5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4848" h="55325">
                  <a:moveTo>
                    <a:pt x="7144" y="55326"/>
                  </a:moveTo>
                  <a:cubicBezTo>
                    <a:pt x="4191" y="55326"/>
                    <a:pt x="1333" y="53421"/>
                    <a:pt x="381" y="50468"/>
                  </a:cubicBezTo>
                  <a:cubicBezTo>
                    <a:pt x="95" y="49706"/>
                    <a:pt x="0" y="48944"/>
                    <a:pt x="0" y="48182"/>
                  </a:cubicBezTo>
                  <a:cubicBezTo>
                    <a:pt x="0" y="45229"/>
                    <a:pt x="1905" y="42372"/>
                    <a:pt x="4858" y="41419"/>
                  </a:cubicBezTo>
                  <a:lnTo>
                    <a:pt x="28766" y="33418"/>
                  </a:lnTo>
                  <a:lnTo>
                    <a:pt x="20764" y="9415"/>
                  </a:lnTo>
                  <a:cubicBezTo>
                    <a:pt x="19526" y="5701"/>
                    <a:pt x="21526" y="1605"/>
                    <a:pt x="25241" y="367"/>
                  </a:cubicBezTo>
                  <a:cubicBezTo>
                    <a:pt x="28956" y="-872"/>
                    <a:pt x="33052" y="1129"/>
                    <a:pt x="34290" y="4843"/>
                  </a:cubicBezTo>
                  <a:lnTo>
                    <a:pt x="44482" y="35514"/>
                  </a:lnTo>
                  <a:cubicBezTo>
                    <a:pt x="44482" y="35514"/>
                    <a:pt x="44482" y="35514"/>
                    <a:pt x="44482" y="35514"/>
                  </a:cubicBezTo>
                  <a:cubicBezTo>
                    <a:pt x="45720" y="39229"/>
                    <a:pt x="43720" y="43229"/>
                    <a:pt x="40005" y="44563"/>
                  </a:cubicBezTo>
                  <a:cubicBezTo>
                    <a:pt x="40005" y="44563"/>
                    <a:pt x="40005" y="44563"/>
                    <a:pt x="40005" y="44563"/>
                  </a:cubicBezTo>
                  <a:cubicBezTo>
                    <a:pt x="40005" y="44563"/>
                    <a:pt x="40005" y="44563"/>
                    <a:pt x="40005" y="44563"/>
                  </a:cubicBezTo>
                  <a:lnTo>
                    <a:pt x="9239" y="54850"/>
                  </a:lnTo>
                  <a:cubicBezTo>
                    <a:pt x="8572" y="55231"/>
                    <a:pt x="7810" y="55326"/>
                    <a:pt x="7144" y="5532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5" name="Grafik 3878">
              <a:extLst>
                <a:ext uri="{FF2B5EF4-FFF2-40B4-BE49-F238E27FC236}">
                  <a16:creationId xmlns:a16="http://schemas.microsoft.com/office/drawing/2014/main" id="{758246FC-A22D-4B80-3E7F-65E5BEFB5564}"/>
                </a:ext>
              </a:extLst>
            </p:cNvPr>
            <p:cNvSpPr/>
            <p:nvPr/>
          </p:nvSpPr>
          <p:spPr bwMode="gray">
            <a:xfrm>
              <a:off x="5895961" y="3278375"/>
              <a:ext cx="172568" cy="221490"/>
            </a:xfrm>
            <a:custGeom>
              <a:avLst/>
              <a:gdLst>
                <a:gd name="connsiteX0" fmla="*/ 67545 w 172568"/>
                <a:gd name="connsiteY0" fmla="*/ 221490 h 221490"/>
                <a:gd name="connsiteX1" fmla="*/ 64402 w 172568"/>
                <a:gd name="connsiteY1" fmla="*/ 220728 h 221490"/>
                <a:gd name="connsiteX2" fmla="*/ 12300 w 172568"/>
                <a:gd name="connsiteY2" fmla="*/ 64423 h 221490"/>
                <a:gd name="connsiteX3" fmla="*/ 79642 w 172568"/>
                <a:gd name="connsiteY3" fmla="*/ 6035 h 221490"/>
                <a:gd name="connsiteX4" fmla="*/ 168606 w 172568"/>
                <a:gd name="connsiteY4" fmla="*/ 12321 h 221490"/>
                <a:gd name="connsiteX5" fmla="*/ 171844 w 172568"/>
                <a:gd name="connsiteY5" fmla="*/ 21941 h 221490"/>
                <a:gd name="connsiteX6" fmla="*/ 162224 w 172568"/>
                <a:gd name="connsiteY6" fmla="*/ 25180 h 221490"/>
                <a:gd name="connsiteX7" fmla="*/ 84214 w 172568"/>
                <a:gd name="connsiteY7" fmla="*/ 19655 h 221490"/>
                <a:gd name="connsiteX8" fmla="*/ 25064 w 172568"/>
                <a:gd name="connsiteY8" fmla="*/ 70900 h 221490"/>
                <a:gd name="connsiteX9" fmla="*/ 70784 w 172568"/>
                <a:gd name="connsiteY9" fmla="*/ 208060 h 221490"/>
                <a:gd name="connsiteX10" fmla="*/ 74022 w 172568"/>
                <a:gd name="connsiteY10" fmla="*/ 217680 h 221490"/>
                <a:gd name="connsiteX11" fmla="*/ 67545 w 172568"/>
                <a:gd name="connsiteY11" fmla="*/ 221490 h 221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72568" h="221490">
                  <a:moveTo>
                    <a:pt x="67545" y="221490"/>
                  </a:moveTo>
                  <a:cubicBezTo>
                    <a:pt x="66498" y="221490"/>
                    <a:pt x="65355" y="221204"/>
                    <a:pt x="64402" y="220728"/>
                  </a:cubicBezTo>
                  <a:cubicBezTo>
                    <a:pt x="6966" y="191963"/>
                    <a:pt x="-16465" y="121859"/>
                    <a:pt x="12300" y="64423"/>
                  </a:cubicBezTo>
                  <a:cubicBezTo>
                    <a:pt x="26207" y="36610"/>
                    <a:pt x="50115" y="15845"/>
                    <a:pt x="79642" y="6035"/>
                  </a:cubicBezTo>
                  <a:cubicBezTo>
                    <a:pt x="109170" y="-3776"/>
                    <a:pt x="140793" y="-1585"/>
                    <a:pt x="168606" y="12321"/>
                  </a:cubicBezTo>
                  <a:cubicBezTo>
                    <a:pt x="172130" y="14131"/>
                    <a:pt x="173559" y="18417"/>
                    <a:pt x="171844" y="21941"/>
                  </a:cubicBezTo>
                  <a:cubicBezTo>
                    <a:pt x="170034" y="25466"/>
                    <a:pt x="165843" y="26894"/>
                    <a:pt x="162224" y="25180"/>
                  </a:cubicBezTo>
                  <a:cubicBezTo>
                    <a:pt x="137840" y="12988"/>
                    <a:pt x="110122" y="10988"/>
                    <a:pt x="84214" y="19655"/>
                  </a:cubicBezTo>
                  <a:cubicBezTo>
                    <a:pt x="58306" y="28323"/>
                    <a:pt x="37351" y="46516"/>
                    <a:pt x="25064" y="70900"/>
                  </a:cubicBezTo>
                  <a:cubicBezTo>
                    <a:pt x="-177" y="121287"/>
                    <a:pt x="20397" y="182819"/>
                    <a:pt x="70784" y="208060"/>
                  </a:cubicBezTo>
                  <a:cubicBezTo>
                    <a:pt x="74308" y="209870"/>
                    <a:pt x="75737" y="214156"/>
                    <a:pt x="74022" y="217680"/>
                  </a:cubicBezTo>
                  <a:cubicBezTo>
                    <a:pt x="72689" y="220061"/>
                    <a:pt x="70212" y="221490"/>
                    <a:pt x="67545" y="22149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6" name="Grafik 3878">
              <a:extLst>
                <a:ext uri="{FF2B5EF4-FFF2-40B4-BE49-F238E27FC236}">
                  <a16:creationId xmlns:a16="http://schemas.microsoft.com/office/drawing/2014/main" id="{56754B0E-6A78-DFF5-5ECA-900C0AA7E57B}"/>
                </a:ext>
              </a:extLst>
            </p:cNvPr>
            <p:cNvSpPr/>
            <p:nvPr/>
          </p:nvSpPr>
          <p:spPr bwMode="gray">
            <a:xfrm>
              <a:off x="5956400" y="3485554"/>
              <a:ext cx="57741" cy="36027"/>
            </a:xfrm>
            <a:custGeom>
              <a:avLst/>
              <a:gdLst>
                <a:gd name="connsiteX0" fmla="*/ 50540 w 57741"/>
                <a:gd name="connsiteY0" fmla="*/ 36028 h 36027"/>
                <a:gd name="connsiteX1" fmla="*/ 47397 w 57741"/>
                <a:gd name="connsiteY1" fmla="*/ 35266 h 36027"/>
                <a:gd name="connsiteX2" fmla="*/ 3963 w 57741"/>
                <a:gd name="connsiteY2" fmla="*/ 13549 h 36027"/>
                <a:gd name="connsiteX3" fmla="*/ 724 w 57741"/>
                <a:gd name="connsiteY3" fmla="*/ 3929 h 36027"/>
                <a:gd name="connsiteX4" fmla="*/ 10344 w 57741"/>
                <a:gd name="connsiteY4" fmla="*/ 785 h 36027"/>
                <a:gd name="connsiteX5" fmla="*/ 53778 w 57741"/>
                <a:gd name="connsiteY5" fmla="*/ 22502 h 36027"/>
                <a:gd name="connsiteX6" fmla="*/ 57017 w 57741"/>
                <a:gd name="connsiteY6" fmla="*/ 32123 h 36027"/>
                <a:gd name="connsiteX7" fmla="*/ 50540 w 57741"/>
                <a:gd name="connsiteY7" fmla="*/ 36028 h 36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7741" h="36027">
                  <a:moveTo>
                    <a:pt x="50540" y="36028"/>
                  </a:moveTo>
                  <a:cubicBezTo>
                    <a:pt x="49492" y="36028"/>
                    <a:pt x="48349" y="35742"/>
                    <a:pt x="47397" y="35266"/>
                  </a:cubicBezTo>
                  <a:lnTo>
                    <a:pt x="3963" y="13549"/>
                  </a:lnTo>
                  <a:cubicBezTo>
                    <a:pt x="438" y="11739"/>
                    <a:pt x="-990" y="7453"/>
                    <a:pt x="724" y="3929"/>
                  </a:cubicBezTo>
                  <a:cubicBezTo>
                    <a:pt x="2534" y="404"/>
                    <a:pt x="6820" y="-1024"/>
                    <a:pt x="10344" y="785"/>
                  </a:cubicBezTo>
                  <a:lnTo>
                    <a:pt x="53778" y="22502"/>
                  </a:lnTo>
                  <a:cubicBezTo>
                    <a:pt x="57303" y="24312"/>
                    <a:pt x="58731" y="28598"/>
                    <a:pt x="57017" y="32123"/>
                  </a:cubicBezTo>
                  <a:cubicBezTo>
                    <a:pt x="55683" y="34599"/>
                    <a:pt x="53207" y="36028"/>
                    <a:pt x="50540" y="3602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77" name="Grafik 3880">
            <a:extLst>
              <a:ext uri="{FF2B5EF4-FFF2-40B4-BE49-F238E27FC236}">
                <a16:creationId xmlns:a16="http://schemas.microsoft.com/office/drawing/2014/main" id="{04D913A4-FB04-A0A6-0E77-EBC69CBAD9E8}"/>
              </a:ext>
            </a:extLst>
          </p:cNvPr>
          <p:cNvGrpSpPr/>
          <p:nvPr/>
        </p:nvGrpSpPr>
        <p:grpSpPr bwMode="gray">
          <a:xfrm>
            <a:off x="5130236" y="401398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78" name="Grafik 3880">
              <a:extLst>
                <a:ext uri="{FF2B5EF4-FFF2-40B4-BE49-F238E27FC236}">
                  <a16:creationId xmlns:a16="http://schemas.microsoft.com/office/drawing/2014/main" id="{0D4E401F-7EC6-01DC-AED7-513A69A7C385}"/>
                </a:ext>
              </a:extLst>
            </p:cNvPr>
            <p:cNvGrpSpPr/>
            <p:nvPr/>
          </p:nvGrpSpPr>
          <p:grpSpPr bwMode="gray">
            <a:xfrm>
              <a:off x="5892164" y="3290029"/>
              <a:ext cx="338327" cy="338232"/>
              <a:chOff x="5892164" y="3290029"/>
              <a:chExt cx="338327" cy="338232"/>
            </a:xfrm>
            <a:grpFill/>
          </p:grpSpPr>
          <p:grpSp>
            <p:nvGrpSpPr>
              <p:cNvPr id="384" name="Grafik 3880">
                <a:extLst>
                  <a:ext uri="{FF2B5EF4-FFF2-40B4-BE49-F238E27FC236}">
                    <a16:creationId xmlns:a16="http://schemas.microsoft.com/office/drawing/2014/main" id="{6496ECA5-0C24-9967-EB7B-9053ABFCF9D7}"/>
                  </a:ext>
                </a:extLst>
              </p:cNvPr>
              <p:cNvGrpSpPr/>
              <p:nvPr/>
            </p:nvGrpSpPr>
            <p:grpSpPr bwMode="gray">
              <a:xfrm>
                <a:off x="6054184" y="3348822"/>
                <a:ext cx="176307" cy="68175"/>
                <a:chOff x="6054184" y="3348822"/>
                <a:chExt cx="176307" cy="68175"/>
              </a:xfrm>
              <a:grpFill/>
            </p:grpSpPr>
            <p:sp>
              <p:nvSpPr>
                <p:cNvPr id="401" name="Grafik 3880">
                  <a:extLst>
                    <a:ext uri="{FF2B5EF4-FFF2-40B4-BE49-F238E27FC236}">
                      <a16:creationId xmlns:a16="http://schemas.microsoft.com/office/drawing/2014/main" id="{50FF6CBA-7D4E-C449-615A-2D06E13361FE}"/>
                    </a:ext>
                  </a:extLst>
                </p:cNvPr>
                <p:cNvSpPr/>
                <p:nvPr/>
              </p:nvSpPr>
              <p:spPr bwMode="gray">
                <a:xfrm>
                  <a:off x="6054184" y="3375754"/>
                  <a:ext cx="176307" cy="14287"/>
                </a:xfrm>
                <a:custGeom>
                  <a:avLst/>
                  <a:gdLst>
                    <a:gd name="connsiteX0" fmla="*/ 169164 w 176307"/>
                    <a:gd name="connsiteY0" fmla="*/ 14288 h 14287"/>
                    <a:gd name="connsiteX1" fmla="*/ 7144 w 176307"/>
                    <a:gd name="connsiteY1" fmla="*/ 14288 h 14287"/>
                    <a:gd name="connsiteX2" fmla="*/ 0 w 176307"/>
                    <a:gd name="connsiteY2" fmla="*/ 7144 h 14287"/>
                    <a:gd name="connsiteX3" fmla="*/ 7144 w 176307"/>
                    <a:gd name="connsiteY3" fmla="*/ 0 h 14287"/>
                    <a:gd name="connsiteX4" fmla="*/ 169164 w 176307"/>
                    <a:gd name="connsiteY4" fmla="*/ 0 h 14287"/>
                    <a:gd name="connsiteX5" fmla="*/ 176308 w 176307"/>
                    <a:gd name="connsiteY5" fmla="*/ 7144 h 14287"/>
                    <a:gd name="connsiteX6" fmla="*/ 169164 w 17630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76307" h="14287">
                      <a:moveTo>
                        <a:pt x="16916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69164" y="0"/>
                      </a:lnTo>
                      <a:cubicBezTo>
                        <a:pt x="173069" y="0"/>
                        <a:pt x="176308" y="3239"/>
                        <a:pt x="176308" y="7144"/>
                      </a:cubicBezTo>
                      <a:cubicBezTo>
                        <a:pt x="176308" y="11049"/>
                        <a:pt x="173069" y="14288"/>
                        <a:pt x="16916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2" name="Grafik 3880">
                  <a:extLst>
                    <a:ext uri="{FF2B5EF4-FFF2-40B4-BE49-F238E27FC236}">
                      <a16:creationId xmlns:a16="http://schemas.microsoft.com/office/drawing/2014/main" id="{4776DC96-78EE-B1C1-2350-0A834CFD82F2}"/>
                    </a:ext>
                  </a:extLst>
                </p:cNvPr>
                <p:cNvSpPr/>
                <p:nvPr/>
              </p:nvSpPr>
              <p:spPr bwMode="gray">
                <a:xfrm>
                  <a:off x="6189273" y="3348822"/>
                  <a:ext cx="41195" cy="41219"/>
                </a:xfrm>
                <a:custGeom>
                  <a:avLst/>
                  <a:gdLst>
                    <a:gd name="connsiteX0" fmla="*/ 34076 w 41195"/>
                    <a:gd name="connsiteY0" fmla="*/ 41219 h 41219"/>
                    <a:gd name="connsiteX1" fmla="*/ 29027 w 41195"/>
                    <a:gd name="connsiteY1" fmla="*/ 39124 h 41219"/>
                    <a:gd name="connsiteX2" fmla="*/ 2072 w 41195"/>
                    <a:gd name="connsiteY2" fmla="*/ 12168 h 41219"/>
                    <a:gd name="connsiteX3" fmla="*/ 2072 w 41195"/>
                    <a:gd name="connsiteY3" fmla="*/ 2072 h 41219"/>
                    <a:gd name="connsiteX4" fmla="*/ 12168 w 41195"/>
                    <a:gd name="connsiteY4" fmla="*/ 2072 h 41219"/>
                    <a:gd name="connsiteX5" fmla="*/ 39124 w 41195"/>
                    <a:gd name="connsiteY5" fmla="*/ 29027 h 41219"/>
                    <a:gd name="connsiteX6" fmla="*/ 39124 w 41195"/>
                    <a:gd name="connsiteY6" fmla="*/ 39124 h 41219"/>
                    <a:gd name="connsiteX7" fmla="*/ 34076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34076" y="41219"/>
                      </a:moveTo>
                      <a:cubicBezTo>
                        <a:pt x="32266" y="41219"/>
                        <a:pt x="30456" y="40553"/>
                        <a:pt x="29027" y="3912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124" y="29027"/>
                      </a:lnTo>
                      <a:cubicBezTo>
                        <a:pt x="41886" y="31790"/>
                        <a:pt x="41886" y="36362"/>
                        <a:pt x="39124" y="39124"/>
                      </a:cubicBezTo>
                      <a:cubicBezTo>
                        <a:pt x="37695" y="40553"/>
                        <a:pt x="35885" y="41219"/>
                        <a:pt x="34076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3" name="Grafik 3880">
                  <a:extLst>
                    <a:ext uri="{FF2B5EF4-FFF2-40B4-BE49-F238E27FC236}">
                      <a16:creationId xmlns:a16="http://schemas.microsoft.com/office/drawing/2014/main" id="{C57EED46-2788-6EF3-CAC3-4F3A6570F205}"/>
                    </a:ext>
                  </a:extLst>
                </p:cNvPr>
                <p:cNvSpPr/>
                <p:nvPr/>
              </p:nvSpPr>
              <p:spPr bwMode="gray">
                <a:xfrm>
                  <a:off x="6189273" y="3375778"/>
                  <a:ext cx="41195" cy="41219"/>
                </a:xfrm>
                <a:custGeom>
                  <a:avLst/>
                  <a:gdLst>
                    <a:gd name="connsiteX0" fmla="*/ 7120 w 41195"/>
                    <a:gd name="connsiteY0" fmla="*/ 41219 h 41219"/>
                    <a:gd name="connsiteX1" fmla="*/ 2072 w 41195"/>
                    <a:gd name="connsiteY1" fmla="*/ 39124 h 41219"/>
                    <a:gd name="connsiteX2" fmla="*/ 2072 w 41195"/>
                    <a:gd name="connsiteY2" fmla="*/ 29027 h 41219"/>
                    <a:gd name="connsiteX3" fmla="*/ 29027 w 41195"/>
                    <a:gd name="connsiteY3" fmla="*/ 2072 h 41219"/>
                    <a:gd name="connsiteX4" fmla="*/ 39124 w 41195"/>
                    <a:gd name="connsiteY4" fmla="*/ 2072 h 41219"/>
                    <a:gd name="connsiteX5" fmla="*/ 39124 w 41195"/>
                    <a:gd name="connsiteY5" fmla="*/ 12168 h 41219"/>
                    <a:gd name="connsiteX6" fmla="*/ 12168 w 41195"/>
                    <a:gd name="connsiteY6" fmla="*/ 39124 h 41219"/>
                    <a:gd name="connsiteX7" fmla="*/ 7120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7120" y="41219"/>
                      </a:moveTo>
                      <a:cubicBezTo>
                        <a:pt x="5310" y="41219"/>
                        <a:pt x="3500" y="40553"/>
                        <a:pt x="2072" y="39124"/>
                      </a:cubicBezTo>
                      <a:cubicBezTo>
                        <a:pt x="-691" y="36362"/>
                        <a:pt x="-691" y="31790"/>
                        <a:pt x="2072" y="29027"/>
                      </a:cubicBezTo>
                      <a:lnTo>
                        <a:pt x="29027" y="2072"/>
                      </a:lnTo>
                      <a:cubicBezTo>
                        <a:pt x="31790" y="-691"/>
                        <a:pt x="36362" y="-691"/>
                        <a:pt x="39124" y="2072"/>
                      </a:cubicBezTo>
                      <a:cubicBezTo>
                        <a:pt x="41886" y="4834"/>
                        <a:pt x="41886" y="9406"/>
                        <a:pt x="39124" y="12168"/>
                      </a:cubicBezTo>
                      <a:lnTo>
                        <a:pt x="12168" y="39124"/>
                      </a:lnTo>
                      <a:cubicBezTo>
                        <a:pt x="10739" y="40553"/>
                        <a:pt x="8930" y="41219"/>
                        <a:pt x="7120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85" name="Grafik 3880">
                <a:extLst>
                  <a:ext uri="{FF2B5EF4-FFF2-40B4-BE49-F238E27FC236}">
                    <a16:creationId xmlns:a16="http://schemas.microsoft.com/office/drawing/2014/main" id="{DFB36AF4-B34A-8291-17C7-4661ED287A62}"/>
                  </a:ext>
                </a:extLst>
              </p:cNvPr>
              <p:cNvGrpSpPr/>
              <p:nvPr/>
            </p:nvGrpSpPr>
            <p:grpSpPr bwMode="gray">
              <a:xfrm>
                <a:off x="5892164" y="3501318"/>
                <a:ext cx="176307" cy="68175"/>
                <a:chOff x="5892164" y="3501318"/>
                <a:chExt cx="176307" cy="68175"/>
              </a:xfrm>
              <a:grpFill/>
            </p:grpSpPr>
            <p:sp>
              <p:nvSpPr>
                <p:cNvPr id="398" name="Grafik 3880">
                  <a:extLst>
                    <a:ext uri="{FF2B5EF4-FFF2-40B4-BE49-F238E27FC236}">
                      <a16:creationId xmlns:a16="http://schemas.microsoft.com/office/drawing/2014/main" id="{C44B217B-0CCC-3EB1-1285-158C4A025F7F}"/>
                    </a:ext>
                  </a:extLst>
                </p:cNvPr>
                <p:cNvSpPr/>
                <p:nvPr/>
              </p:nvSpPr>
              <p:spPr bwMode="gray">
                <a:xfrm>
                  <a:off x="5892164" y="3528249"/>
                  <a:ext cx="176307" cy="14287"/>
                </a:xfrm>
                <a:custGeom>
                  <a:avLst/>
                  <a:gdLst>
                    <a:gd name="connsiteX0" fmla="*/ 169164 w 176307"/>
                    <a:gd name="connsiteY0" fmla="*/ 14288 h 14287"/>
                    <a:gd name="connsiteX1" fmla="*/ 7144 w 176307"/>
                    <a:gd name="connsiteY1" fmla="*/ 14288 h 14287"/>
                    <a:gd name="connsiteX2" fmla="*/ 0 w 176307"/>
                    <a:gd name="connsiteY2" fmla="*/ 7144 h 14287"/>
                    <a:gd name="connsiteX3" fmla="*/ 7144 w 176307"/>
                    <a:gd name="connsiteY3" fmla="*/ 0 h 14287"/>
                    <a:gd name="connsiteX4" fmla="*/ 169164 w 176307"/>
                    <a:gd name="connsiteY4" fmla="*/ 0 h 14287"/>
                    <a:gd name="connsiteX5" fmla="*/ 176308 w 176307"/>
                    <a:gd name="connsiteY5" fmla="*/ 7144 h 14287"/>
                    <a:gd name="connsiteX6" fmla="*/ 169164 w 17630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76307" h="14287">
                      <a:moveTo>
                        <a:pt x="16916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69164" y="0"/>
                      </a:lnTo>
                      <a:cubicBezTo>
                        <a:pt x="173069" y="0"/>
                        <a:pt x="176308" y="3239"/>
                        <a:pt x="176308" y="7144"/>
                      </a:cubicBezTo>
                      <a:cubicBezTo>
                        <a:pt x="176308" y="11049"/>
                        <a:pt x="173069" y="14288"/>
                        <a:pt x="16916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9" name="Grafik 3880">
                  <a:extLst>
                    <a:ext uri="{FF2B5EF4-FFF2-40B4-BE49-F238E27FC236}">
                      <a16:creationId xmlns:a16="http://schemas.microsoft.com/office/drawing/2014/main" id="{A5142D96-9EE2-D7EF-AEF3-1925066C5560}"/>
                    </a:ext>
                  </a:extLst>
                </p:cNvPr>
                <p:cNvSpPr/>
                <p:nvPr/>
              </p:nvSpPr>
              <p:spPr bwMode="gray">
                <a:xfrm>
                  <a:off x="5892188" y="3528273"/>
                  <a:ext cx="41195" cy="41219"/>
                </a:xfrm>
                <a:custGeom>
                  <a:avLst/>
                  <a:gdLst>
                    <a:gd name="connsiteX0" fmla="*/ 34076 w 41195"/>
                    <a:gd name="connsiteY0" fmla="*/ 41219 h 41219"/>
                    <a:gd name="connsiteX1" fmla="*/ 29027 w 41195"/>
                    <a:gd name="connsiteY1" fmla="*/ 39124 h 41219"/>
                    <a:gd name="connsiteX2" fmla="*/ 2072 w 41195"/>
                    <a:gd name="connsiteY2" fmla="*/ 12168 h 41219"/>
                    <a:gd name="connsiteX3" fmla="*/ 2072 w 41195"/>
                    <a:gd name="connsiteY3" fmla="*/ 2072 h 41219"/>
                    <a:gd name="connsiteX4" fmla="*/ 12168 w 41195"/>
                    <a:gd name="connsiteY4" fmla="*/ 2072 h 41219"/>
                    <a:gd name="connsiteX5" fmla="*/ 39124 w 41195"/>
                    <a:gd name="connsiteY5" fmla="*/ 29027 h 41219"/>
                    <a:gd name="connsiteX6" fmla="*/ 39124 w 41195"/>
                    <a:gd name="connsiteY6" fmla="*/ 39124 h 41219"/>
                    <a:gd name="connsiteX7" fmla="*/ 34076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34076" y="41219"/>
                      </a:moveTo>
                      <a:cubicBezTo>
                        <a:pt x="32266" y="41219"/>
                        <a:pt x="30456" y="40553"/>
                        <a:pt x="29027" y="3912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124" y="29027"/>
                      </a:lnTo>
                      <a:cubicBezTo>
                        <a:pt x="41886" y="31790"/>
                        <a:pt x="41886" y="36362"/>
                        <a:pt x="39124" y="39124"/>
                      </a:cubicBezTo>
                      <a:cubicBezTo>
                        <a:pt x="37790" y="40457"/>
                        <a:pt x="35981" y="41219"/>
                        <a:pt x="34076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0" name="Grafik 3880">
                  <a:extLst>
                    <a:ext uri="{FF2B5EF4-FFF2-40B4-BE49-F238E27FC236}">
                      <a16:creationId xmlns:a16="http://schemas.microsoft.com/office/drawing/2014/main" id="{E5B64D1A-00C2-1C7E-A2E4-8FA0D75DB3E6}"/>
                    </a:ext>
                  </a:extLst>
                </p:cNvPr>
                <p:cNvSpPr/>
                <p:nvPr/>
              </p:nvSpPr>
              <p:spPr bwMode="gray">
                <a:xfrm>
                  <a:off x="5892188" y="3501318"/>
                  <a:ext cx="41195" cy="41219"/>
                </a:xfrm>
                <a:custGeom>
                  <a:avLst/>
                  <a:gdLst>
                    <a:gd name="connsiteX0" fmla="*/ 7120 w 41195"/>
                    <a:gd name="connsiteY0" fmla="*/ 41219 h 41219"/>
                    <a:gd name="connsiteX1" fmla="*/ 2072 w 41195"/>
                    <a:gd name="connsiteY1" fmla="*/ 39124 h 41219"/>
                    <a:gd name="connsiteX2" fmla="*/ 2072 w 41195"/>
                    <a:gd name="connsiteY2" fmla="*/ 29027 h 41219"/>
                    <a:gd name="connsiteX3" fmla="*/ 29027 w 41195"/>
                    <a:gd name="connsiteY3" fmla="*/ 2072 h 41219"/>
                    <a:gd name="connsiteX4" fmla="*/ 39124 w 41195"/>
                    <a:gd name="connsiteY4" fmla="*/ 2072 h 41219"/>
                    <a:gd name="connsiteX5" fmla="*/ 39124 w 41195"/>
                    <a:gd name="connsiteY5" fmla="*/ 12168 h 41219"/>
                    <a:gd name="connsiteX6" fmla="*/ 12168 w 41195"/>
                    <a:gd name="connsiteY6" fmla="*/ 39124 h 41219"/>
                    <a:gd name="connsiteX7" fmla="*/ 7120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7120" y="41219"/>
                      </a:moveTo>
                      <a:cubicBezTo>
                        <a:pt x="5310" y="41219"/>
                        <a:pt x="3500" y="40553"/>
                        <a:pt x="2072" y="39124"/>
                      </a:cubicBezTo>
                      <a:cubicBezTo>
                        <a:pt x="-691" y="36362"/>
                        <a:pt x="-691" y="31790"/>
                        <a:pt x="2072" y="29027"/>
                      </a:cubicBezTo>
                      <a:lnTo>
                        <a:pt x="29027" y="2072"/>
                      </a:lnTo>
                      <a:cubicBezTo>
                        <a:pt x="31790" y="-691"/>
                        <a:pt x="36362" y="-691"/>
                        <a:pt x="39124" y="2072"/>
                      </a:cubicBezTo>
                      <a:cubicBezTo>
                        <a:pt x="41886" y="4834"/>
                        <a:pt x="41886" y="9406"/>
                        <a:pt x="39124" y="12168"/>
                      </a:cubicBezTo>
                      <a:lnTo>
                        <a:pt x="12168" y="39124"/>
                      </a:lnTo>
                      <a:cubicBezTo>
                        <a:pt x="10835" y="40457"/>
                        <a:pt x="8930" y="41219"/>
                        <a:pt x="7120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86" name="Grafik 3880">
                <a:extLst>
                  <a:ext uri="{FF2B5EF4-FFF2-40B4-BE49-F238E27FC236}">
                    <a16:creationId xmlns:a16="http://schemas.microsoft.com/office/drawing/2014/main" id="{1E288E4D-D15D-4CD5-9DFC-7F7733BDE0F2}"/>
                  </a:ext>
                </a:extLst>
              </p:cNvPr>
              <p:cNvGrpSpPr/>
              <p:nvPr/>
            </p:nvGrpSpPr>
            <p:grpSpPr bwMode="gray">
              <a:xfrm>
                <a:off x="6103548" y="3451954"/>
                <a:ext cx="68151" cy="176307"/>
                <a:chOff x="6103548" y="3451954"/>
                <a:chExt cx="68151" cy="176307"/>
              </a:xfrm>
              <a:grpFill/>
            </p:grpSpPr>
            <p:sp>
              <p:nvSpPr>
                <p:cNvPr id="395" name="Grafik 3880">
                  <a:extLst>
                    <a:ext uri="{FF2B5EF4-FFF2-40B4-BE49-F238E27FC236}">
                      <a16:creationId xmlns:a16="http://schemas.microsoft.com/office/drawing/2014/main" id="{16F8B182-65FA-0527-2A21-081951E67CA9}"/>
                    </a:ext>
                  </a:extLst>
                </p:cNvPr>
                <p:cNvSpPr/>
                <p:nvPr/>
              </p:nvSpPr>
              <p:spPr bwMode="gray">
                <a:xfrm>
                  <a:off x="6130480" y="3451954"/>
                  <a:ext cx="14287" cy="176307"/>
                </a:xfrm>
                <a:custGeom>
                  <a:avLst/>
                  <a:gdLst>
                    <a:gd name="connsiteX0" fmla="*/ 7144 w 14287"/>
                    <a:gd name="connsiteY0" fmla="*/ 176308 h 176307"/>
                    <a:gd name="connsiteX1" fmla="*/ 0 w 14287"/>
                    <a:gd name="connsiteY1" fmla="*/ 169164 h 176307"/>
                    <a:gd name="connsiteX2" fmla="*/ 0 w 14287"/>
                    <a:gd name="connsiteY2" fmla="*/ 7144 h 176307"/>
                    <a:gd name="connsiteX3" fmla="*/ 7144 w 14287"/>
                    <a:gd name="connsiteY3" fmla="*/ 0 h 176307"/>
                    <a:gd name="connsiteX4" fmla="*/ 14288 w 14287"/>
                    <a:gd name="connsiteY4" fmla="*/ 7144 h 176307"/>
                    <a:gd name="connsiteX5" fmla="*/ 14288 w 14287"/>
                    <a:gd name="connsiteY5" fmla="*/ 169164 h 176307"/>
                    <a:gd name="connsiteX6" fmla="*/ 7144 w 14287"/>
                    <a:gd name="connsiteY6" fmla="*/ 176308 h 1763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76307">
                      <a:moveTo>
                        <a:pt x="7144" y="176308"/>
                      </a:moveTo>
                      <a:cubicBezTo>
                        <a:pt x="3238" y="176308"/>
                        <a:pt x="0" y="173069"/>
                        <a:pt x="0" y="169164"/>
                      </a:cubicBezTo>
                      <a:lnTo>
                        <a:pt x="0" y="7144"/>
                      </a:lnTo>
                      <a:cubicBezTo>
                        <a:pt x="0" y="3239"/>
                        <a:pt x="3238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69164"/>
                      </a:lnTo>
                      <a:cubicBezTo>
                        <a:pt x="14288" y="173069"/>
                        <a:pt x="11049" y="176308"/>
                        <a:pt x="7144" y="17630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6" name="Grafik 3880">
                  <a:extLst>
                    <a:ext uri="{FF2B5EF4-FFF2-40B4-BE49-F238E27FC236}">
                      <a16:creationId xmlns:a16="http://schemas.microsoft.com/office/drawing/2014/main" id="{84907FCF-E250-8C56-B99C-2AF53E3A584F}"/>
                    </a:ext>
                  </a:extLst>
                </p:cNvPr>
                <p:cNvSpPr/>
                <p:nvPr/>
              </p:nvSpPr>
              <p:spPr bwMode="gray">
                <a:xfrm>
                  <a:off x="6130503" y="3587043"/>
                  <a:ext cx="41195" cy="41219"/>
                </a:xfrm>
                <a:custGeom>
                  <a:avLst/>
                  <a:gdLst>
                    <a:gd name="connsiteX0" fmla="*/ 7120 w 41195"/>
                    <a:gd name="connsiteY0" fmla="*/ 41219 h 41219"/>
                    <a:gd name="connsiteX1" fmla="*/ 2072 w 41195"/>
                    <a:gd name="connsiteY1" fmla="*/ 39124 h 41219"/>
                    <a:gd name="connsiteX2" fmla="*/ 2072 w 41195"/>
                    <a:gd name="connsiteY2" fmla="*/ 29027 h 41219"/>
                    <a:gd name="connsiteX3" fmla="*/ 29027 w 41195"/>
                    <a:gd name="connsiteY3" fmla="*/ 2072 h 41219"/>
                    <a:gd name="connsiteX4" fmla="*/ 39124 w 41195"/>
                    <a:gd name="connsiteY4" fmla="*/ 2072 h 41219"/>
                    <a:gd name="connsiteX5" fmla="*/ 39124 w 41195"/>
                    <a:gd name="connsiteY5" fmla="*/ 12168 h 41219"/>
                    <a:gd name="connsiteX6" fmla="*/ 12168 w 41195"/>
                    <a:gd name="connsiteY6" fmla="*/ 39124 h 41219"/>
                    <a:gd name="connsiteX7" fmla="*/ 7120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7120" y="41219"/>
                      </a:moveTo>
                      <a:cubicBezTo>
                        <a:pt x="5310" y="41219"/>
                        <a:pt x="3500" y="40553"/>
                        <a:pt x="2072" y="39124"/>
                      </a:cubicBezTo>
                      <a:cubicBezTo>
                        <a:pt x="-691" y="36362"/>
                        <a:pt x="-691" y="31790"/>
                        <a:pt x="2072" y="29027"/>
                      </a:cubicBezTo>
                      <a:lnTo>
                        <a:pt x="29027" y="2072"/>
                      </a:lnTo>
                      <a:cubicBezTo>
                        <a:pt x="31790" y="-691"/>
                        <a:pt x="36362" y="-691"/>
                        <a:pt x="39124" y="2072"/>
                      </a:cubicBezTo>
                      <a:cubicBezTo>
                        <a:pt x="41886" y="4834"/>
                        <a:pt x="41886" y="9406"/>
                        <a:pt x="39124" y="12168"/>
                      </a:cubicBezTo>
                      <a:lnTo>
                        <a:pt x="12168" y="39124"/>
                      </a:lnTo>
                      <a:cubicBezTo>
                        <a:pt x="10739" y="40553"/>
                        <a:pt x="8930" y="41219"/>
                        <a:pt x="7120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7" name="Grafik 3880">
                  <a:extLst>
                    <a:ext uri="{FF2B5EF4-FFF2-40B4-BE49-F238E27FC236}">
                      <a16:creationId xmlns:a16="http://schemas.microsoft.com/office/drawing/2014/main" id="{D5EA2CD2-1772-E369-60ED-AEA7BA944D88}"/>
                    </a:ext>
                  </a:extLst>
                </p:cNvPr>
                <p:cNvSpPr/>
                <p:nvPr/>
              </p:nvSpPr>
              <p:spPr bwMode="gray">
                <a:xfrm>
                  <a:off x="6103548" y="3587043"/>
                  <a:ext cx="41195" cy="41219"/>
                </a:xfrm>
                <a:custGeom>
                  <a:avLst/>
                  <a:gdLst>
                    <a:gd name="connsiteX0" fmla="*/ 34076 w 41195"/>
                    <a:gd name="connsiteY0" fmla="*/ 41219 h 41219"/>
                    <a:gd name="connsiteX1" fmla="*/ 29027 w 41195"/>
                    <a:gd name="connsiteY1" fmla="*/ 39124 h 41219"/>
                    <a:gd name="connsiteX2" fmla="*/ 2072 w 41195"/>
                    <a:gd name="connsiteY2" fmla="*/ 12168 h 41219"/>
                    <a:gd name="connsiteX3" fmla="*/ 2072 w 41195"/>
                    <a:gd name="connsiteY3" fmla="*/ 2072 h 41219"/>
                    <a:gd name="connsiteX4" fmla="*/ 12168 w 41195"/>
                    <a:gd name="connsiteY4" fmla="*/ 2072 h 41219"/>
                    <a:gd name="connsiteX5" fmla="*/ 39124 w 41195"/>
                    <a:gd name="connsiteY5" fmla="*/ 29027 h 41219"/>
                    <a:gd name="connsiteX6" fmla="*/ 39124 w 41195"/>
                    <a:gd name="connsiteY6" fmla="*/ 39124 h 41219"/>
                    <a:gd name="connsiteX7" fmla="*/ 34076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34076" y="41219"/>
                      </a:moveTo>
                      <a:cubicBezTo>
                        <a:pt x="32266" y="41219"/>
                        <a:pt x="30456" y="40553"/>
                        <a:pt x="29027" y="3912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124" y="29027"/>
                      </a:lnTo>
                      <a:cubicBezTo>
                        <a:pt x="41886" y="31790"/>
                        <a:pt x="41886" y="36362"/>
                        <a:pt x="39124" y="39124"/>
                      </a:cubicBezTo>
                      <a:cubicBezTo>
                        <a:pt x="37695" y="40553"/>
                        <a:pt x="35885" y="41219"/>
                        <a:pt x="34076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87" name="Grafik 3880">
                <a:extLst>
                  <a:ext uri="{FF2B5EF4-FFF2-40B4-BE49-F238E27FC236}">
                    <a16:creationId xmlns:a16="http://schemas.microsoft.com/office/drawing/2014/main" id="{BD3CDF69-3FD7-F7AB-FBD1-151F47CAA45B}"/>
                  </a:ext>
                </a:extLst>
              </p:cNvPr>
              <p:cNvGrpSpPr/>
              <p:nvPr/>
            </p:nvGrpSpPr>
            <p:grpSpPr bwMode="gray">
              <a:xfrm>
                <a:off x="5951052" y="3290029"/>
                <a:ext cx="68151" cy="176212"/>
                <a:chOff x="5951052" y="3290029"/>
                <a:chExt cx="68151" cy="176212"/>
              </a:xfrm>
              <a:grpFill/>
            </p:grpSpPr>
            <p:sp>
              <p:nvSpPr>
                <p:cNvPr id="392" name="Grafik 3880">
                  <a:extLst>
                    <a:ext uri="{FF2B5EF4-FFF2-40B4-BE49-F238E27FC236}">
                      <a16:creationId xmlns:a16="http://schemas.microsoft.com/office/drawing/2014/main" id="{837E6FA4-AC2F-59D2-2393-B24FD8285C7E}"/>
                    </a:ext>
                  </a:extLst>
                </p:cNvPr>
                <p:cNvSpPr/>
                <p:nvPr/>
              </p:nvSpPr>
              <p:spPr bwMode="gray">
                <a:xfrm>
                  <a:off x="5977984" y="3290029"/>
                  <a:ext cx="14287" cy="176212"/>
                </a:xfrm>
                <a:custGeom>
                  <a:avLst/>
                  <a:gdLst>
                    <a:gd name="connsiteX0" fmla="*/ 7144 w 14287"/>
                    <a:gd name="connsiteY0" fmla="*/ 176213 h 176212"/>
                    <a:gd name="connsiteX1" fmla="*/ 0 w 14287"/>
                    <a:gd name="connsiteY1" fmla="*/ 169069 h 176212"/>
                    <a:gd name="connsiteX2" fmla="*/ 0 w 14287"/>
                    <a:gd name="connsiteY2" fmla="*/ 7144 h 176212"/>
                    <a:gd name="connsiteX3" fmla="*/ 7144 w 14287"/>
                    <a:gd name="connsiteY3" fmla="*/ 0 h 176212"/>
                    <a:gd name="connsiteX4" fmla="*/ 14288 w 14287"/>
                    <a:gd name="connsiteY4" fmla="*/ 7144 h 176212"/>
                    <a:gd name="connsiteX5" fmla="*/ 14288 w 14287"/>
                    <a:gd name="connsiteY5" fmla="*/ 169164 h 176212"/>
                    <a:gd name="connsiteX6" fmla="*/ 7144 w 14287"/>
                    <a:gd name="connsiteY6" fmla="*/ 176213 h 1762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76212">
                      <a:moveTo>
                        <a:pt x="7144" y="176213"/>
                      </a:moveTo>
                      <a:cubicBezTo>
                        <a:pt x="3239" y="176213"/>
                        <a:pt x="0" y="172974"/>
                        <a:pt x="0" y="16906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69164"/>
                      </a:lnTo>
                      <a:cubicBezTo>
                        <a:pt x="14288" y="173069"/>
                        <a:pt x="11049" y="176213"/>
                        <a:pt x="7144" y="17621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3" name="Grafik 3880">
                  <a:extLst>
                    <a:ext uri="{FF2B5EF4-FFF2-40B4-BE49-F238E27FC236}">
                      <a16:creationId xmlns:a16="http://schemas.microsoft.com/office/drawing/2014/main" id="{D0C96230-00D2-9126-386E-49DABC6EE732}"/>
                    </a:ext>
                  </a:extLst>
                </p:cNvPr>
                <p:cNvSpPr/>
                <p:nvPr/>
              </p:nvSpPr>
              <p:spPr bwMode="gray">
                <a:xfrm>
                  <a:off x="5951052" y="3290053"/>
                  <a:ext cx="41195" cy="41219"/>
                </a:xfrm>
                <a:custGeom>
                  <a:avLst/>
                  <a:gdLst>
                    <a:gd name="connsiteX0" fmla="*/ 7120 w 41195"/>
                    <a:gd name="connsiteY0" fmla="*/ 41219 h 41219"/>
                    <a:gd name="connsiteX1" fmla="*/ 2072 w 41195"/>
                    <a:gd name="connsiteY1" fmla="*/ 39124 h 41219"/>
                    <a:gd name="connsiteX2" fmla="*/ 2072 w 41195"/>
                    <a:gd name="connsiteY2" fmla="*/ 29027 h 41219"/>
                    <a:gd name="connsiteX3" fmla="*/ 29027 w 41195"/>
                    <a:gd name="connsiteY3" fmla="*/ 2072 h 41219"/>
                    <a:gd name="connsiteX4" fmla="*/ 39124 w 41195"/>
                    <a:gd name="connsiteY4" fmla="*/ 2072 h 41219"/>
                    <a:gd name="connsiteX5" fmla="*/ 39124 w 41195"/>
                    <a:gd name="connsiteY5" fmla="*/ 12168 h 41219"/>
                    <a:gd name="connsiteX6" fmla="*/ 12168 w 41195"/>
                    <a:gd name="connsiteY6" fmla="*/ 39124 h 41219"/>
                    <a:gd name="connsiteX7" fmla="*/ 7120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7120" y="41219"/>
                      </a:moveTo>
                      <a:cubicBezTo>
                        <a:pt x="5310" y="41219"/>
                        <a:pt x="3500" y="40553"/>
                        <a:pt x="2072" y="39124"/>
                      </a:cubicBezTo>
                      <a:cubicBezTo>
                        <a:pt x="-691" y="36362"/>
                        <a:pt x="-691" y="31790"/>
                        <a:pt x="2072" y="29027"/>
                      </a:cubicBezTo>
                      <a:lnTo>
                        <a:pt x="29027" y="2072"/>
                      </a:lnTo>
                      <a:cubicBezTo>
                        <a:pt x="31790" y="-691"/>
                        <a:pt x="36362" y="-691"/>
                        <a:pt x="39124" y="2072"/>
                      </a:cubicBezTo>
                      <a:cubicBezTo>
                        <a:pt x="41886" y="4834"/>
                        <a:pt x="41886" y="9406"/>
                        <a:pt x="39124" y="12168"/>
                      </a:cubicBezTo>
                      <a:lnTo>
                        <a:pt x="12168" y="39124"/>
                      </a:lnTo>
                      <a:cubicBezTo>
                        <a:pt x="10739" y="40457"/>
                        <a:pt x="8930" y="41219"/>
                        <a:pt x="7120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4" name="Grafik 3880">
                  <a:extLst>
                    <a:ext uri="{FF2B5EF4-FFF2-40B4-BE49-F238E27FC236}">
                      <a16:creationId xmlns:a16="http://schemas.microsoft.com/office/drawing/2014/main" id="{3CE181AF-0C6B-04C3-6B15-3472C4B8E66B}"/>
                    </a:ext>
                  </a:extLst>
                </p:cNvPr>
                <p:cNvSpPr/>
                <p:nvPr/>
              </p:nvSpPr>
              <p:spPr bwMode="gray">
                <a:xfrm>
                  <a:off x="5978008" y="3290053"/>
                  <a:ext cx="41195" cy="41219"/>
                </a:xfrm>
                <a:custGeom>
                  <a:avLst/>
                  <a:gdLst>
                    <a:gd name="connsiteX0" fmla="*/ 34076 w 41195"/>
                    <a:gd name="connsiteY0" fmla="*/ 41219 h 41219"/>
                    <a:gd name="connsiteX1" fmla="*/ 29027 w 41195"/>
                    <a:gd name="connsiteY1" fmla="*/ 39124 h 41219"/>
                    <a:gd name="connsiteX2" fmla="*/ 2072 w 41195"/>
                    <a:gd name="connsiteY2" fmla="*/ 12168 h 41219"/>
                    <a:gd name="connsiteX3" fmla="*/ 2072 w 41195"/>
                    <a:gd name="connsiteY3" fmla="*/ 2072 h 41219"/>
                    <a:gd name="connsiteX4" fmla="*/ 12168 w 41195"/>
                    <a:gd name="connsiteY4" fmla="*/ 2072 h 41219"/>
                    <a:gd name="connsiteX5" fmla="*/ 39124 w 41195"/>
                    <a:gd name="connsiteY5" fmla="*/ 29027 h 41219"/>
                    <a:gd name="connsiteX6" fmla="*/ 39124 w 41195"/>
                    <a:gd name="connsiteY6" fmla="*/ 39124 h 41219"/>
                    <a:gd name="connsiteX7" fmla="*/ 34076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34076" y="41219"/>
                      </a:moveTo>
                      <a:cubicBezTo>
                        <a:pt x="32266" y="41219"/>
                        <a:pt x="30456" y="40553"/>
                        <a:pt x="29027" y="3912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124" y="29027"/>
                      </a:lnTo>
                      <a:cubicBezTo>
                        <a:pt x="41886" y="31790"/>
                        <a:pt x="41886" y="36362"/>
                        <a:pt x="39124" y="39124"/>
                      </a:cubicBezTo>
                      <a:cubicBezTo>
                        <a:pt x="37695" y="40457"/>
                        <a:pt x="35885" y="41219"/>
                        <a:pt x="34076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388" name="Grafik 3880">
                <a:extLst>
                  <a:ext uri="{FF2B5EF4-FFF2-40B4-BE49-F238E27FC236}">
                    <a16:creationId xmlns:a16="http://schemas.microsoft.com/office/drawing/2014/main" id="{B4217D5C-E126-2FB1-B68F-CE17CDAF9C6C}"/>
                  </a:ext>
                </a:extLst>
              </p:cNvPr>
              <p:cNvSpPr/>
              <p:nvPr/>
            </p:nvSpPr>
            <p:spPr bwMode="gray">
              <a:xfrm>
                <a:off x="5977984" y="3375850"/>
                <a:ext cx="166687" cy="166687"/>
              </a:xfrm>
              <a:custGeom>
                <a:avLst/>
                <a:gdLst>
                  <a:gd name="connsiteX0" fmla="*/ 83344 w 166687"/>
                  <a:gd name="connsiteY0" fmla="*/ 166687 h 166687"/>
                  <a:gd name="connsiteX1" fmla="*/ 0 w 166687"/>
                  <a:gd name="connsiteY1" fmla="*/ 83344 h 166687"/>
                  <a:gd name="connsiteX2" fmla="*/ 83344 w 166687"/>
                  <a:gd name="connsiteY2" fmla="*/ 0 h 166687"/>
                  <a:gd name="connsiteX3" fmla="*/ 166688 w 166687"/>
                  <a:gd name="connsiteY3" fmla="*/ 83344 h 166687"/>
                  <a:gd name="connsiteX4" fmla="*/ 83344 w 166687"/>
                  <a:gd name="connsiteY4" fmla="*/ 166687 h 166687"/>
                  <a:gd name="connsiteX5" fmla="*/ 83344 w 166687"/>
                  <a:gd name="connsiteY5" fmla="*/ 14192 h 166687"/>
                  <a:gd name="connsiteX6" fmla="*/ 14288 w 166687"/>
                  <a:gd name="connsiteY6" fmla="*/ 83249 h 166687"/>
                  <a:gd name="connsiteX7" fmla="*/ 83344 w 166687"/>
                  <a:gd name="connsiteY7" fmla="*/ 152305 h 166687"/>
                  <a:gd name="connsiteX8" fmla="*/ 152400 w 166687"/>
                  <a:gd name="connsiteY8" fmla="*/ 83249 h 166687"/>
                  <a:gd name="connsiteX9" fmla="*/ 83344 w 166687"/>
                  <a:gd name="connsiteY9" fmla="*/ 14192 h 166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6687" h="166687">
                    <a:moveTo>
                      <a:pt x="83344" y="166687"/>
                    </a:moveTo>
                    <a:cubicBezTo>
                      <a:pt x="37338" y="166687"/>
                      <a:pt x="0" y="129254"/>
                      <a:pt x="0" y="83344"/>
                    </a:cubicBezTo>
                    <a:cubicBezTo>
                      <a:pt x="0" y="37433"/>
                      <a:pt x="37433" y="0"/>
                      <a:pt x="83344" y="0"/>
                    </a:cubicBezTo>
                    <a:cubicBezTo>
                      <a:pt x="129254" y="0"/>
                      <a:pt x="166688" y="37433"/>
                      <a:pt x="166688" y="83344"/>
                    </a:cubicBezTo>
                    <a:cubicBezTo>
                      <a:pt x="166688" y="129254"/>
                      <a:pt x="129350" y="166687"/>
                      <a:pt x="83344" y="166687"/>
                    </a:cubicBezTo>
                    <a:close/>
                    <a:moveTo>
                      <a:pt x="83344" y="14192"/>
                    </a:moveTo>
                    <a:cubicBezTo>
                      <a:pt x="45244" y="14192"/>
                      <a:pt x="14288" y="45148"/>
                      <a:pt x="14288" y="83249"/>
                    </a:cubicBezTo>
                    <a:cubicBezTo>
                      <a:pt x="14288" y="121349"/>
                      <a:pt x="45244" y="152305"/>
                      <a:pt x="83344" y="152305"/>
                    </a:cubicBezTo>
                    <a:cubicBezTo>
                      <a:pt x="121444" y="152305"/>
                      <a:pt x="152400" y="121349"/>
                      <a:pt x="152400" y="83249"/>
                    </a:cubicBezTo>
                    <a:cubicBezTo>
                      <a:pt x="152400" y="45148"/>
                      <a:pt x="121444" y="14192"/>
                      <a:pt x="83344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389" name="Grafik 3880">
                <a:extLst>
                  <a:ext uri="{FF2B5EF4-FFF2-40B4-BE49-F238E27FC236}">
                    <a16:creationId xmlns:a16="http://schemas.microsoft.com/office/drawing/2014/main" id="{1054453C-CBB1-01FD-A5C7-79D9BEC99AAE}"/>
                  </a:ext>
                </a:extLst>
              </p:cNvPr>
              <p:cNvGrpSpPr/>
              <p:nvPr/>
            </p:nvGrpSpPr>
            <p:grpSpPr bwMode="gray">
              <a:xfrm>
                <a:off x="6029895" y="3415664"/>
                <a:ext cx="62865" cy="87058"/>
                <a:chOff x="6029895" y="3415664"/>
                <a:chExt cx="62865" cy="87058"/>
              </a:xfrm>
              <a:grpFill/>
            </p:grpSpPr>
            <p:sp>
              <p:nvSpPr>
                <p:cNvPr id="390" name="Grafik 3880">
                  <a:extLst>
                    <a:ext uri="{FF2B5EF4-FFF2-40B4-BE49-F238E27FC236}">
                      <a16:creationId xmlns:a16="http://schemas.microsoft.com/office/drawing/2014/main" id="{C525DADA-6681-97C4-435B-D4EE6306DB7F}"/>
                    </a:ext>
                  </a:extLst>
                </p:cNvPr>
                <p:cNvSpPr/>
                <p:nvPr/>
              </p:nvSpPr>
              <p:spPr bwMode="gray">
                <a:xfrm>
                  <a:off x="6057708" y="3464051"/>
                  <a:ext cx="35052" cy="14287"/>
                </a:xfrm>
                <a:custGeom>
                  <a:avLst/>
                  <a:gdLst>
                    <a:gd name="connsiteX0" fmla="*/ 27908 w 35052"/>
                    <a:gd name="connsiteY0" fmla="*/ 14288 h 14287"/>
                    <a:gd name="connsiteX1" fmla="*/ 7144 w 35052"/>
                    <a:gd name="connsiteY1" fmla="*/ 14288 h 14287"/>
                    <a:gd name="connsiteX2" fmla="*/ 0 w 35052"/>
                    <a:gd name="connsiteY2" fmla="*/ 7144 h 14287"/>
                    <a:gd name="connsiteX3" fmla="*/ 7144 w 35052"/>
                    <a:gd name="connsiteY3" fmla="*/ 0 h 14287"/>
                    <a:gd name="connsiteX4" fmla="*/ 27908 w 35052"/>
                    <a:gd name="connsiteY4" fmla="*/ 0 h 14287"/>
                    <a:gd name="connsiteX5" fmla="*/ 35052 w 35052"/>
                    <a:gd name="connsiteY5" fmla="*/ 7144 h 14287"/>
                    <a:gd name="connsiteX6" fmla="*/ 27908 w 35052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5052" h="14287">
                      <a:moveTo>
                        <a:pt x="279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27908" y="0"/>
                      </a:lnTo>
                      <a:cubicBezTo>
                        <a:pt x="31814" y="0"/>
                        <a:pt x="35052" y="3239"/>
                        <a:pt x="35052" y="7144"/>
                      </a:cubicBezTo>
                      <a:cubicBezTo>
                        <a:pt x="35052" y="11049"/>
                        <a:pt x="31909" y="14288"/>
                        <a:pt x="2790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1" name="Grafik 3880">
                  <a:extLst>
                    <a:ext uri="{FF2B5EF4-FFF2-40B4-BE49-F238E27FC236}">
                      <a16:creationId xmlns:a16="http://schemas.microsoft.com/office/drawing/2014/main" id="{A74C1590-5CF8-34A0-F794-B8A535C57BB2}"/>
                    </a:ext>
                  </a:extLst>
                </p:cNvPr>
                <p:cNvSpPr/>
                <p:nvPr/>
              </p:nvSpPr>
              <p:spPr bwMode="gray">
                <a:xfrm>
                  <a:off x="6029895" y="3415664"/>
                  <a:ext cx="62865" cy="87058"/>
                </a:xfrm>
                <a:custGeom>
                  <a:avLst/>
                  <a:gdLst>
                    <a:gd name="connsiteX0" fmla="*/ 31433 w 62865"/>
                    <a:gd name="connsiteY0" fmla="*/ 87059 h 87058"/>
                    <a:gd name="connsiteX1" fmla="*/ 0 w 62865"/>
                    <a:gd name="connsiteY1" fmla="*/ 55626 h 87058"/>
                    <a:gd name="connsiteX2" fmla="*/ 0 w 62865"/>
                    <a:gd name="connsiteY2" fmla="*/ 31432 h 87058"/>
                    <a:gd name="connsiteX3" fmla="*/ 31433 w 62865"/>
                    <a:gd name="connsiteY3" fmla="*/ 0 h 87058"/>
                    <a:gd name="connsiteX4" fmla="*/ 62865 w 62865"/>
                    <a:gd name="connsiteY4" fmla="*/ 31432 h 87058"/>
                    <a:gd name="connsiteX5" fmla="*/ 55721 w 62865"/>
                    <a:gd name="connsiteY5" fmla="*/ 38576 h 87058"/>
                    <a:gd name="connsiteX6" fmla="*/ 48578 w 62865"/>
                    <a:gd name="connsiteY6" fmla="*/ 31432 h 87058"/>
                    <a:gd name="connsiteX7" fmla="*/ 31433 w 62865"/>
                    <a:gd name="connsiteY7" fmla="*/ 14288 h 87058"/>
                    <a:gd name="connsiteX8" fmla="*/ 14288 w 62865"/>
                    <a:gd name="connsiteY8" fmla="*/ 31432 h 87058"/>
                    <a:gd name="connsiteX9" fmla="*/ 14288 w 62865"/>
                    <a:gd name="connsiteY9" fmla="*/ 55626 h 87058"/>
                    <a:gd name="connsiteX10" fmla="*/ 31433 w 62865"/>
                    <a:gd name="connsiteY10" fmla="*/ 72771 h 87058"/>
                    <a:gd name="connsiteX11" fmla="*/ 48578 w 62865"/>
                    <a:gd name="connsiteY11" fmla="*/ 55626 h 87058"/>
                    <a:gd name="connsiteX12" fmla="*/ 55721 w 62865"/>
                    <a:gd name="connsiteY12" fmla="*/ 48482 h 87058"/>
                    <a:gd name="connsiteX13" fmla="*/ 62865 w 62865"/>
                    <a:gd name="connsiteY13" fmla="*/ 55626 h 87058"/>
                    <a:gd name="connsiteX14" fmla="*/ 31433 w 62865"/>
                    <a:gd name="connsiteY14" fmla="*/ 87059 h 870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62865" h="87058">
                      <a:moveTo>
                        <a:pt x="31433" y="87059"/>
                      </a:moveTo>
                      <a:cubicBezTo>
                        <a:pt x="14097" y="87059"/>
                        <a:pt x="0" y="72961"/>
                        <a:pt x="0" y="55626"/>
                      </a:cubicBezTo>
                      <a:lnTo>
                        <a:pt x="0" y="31432"/>
                      </a:lnTo>
                      <a:cubicBezTo>
                        <a:pt x="0" y="14097"/>
                        <a:pt x="14097" y="0"/>
                        <a:pt x="31433" y="0"/>
                      </a:cubicBezTo>
                      <a:cubicBezTo>
                        <a:pt x="48768" y="0"/>
                        <a:pt x="62865" y="14097"/>
                        <a:pt x="62865" y="31432"/>
                      </a:cubicBezTo>
                      <a:cubicBezTo>
                        <a:pt x="62865" y="35338"/>
                        <a:pt x="59627" y="38576"/>
                        <a:pt x="55721" y="38576"/>
                      </a:cubicBezTo>
                      <a:cubicBezTo>
                        <a:pt x="51816" y="38576"/>
                        <a:pt x="48578" y="35338"/>
                        <a:pt x="48578" y="31432"/>
                      </a:cubicBezTo>
                      <a:cubicBezTo>
                        <a:pt x="48578" y="22003"/>
                        <a:pt x="40862" y="14288"/>
                        <a:pt x="31433" y="14288"/>
                      </a:cubicBezTo>
                      <a:cubicBezTo>
                        <a:pt x="22003" y="14288"/>
                        <a:pt x="14288" y="22003"/>
                        <a:pt x="14288" y="31432"/>
                      </a:cubicBezTo>
                      <a:lnTo>
                        <a:pt x="14288" y="55626"/>
                      </a:lnTo>
                      <a:cubicBezTo>
                        <a:pt x="14288" y="65056"/>
                        <a:pt x="22003" y="72771"/>
                        <a:pt x="31433" y="72771"/>
                      </a:cubicBezTo>
                      <a:cubicBezTo>
                        <a:pt x="40862" y="72771"/>
                        <a:pt x="48578" y="65056"/>
                        <a:pt x="48578" y="55626"/>
                      </a:cubicBezTo>
                      <a:cubicBezTo>
                        <a:pt x="48578" y="51721"/>
                        <a:pt x="51816" y="48482"/>
                        <a:pt x="55721" y="48482"/>
                      </a:cubicBezTo>
                      <a:cubicBezTo>
                        <a:pt x="59627" y="48482"/>
                        <a:pt x="62865" y="51721"/>
                        <a:pt x="62865" y="55626"/>
                      </a:cubicBezTo>
                      <a:cubicBezTo>
                        <a:pt x="62865" y="72866"/>
                        <a:pt x="48768" y="87059"/>
                        <a:pt x="31433" y="8705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379" name="Grafik 3880">
              <a:extLst>
                <a:ext uri="{FF2B5EF4-FFF2-40B4-BE49-F238E27FC236}">
                  <a16:creationId xmlns:a16="http://schemas.microsoft.com/office/drawing/2014/main" id="{D9EC5DB3-E2A2-84B9-6372-E9AA048A6937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0" name="Grafik 3880">
              <a:extLst>
                <a:ext uri="{FF2B5EF4-FFF2-40B4-BE49-F238E27FC236}">
                  <a16:creationId xmlns:a16="http://schemas.microsoft.com/office/drawing/2014/main" id="{C230A895-240C-C012-B854-857327CF9995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1" name="Grafik 3880">
              <a:extLst>
                <a:ext uri="{FF2B5EF4-FFF2-40B4-BE49-F238E27FC236}">
                  <a16:creationId xmlns:a16="http://schemas.microsoft.com/office/drawing/2014/main" id="{B4450F2F-F304-EF0D-36CF-B3579AC72B24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2" name="Grafik 3880">
              <a:extLst>
                <a:ext uri="{FF2B5EF4-FFF2-40B4-BE49-F238E27FC236}">
                  <a16:creationId xmlns:a16="http://schemas.microsoft.com/office/drawing/2014/main" id="{D535A510-609A-CC04-F714-2D6034820377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3" name="Grafik 3880">
              <a:extLst>
                <a:ext uri="{FF2B5EF4-FFF2-40B4-BE49-F238E27FC236}">
                  <a16:creationId xmlns:a16="http://schemas.microsoft.com/office/drawing/2014/main" id="{1392E175-F484-EDD3-F459-B640C99E8D91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404" name="Grafik 17">
            <a:extLst>
              <a:ext uri="{FF2B5EF4-FFF2-40B4-BE49-F238E27FC236}">
                <a16:creationId xmlns:a16="http://schemas.microsoft.com/office/drawing/2014/main" id="{9C4FCEF9-FC2B-5A0C-D7D8-BA5476FA0C9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130236" y="4551232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405" name="Grafik 17">
              <a:extLst>
                <a:ext uri="{FF2B5EF4-FFF2-40B4-BE49-F238E27FC236}">
                  <a16:creationId xmlns:a16="http://schemas.microsoft.com/office/drawing/2014/main" id="{9F424E56-57BB-00A1-5556-473A2F4E68FB}"/>
                </a:ext>
              </a:extLst>
            </p:cNvPr>
            <p:cNvGrpSpPr/>
            <p:nvPr/>
          </p:nvGrpSpPr>
          <p:grpSpPr bwMode="gray">
            <a:xfrm>
              <a:off x="5908357" y="3337464"/>
              <a:ext cx="305942" cy="243363"/>
              <a:chOff x="5908357" y="3337464"/>
              <a:chExt cx="305942" cy="243363"/>
            </a:xfrm>
            <a:grpFill/>
          </p:grpSpPr>
          <p:sp>
            <p:nvSpPr>
              <p:cNvPr id="411" name="Grafik 17">
                <a:extLst>
                  <a:ext uri="{FF2B5EF4-FFF2-40B4-BE49-F238E27FC236}">
                    <a16:creationId xmlns:a16="http://schemas.microsoft.com/office/drawing/2014/main" id="{E6035E05-B189-EEAC-A3B4-992A70749087}"/>
                  </a:ext>
                </a:extLst>
              </p:cNvPr>
              <p:cNvSpPr/>
              <p:nvPr/>
            </p:nvSpPr>
            <p:spPr bwMode="gray">
              <a:xfrm>
                <a:off x="5950100" y="3337488"/>
                <a:ext cx="243316" cy="243339"/>
              </a:xfrm>
              <a:custGeom>
                <a:avLst/>
                <a:gdLst>
                  <a:gd name="connsiteX0" fmla="*/ 236196 w 243316"/>
                  <a:gd name="connsiteY0" fmla="*/ 243340 h 243339"/>
                  <a:gd name="connsiteX1" fmla="*/ 231148 w 243316"/>
                  <a:gd name="connsiteY1" fmla="*/ 241244 h 243339"/>
                  <a:gd name="connsiteX2" fmla="*/ 2072 w 243316"/>
                  <a:gd name="connsiteY2" fmla="*/ 12168 h 243339"/>
                  <a:gd name="connsiteX3" fmla="*/ 2072 w 243316"/>
                  <a:gd name="connsiteY3" fmla="*/ 2072 h 243339"/>
                  <a:gd name="connsiteX4" fmla="*/ 12168 w 243316"/>
                  <a:gd name="connsiteY4" fmla="*/ 2072 h 243339"/>
                  <a:gd name="connsiteX5" fmla="*/ 241244 w 243316"/>
                  <a:gd name="connsiteY5" fmla="*/ 231148 h 243339"/>
                  <a:gd name="connsiteX6" fmla="*/ 241244 w 243316"/>
                  <a:gd name="connsiteY6" fmla="*/ 241244 h 243339"/>
                  <a:gd name="connsiteX7" fmla="*/ 236196 w 243316"/>
                  <a:gd name="connsiteY7" fmla="*/ 243340 h 243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3316" h="243339">
                    <a:moveTo>
                      <a:pt x="236196" y="243340"/>
                    </a:moveTo>
                    <a:cubicBezTo>
                      <a:pt x="234386" y="243340"/>
                      <a:pt x="232577" y="242673"/>
                      <a:pt x="231148" y="241244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41244" y="231148"/>
                    </a:lnTo>
                    <a:cubicBezTo>
                      <a:pt x="244007" y="233910"/>
                      <a:pt x="244007" y="238482"/>
                      <a:pt x="241244" y="241244"/>
                    </a:cubicBezTo>
                    <a:cubicBezTo>
                      <a:pt x="239911" y="242673"/>
                      <a:pt x="238006" y="243340"/>
                      <a:pt x="236196" y="24334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12" name="Grafik 17">
                <a:extLst>
                  <a:ext uri="{FF2B5EF4-FFF2-40B4-BE49-F238E27FC236}">
                    <a16:creationId xmlns:a16="http://schemas.microsoft.com/office/drawing/2014/main" id="{CC006042-09DC-E1FB-ACE0-2A31D16497E0}"/>
                  </a:ext>
                </a:extLst>
              </p:cNvPr>
              <p:cNvSpPr/>
              <p:nvPr/>
            </p:nvSpPr>
            <p:spPr bwMode="gray">
              <a:xfrm>
                <a:off x="5929240" y="3337488"/>
                <a:ext cx="243316" cy="243339"/>
              </a:xfrm>
              <a:custGeom>
                <a:avLst/>
                <a:gdLst>
                  <a:gd name="connsiteX0" fmla="*/ 7120 w 243316"/>
                  <a:gd name="connsiteY0" fmla="*/ 243340 h 243339"/>
                  <a:gd name="connsiteX1" fmla="*/ 2072 w 243316"/>
                  <a:gd name="connsiteY1" fmla="*/ 241244 h 243339"/>
                  <a:gd name="connsiteX2" fmla="*/ 2072 w 243316"/>
                  <a:gd name="connsiteY2" fmla="*/ 231148 h 243339"/>
                  <a:gd name="connsiteX3" fmla="*/ 231148 w 243316"/>
                  <a:gd name="connsiteY3" fmla="*/ 2072 h 243339"/>
                  <a:gd name="connsiteX4" fmla="*/ 241244 w 243316"/>
                  <a:gd name="connsiteY4" fmla="*/ 2072 h 243339"/>
                  <a:gd name="connsiteX5" fmla="*/ 241244 w 243316"/>
                  <a:gd name="connsiteY5" fmla="*/ 12168 h 243339"/>
                  <a:gd name="connsiteX6" fmla="*/ 12168 w 243316"/>
                  <a:gd name="connsiteY6" fmla="*/ 241244 h 243339"/>
                  <a:gd name="connsiteX7" fmla="*/ 7120 w 243316"/>
                  <a:gd name="connsiteY7" fmla="*/ 243340 h 243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3316" h="243339">
                    <a:moveTo>
                      <a:pt x="7120" y="243340"/>
                    </a:moveTo>
                    <a:cubicBezTo>
                      <a:pt x="5310" y="243340"/>
                      <a:pt x="3500" y="242673"/>
                      <a:pt x="2072" y="241244"/>
                    </a:cubicBezTo>
                    <a:cubicBezTo>
                      <a:pt x="-691" y="238482"/>
                      <a:pt x="-691" y="233910"/>
                      <a:pt x="2072" y="231148"/>
                    </a:cubicBezTo>
                    <a:lnTo>
                      <a:pt x="231148" y="2072"/>
                    </a:lnTo>
                    <a:cubicBezTo>
                      <a:pt x="233910" y="-691"/>
                      <a:pt x="238482" y="-691"/>
                      <a:pt x="241244" y="2072"/>
                    </a:cubicBezTo>
                    <a:cubicBezTo>
                      <a:pt x="244007" y="4834"/>
                      <a:pt x="244007" y="9406"/>
                      <a:pt x="241244" y="12168"/>
                    </a:cubicBezTo>
                    <a:lnTo>
                      <a:pt x="12168" y="241244"/>
                    </a:lnTo>
                    <a:cubicBezTo>
                      <a:pt x="10739" y="242673"/>
                      <a:pt x="8930" y="243340"/>
                      <a:pt x="7120" y="24334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13" name="Grafik 17">
                <a:extLst>
                  <a:ext uri="{FF2B5EF4-FFF2-40B4-BE49-F238E27FC236}">
                    <a16:creationId xmlns:a16="http://schemas.microsoft.com/office/drawing/2014/main" id="{3FA89924-9441-C193-620A-7B5A3F77232B}"/>
                  </a:ext>
                </a:extLst>
              </p:cNvPr>
              <p:cNvSpPr/>
              <p:nvPr/>
            </p:nvSpPr>
            <p:spPr bwMode="gray">
              <a:xfrm>
                <a:off x="6158388" y="3337464"/>
                <a:ext cx="55911" cy="14287"/>
              </a:xfrm>
              <a:custGeom>
                <a:avLst/>
                <a:gdLst>
                  <a:gd name="connsiteX0" fmla="*/ 48768 w 55911"/>
                  <a:gd name="connsiteY0" fmla="*/ 14288 h 14287"/>
                  <a:gd name="connsiteX1" fmla="*/ 7144 w 55911"/>
                  <a:gd name="connsiteY1" fmla="*/ 14288 h 14287"/>
                  <a:gd name="connsiteX2" fmla="*/ 0 w 55911"/>
                  <a:gd name="connsiteY2" fmla="*/ 7144 h 14287"/>
                  <a:gd name="connsiteX3" fmla="*/ 7144 w 55911"/>
                  <a:gd name="connsiteY3" fmla="*/ 0 h 14287"/>
                  <a:gd name="connsiteX4" fmla="*/ 48768 w 55911"/>
                  <a:gd name="connsiteY4" fmla="*/ 0 h 14287"/>
                  <a:gd name="connsiteX5" fmla="*/ 55912 w 55911"/>
                  <a:gd name="connsiteY5" fmla="*/ 7144 h 14287"/>
                  <a:gd name="connsiteX6" fmla="*/ 48768 w 55911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5911" h="14287">
                    <a:moveTo>
                      <a:pt x="48768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48768" y="0"/>
                    </a:lnTo>
                    <a:cubicBezTo>
                      <a:pt x="52673" y="0"/>
                      <a:pt x="55912" y="3239"/>
                      <a:pt x="55912" y="7144"/>
                    </a:cubicBezTo>
                    <a:cubicBezTo>
                      <a:pt x="55912" y="11049"/>
                      <a:pt x="52673" y="14288"/>
                      <a:pt x="48768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14" name="Grafik 17">
                <a:extLst>
                  <a:ext uri="{FF2B5EF4-FFF2-40B4-BE49-F238E27FC236}">
                    <a16:creationId xmlns:a16="http://schemas.microsoft.com/office/drawing/2014/main" id="{BBC392EB-AA49-E24B-FCEF-0CC403470C2D}"/>
                  </a:ext>
                </a:extLst>
              </p:cNvPr>
              <p:cNvSpPr/>
              <p:nvPr/>
            </p:nvSpPr>
            <p:spPr bwMode="gray">
              <a:xfrm>
                <a:off x="5908357" y="3337464"/>
                <a:ext cx="55911" cy="14287"/>
              </a:xfrm>
              <a:custGeom>
                <a:avLst/>
                <a:gdLst>
                  <a:gd name="connsiteX0" fmla="*/ 48863 w 55911"/>
                  <a:gd name="connsiteY0" fmla="*/ 14288 h 14287"/>
                  <a:gd name="connsiteX1" fmla="*/ 7144 w 55911"/>
                  <a:gd name="connsiteY1" fmla="*/ 14288 h 14287"/>
                  <a:gd name="connsiteX2" fmla="*/ 0 w 55911"/>
                  <a:gd name="connsiteY2" fmla="*/ 7144 h 14287"/>
                  <a:gd name="connsiteX3" fmla="*/ 7144 w 55911"/>
                  <a:gd name="connsiteY3" fmla="*/ 0 h 14287"/>
                  <a:gd name="connsiteX4" fmla="*/ 48768 w 55911"/>
                  <a:gd name="connsiteY4" fmla="*/ 0 h 14287"/>
                  <a:gd name="connsiteX5" fmla="*/ 55912 w 55911"/>
                  <a:gd name="connsiteY5" fmla="*/ 7144 h 14287"/>
                  <a:gd name="connsiteX6" fmla="*/ 48863 w 55911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5911" h="14287">
                    <a:moveTo>
                      <a:pt x="48863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8768" y="0"/>
                    </a:lnTo>
                    <a:cubicBezTo>
                      <a:pt x="52673" y="0"/>
                      <a:pt x="55912" y="3239"/>
                      <a:pt x="55912" y="7144"/>
                    </a:cubicBezTo>
                    <a:cubicBezTo>
                      <a:pt x="55912" y="11049"/>
                      <a:pt x="52769" y="14288"/>
                      <a:pt x="48863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406" name="Grafik 17">
              <a:extLst>
                <a:ext uri="{FF2B5EF4-FFF2-40B4-BE49-F238E27FC236}">
                  <a16:creationId xmlns:a16="http://schemas.microsoft.com/office/drawing/2014/main" id="{F621E3DE-CD05-22E4-F251-BEEDBC234D75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07" name="Grafik 17">
              <a:extLst>
                <a:ext uri="{FF2B5EF4-FFF2-40B4-BE49-F238E27FC236}">
                  <a16:creationId xmlns:a16="http://schemas.microsoft.com/office/drawing/2014/main" id="{F00D6681-098C-59B8-CBA4-850BE42AFFEF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08" name="Grafik 17">
              <a:extLst>
                <a:ext uri="{FF2B5EF4-FFF2-40B4-BE49-F238E27FC236}">
                  <a16:creationId xmlns:a16="http://schemas.microsoft.com/office/drawing/2014/main" id="{F8EF8353-CEEB-BDF9-47D4-63EB9B31998B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09" name="Grafik 17">
              <a:extLst>
                <a:ext uri="{FF2B5EF4-FFF2-40B4-BE49-F238E27FC236}">
                  <a16:creationId xmlns:a16="http://schemas.microsoft.com/office/drawing/2014/main" id="{B0DE0A16-767F-8378-090B-1385237825D8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10" name="Grafik 17">
              <a:extLst>
                <a:ext uri="{FF2B5EF4-FFF2-40B4-BE49-F238E27FC236}">
                  <a16:creationId xmlns:a16="http://schemas.microsoft.com/office/drawing/2014/main" id="{54B6BEE1-8548-560C-1162-05EB61A4ADE0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</p:grpSp>
      <p:sp>
        <p:nvSpPr>
          <p:cNvPr id="415" name="Text Box 59">
            <a:extLst>
              <a:ext uri="{FF2B5EF4-FFF2-40B4-BE49-F238E27FC236}">
                <a16:creationId xmlns:a16="http://schemas.microsoft.com/office/drawing/2014/main" id="{B4559C10-EBE2-DA27-5370-9F4858CDB51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74255" y="3551238"/>
            <a:ext cx="29976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STP</a:t>
            </a:r>
          </a:p>
        </p:txBody>
      </p:sp>
      <p:grpSp>
        <p:nvGrpSpPr>
          <p:cNvPr id="416" name="Grafik 220">
            <a:extLst>
              <a:ext uri="{FF2B5EF4-FFF2-40B4-BE49-F238E27FC236}">
                <a16:creationId xmlns:a16="http://schemas.microsoft.com/office/drawing/2014/main" id="{069707C6-ACD0-2078-8725-3C14FE951131}"/>
              </a:ext>
            </a:extLst>
          </p:cNvPr>
          <p:cNvGrpSpPr/>
          <p:nvPr/>
        </p:nvGrpSpPr>
        <p:grpSpPr bwMode="gray">
          <a:xfrm>
            <a:off x="7536202" y="132775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417" name="Grafik 220">
              <a:extLst>
                <a:ext uri="{FF2B5EF4-FFF2-40B4-BE49-F238E27FC236}">
                  <a16:creationId xmlns:a16="http://schemas.microsoft.com/office/drawing/2014/main" id="{997A2CDC-925E-EFBC-BDE7-4DB102D9A03C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8" name="Grafik 220">
              <a:extLst>
                <a:ext uri="{FF2B5EF4-FFF2-40B4-BE49-F238E27FC236}">
                  <a16:creationId xmlns:a16="http://schemas.microsoft.com/office/drawing/2014/main" id="{31145CC8-84B1-E26E-A754-C3B6E47BD465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9" name="Grafik 220">
              <a:extLst>
                <a:ext uri="{FF2B5EF4-FFF2-40B4-BE49-F238E27FC236}">
                  <a16:creationId xmlns:a16="http://schemas.microsoft.com/office/drawing/2014/main" id="{DB1278D5-A283-11E8-37D9-A4A539406667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20" name="Grafik 220">
              <a:extLst>
                <a:ext uri="{FF2B5EF4-FFF2-40B4-BE49-F238E27FC236}">
                  <a16:creationId xmlns:a16="http://schemas.microsoft.com/office/drawing/2014/main" id="{AC2CDF7A-2870-822D-CA80-355118570E51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21" name="Grafik 220">
              <a:extLst>
                <a:ext uri="{FF2B5EF4-FFF2-40B4-BE49-F238E27FC236}">
                  <a16:creationId xmlns:a16="http://schemas.microsoft.com/office/drawing/2014/main" id="{8AC9B1CF-F3AB-2C3F-90A2-C22BAF929835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422" name="Grafik 220">
              <a:extLst>
                <a:ext uri="{FF2B5EF4-FFF2-40B4-BE49-F238E27FC236}">
                  <a16:creationId xmlns:a16="http://schemas.microsoft.com/office/drawing/2014/main" id="{A36DCE85-94D4-C72A-FC9D-042656B591AE}"/>
                </a:ext>
              </a:extLst>
            </p:cNvPr>
            <p:cNvGrpSpPr/>
            <p:nvPr/>
          </p:nvGrpSpPr>
          <p:grpSpPr bwMode="gray">
            <a:xfrm>
              <a:off x="5913595" y="3311365"/>
              <a:ext cx="295467" cy="295560"/>
              <a:chOff x="5913595" y="3311365"/>
              <a:chExt cx="295467" cy="295560"/>
            </a:xfrm>
            <a:grpFill/>
          </p:grpSpPr>
          <p:grpSp>
            <p:nvGrpSpPr>
              <p:cNvPr id="423" name="Grafik 220">
                <a:extLst>
                  <a:ext uri="{FF2B5EF4-FFF2-40B4-BE49-F238E27FC236}">
                    <a16:creationId xmlns:a16="http://schemas.microsoft.com/office/drawing/2014/main" id="{B641E120-ACB1-5E41-49A5-911EDA53FE06}"/>
                  </a:ext>
                </a:extLst>
              </p:cNvPr>
              <p:cNvGrpSpPr/>
              <p:nvPr/>
            </p:nvGrpSpPr>
            <p:grpSpPr bwMode="gray">
              <a:xfrm>
                <a:off x="5913595" y="3311365"/>
                <a:ext cx="79057" cy="79057"/>
                <a:chOff x="5913595" y="3311365"/>
                <a:chExt cx="79057" cy="79057"/>
              </a:xfrm>
              <a:grpFill/>
            </p:grpSpPr>
            <p:sp>
              <p:nvSpPr>
                <p:cNvPr id="449" name="Grafik 220">
                  <a:extLst>
                    <a:ext uri="{FF2B5EF4-FFF2-40B4-BE49-F238E27FC236}">
                      <a16:creationId xmlns:a16="http://schemas.microsoft.com/office/drawing/2014/main" id="{94E4C677-BD80-A138-EB62-09E13BA24DD1}"/>
                    </a:ext>
                  </a:extLst>
                </p:cNvPr>
                <p:cNvSpPr/>
                <p:nvPr/>
              </p:nvSpPr>
              <p:spPr bwMode="gray">
                <a:xfrm>
                  <a:off x="5913595" y="3311365"/>
                  <a:ext cx="14287" cy="79057"/>
                </a:xfrm>
                <a:custGeom>
                  <a:avLst/>
                  <a:gdLst>
                    <a:gd name="connsiteX0" fmla="*/ 7144 w 14287"/>
                    <a:gd name="connsiteY0" fmla="*/ 79058 h 79057"/>
                    <a:gd name="connsiteX1" fmla="*/ 0 w 14287"/>
                    <a:gd name="connsiteY1" fmla="*/ 71914 h 79057"/>
                    <a:gd name="connsiteX2" fmla="*/ 0 w 14287"/>
                    <a:gd name="connsiteY2" fmla="*/ 7144 h 79057"/>
                    <a:gd name="connsiteX3" fmla="*/ 7144 w 14287"/>
                    <a:gd name="connsiteY3" fmla="*/ 0 h 79057"/>
                    <a:gd name="connsiteX4" fmla="*/ 14288 w 14287"/>
                    <a:gd name="connsiteY4" fmla="*/ 7144 h 79057"/>
                    <a:gd name="connsiteX5" fmla="*/ 14288 w 14287"/>
                    <a:gd name="connsiteY5" fmla="*/ 71914 h 79057"/>
                    <a:gd name="connsiteX6" fmla="*/ 7144 w 14287"/>
                    <a:gd name="connsiteY6" fmla="*/ 79058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79057">
                      <a:moveTo>
                        <a:pt x="7144" y="79058"/>
                      </a:moveTo>
                      <a:cubicBezTo>
                        <a:pt x="3239" y="79058"/>
                        <a:pt x="0" y="75819"/>
                        <a:pt x="0" y="7191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1914"/>
                      </a:lnTo>
                      <a:cubicBezTo>
                        <a:pt x="14288" y="75914"/>
                        <a:pt x="11049" y="79058"/>
                        <a:pt x="7144" y="7905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50" name="Grafik 220">
                  <a:extLst>
                    <a:ext uri="{FF2B5EF4-FFF2-40B4-BE49-F238E27FC236}">
                      <a16:creationId xmlns:a16="http://schemas.microsoft.com/office/drawing/2014/main" id="{01FC5D47-B878-7DF2-E263-D7E74DC57908}"/>
                    </a:ext>
                  </a:extLst>
                </p:cNvPr>
                <p:cNvSpPr/>
                <p:nvPr/>
              </p:nvSpPr>
              <p:spPr bwMode="gray">
                <a:xfrm>
                  <a:off x="5913595" y="3311365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24" name="Grafik 220">
                <a:extLst>
                  <a:ext uri="{FF2B5EF4-FFF2-40B4-BE49-F238E27FC236}">
                    <a16:creationId xmlns:a16="http://schemas.microsoft.com/office/drawing/2014/main" id="{7D5E5652-09DF-1F68-D567-D51B75D07790}"/>
                  </a:ext>
                </a:extLst>
              </p:cNvPr>
              <p:cNvSpPr/>
              <p:nvPr/>
            </p:nvSpPr>
            <p:spPr bwMode="gray">
              <a:xfrm>
                <a:off x="5935622" y="3333487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7027" y="29694"/>
                      <a:pt x="25217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5" name="Grafik 220">
                <a:extLst>
                  <a:ext uri="{FF2B5EF4-FFF2-40B4-BE49-F238E27FC236}">
                    <a16:creationId xmlns:a16="http://schemas.microsoft.com/office/drawing/2014/main" id="{E684A159-C4EB-FB80-022E-0ACFFF8130E4}"/>
                  </a:ext>
                </a:extLst>
              </p:cNvPr>
              <p:cNvSpPr/>
              <p:nvPr/>
            </p:nvSpPr>
            <p:spPr bwMode="gray">
              <a:xfrm>
                <a:off x="5968007" y="3365872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7027" y="29789"/>
                      <a:pt x="25217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6" name="Grafik 220">
                <a:extLst>
                  <a:ext uri="{FF2B5EF4-FFF2-40B4-BE49-F238E27FC236}">
                    <a16:creationId xmlns:a16="http://schemas.microsoft.com/office/drawing/2014/main" id="{EDEACB5D-4BA4-3C05-5369-EDC6B70ACE94}"/>
                  </a:ext>
                </a:extLst>
              </p:cNvPr>
              <p:cNvSpPr/>
              <p:nvPr/>
            </p:nvSpPr>
            <p:spPr bwMode="gray">
              <a:xfrm>
                <a:off x="6000487" y="3398257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6932" y="29789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7" name="Grafik 220">
                <a:extLst>
                  <a:ext uri="{FF2B5EF4-FFF2-40B4-BE49-F238E27FC236}">
                    <a16:creationId xmlns:a16="http://schemas.microsoft.com/office/drawing/2014/main" id="{C829A96A-F2D9-20B7-365E-6C884E2ACFBB}"/>
                  </a:ext>
                </a:extLst>
              </p:cNvPr>
              <p:cNvSpPr/>
              <p:nvPr/>
            </p:nvSpPr>
            <p:spPr bwMode="gray">
              <a:xfrm>
                <a:off x="6032872" y="3430642"/>
                <a:ext cx="35575" cy="35599"/>
              </a:xfrm>
              <a:custGeom>
                <a:avLst/>
                <a:gdLst>
                  <a:gd name="connsiteX0" fmla="*/ 28456 w 35575"/>
                  <a:gd name="connsiteY0" fmla="*/ 35600 h 35599"/>
                  <a:gd name="connsiteX1" fmla="*/ 23408 w 35575"/>
                  <a:gd name="connsiteY1" fmla="*/ 33504 h 35599"/>
                  <a:gd name="connsiteX2" fmla="*/ 2072 w 35575"/>
                  <a:gd name="connsiteY2" fmla="*/ 12168 h 35599"/>
                  <a:gd name="connsiteX3" fmla="*/ 2072 w 35575"/>
                  <a:gd name="connsiteY3" fmla="*/ 2072 h 35599"/>
                  <a:gd name="connsiteX4" fmla="*/ 12168 w 35575"/>
                  <a:gd name="connsiteY4" fmla="*/ 2072 h 35599"/>
                  <a:gd name="connsiteX5" fmla="*/ 33504 w 35575"/>
                  <a:gd name="connsiteY5" fmla="*/ 23408 h 35599"/>
                  <a:gd name="connsiteX6" fmla="*/ 33504 w 35575"/>
                  <a:gd name="connsiteY6" fmla="*/ 33504 h 35599"/>
                  <a:gd name="connsiteX7" fmla="*/ 28456 w 35575"/>
                  <a:gd name="connsiteY7" fmla="*/ 35600 h 35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575" h="35599">
                    <a:moveTo>
                      <a:pt x="28456" y="35600"/>
                    </a:moveTo>
                    <a:cubicBezTo>
                      <a:pt x="26646" y="35600"/>
                      <a:pt x="24836" y="34933"/>
                      <a:pt x="23408" y="33504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3504" y="23408"/>
                    </a:lnTo>
                    <a:cubicBezTo>
                      <a:pt x="36266" y="26170"/>
                      <a:pt x="36266" y="30742"/>
                      <a:pt x="33504" y="33504"/>
                    </a:cubicBezTo>
                    <a:cubicBezTo>
                      <a:pt x="32075" y="34933"/>
                      <a:pt x="30266" y="35600"/>
                      <a:pt x="28456" y="356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428" name="Grafik 220">
                <a:extLst>
                  <a:ext uri="{FF2B5EF4-FFF2-40B4-BE49-F238E27FC236}">
                    <a16:creationId xmlns:a16="http://schemas.microsoft.com/office/drawing/2014/main" id="{D9025F9A-B694-FBC2-B0DB-E318E606DE03}"/>
                  </a:ext>
                </a:extLst>
              </p:cNvPr>
              <p:cNvGrpSpPr/>
              <p:nvPr/>
            </p:nvGrpSpPr>
            <p:grpSpPr bwMode="gray">
              <a:xfrm>
                <a:off x="6130003" y="3527869"/>
                <a:ext cx="79059" cy="79057"/>
                <a:chOff x="6130003" y="3527869"/>
                <a:chExt cx="79059" cy="79057"/>
              </a:xfrm>
              <a:grpFill/>
            </p:grpSpPr>
            <p:sp>
              <p:nvSpPr>
                <p:cNvPr id="447" name="Grafik 220">
                  <a:extLst>
                    <a:ext uri="{FF2B5EF4-FFF2-40B4-BE49-F238E27FC236}">
                      <a16:creationId xmlns:a16="http://schemas.microsoft.com/office/drawing/2014/main" id="{D088C4E1-84C2-BE05-92A9-564C01E7E388}"/>
                    </a:ext>
                  </a:extLst>
                </p:cNvPr>
                <p:cNvSpPr/>
                <p:nvPr/>
              </p:nvSpPr>
              <p:spPr bwMode="gray">
                <a:xfrm>
                  <a:off x="6194773" y="3527869"/>
                  <a:ext cx="14289" cy="79057"/>
                </a:xfrm>
                <a:custGeom>
                  <a:avLst/>
                  <a:gdLst>
                    <a:gd name="connsiteX0" fmla="*/ 7144 w 14289"/>
                    <a:gd name="connsiteY0" fmla="*/ 79057 h 79057"/>
                    <a:gd name="connsiteX1" fmla="*/ 0 w 14289"/>
                    <a:gd name="connsiteY1" fmla="*/ 71914 h 79057"/>
                    <a:gd name="connsiteX2" fmla="*/ 0 w 14289"/>
                    <a:gd name="connsiteY2" fmla="*/ 7144 h 79057"/>
                    <a:gd name="connsiteX3" fmla="*/ 7144 w 14289"/>
                    <a:gd name="connsiteY3" fmla="*/ 0 h 79057"/>
                    <a:gd name="connsiteX4" fmla="*/ 14288 w 14289"/>
                    <a:gd name="connsiteY4" fmla="*/ 7144 h 79057"/>
                    <a:gd name="connsiteX5" fmla="*/ 14288 w 14289"/>
                    <a:gd name="connsiteY5" fmla="*/ 71914 h 79057"/>
                    <a:gd name="connsiteX6" fmla="*/ 7144 w 14289"/>
                    <a:gd name="connsiteY6" fmla="*/ 79057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9" h="79057">
                      <a:moveTo>
                        <a:pt x="7144" y="79057"/>
                      </a:moveTo>
                      <a:cubicBezTo>
                        <a:pt x="3239" y="79057"/>
                        <a:pt x="0" y="75819"/>
                        <a:pt x="0" y="7191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1914"/>
                      </a:lnTo>
                      <a:cubicBezTo>
                        <a:pt x="14383" y="75819"/>
                        <a:pt x="11144" y="79057"/>
                        <a:pt x="7144" y="7905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8" name="Grafik 220">
                  <a:extLst>
                    <a:ext uri="{FF2B5EF4-FFF2-40B4-BE49-F238E27FC236}">
                      <a16:creationId xmlns:a16="http://schemas.microsoft.com/office/drawing/2014/main" id="{F3610633-E2EE-A2E1-C679-E930BAEAD80A}"/>
                    </a:ext>
                  </a:extLst>
                </p:cNvPr>
                <p:cNvSpPr/>
                <p:nvPr/>
              </p:nvSpPr>
              <p:spPr bwMode="gray">
                <a:xfrm>
                  <a:off x="6130003" y="3592639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29" name="Grafik 220">
                <a:extLst>
                  <a:ext uri="{FF2B5EF4-FFF2-40B4-BE49-F238E27FC236}">
                    <a16:creationId xmlns:a16="http://schemas.microsoft.com/office/drawing/2014/main" id="{A79D79F5-ABE3-791C-D481-3453920810FD}"/>
                  </a:ext>
                </a:extLst>
              </p:cNvPr>
              <p:cNvSpPr/>
              <p:nvPr/>
            </p:nvSpPr>
            <p:spPr bwMode="gray">
              <a:xfrm>
                <a:off x="6156602" y="3554372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6932" y="29789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0" name="Grafik 220">
                <a:extLst>
                  <a:ext uri="{FF2B5EF4-FFF2-40B4-BE49-F238E27FC236}">
                    <a16:creationId xmlns:a16="http://schemas.microsoft.com/office/drawing/2014/main" id="{1B5F7830-D27B-1ECE-ADE2-3531AF7C6E4F}"/>
                  </a:ext>
                </a:extLst>
              </p:cNvPr>
              <p:cNvSpPr/>
              <p:nvPr/>
            </p:nvSpPr>
            <p:spPr bwMode="gray">
              <a:xfrm>
                <a:off x="6124217" y="3521987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6932" y="29789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1" name="Grafik 220">
                <a:extLst>
                  <a:ext uri="{FF2B5EF4-FFF2-40B4-BE49-F238E27FC236}">
                    <a16:creationId xmlns:a16="http://schemas.microsoft.com/office/drawing/2014/main" id="{54AE97FB-BB95-6BAE-2800-7A7AA1892691}"/>
                  </a:ext>
                </a:extLst>
              </p:cNvPr>
              <p:cNvSpPr/>
              <p:nvPr/>
            </p:nvSpPr>
            <p:spPr bwMode="gray">
              <a:xfrm>
                <a:off x="6091737" y="3489602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7027" y="29789"/>
                      <a:pt x="25217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2" name="Grafik 220">
                <a:extLst>
                  <a:ext uri="{FF2B5EF4-FFF2-40B4-BE49-F238E27FC236}">
                    <a16:creationId xmlns:a16="http://schemas.microsoft.com/office/drawing/2014/main" id="{AF736FBC-CE81-EF06-5306-19BA573A9814}"/>
                  </a:ext>
                </a:extLst>
              </p:cNvPr>
              <p:cNvSpPr/>
              <p:nvPr/>
            </p:nvSpPr>
            <p:spPr bwMode="gray">
              <a:xfrm>
                <a:off x="6054208" y="3452073"/>
                <a:ext cx="35575" cy="35599"/>
              </a:xfrm>
              <a:custGeom>
                <a:avLst/>
                <a:gdLst>
                  <a:gd name="connsiteX0" fmla="*/ 28456 w 35575"/>
                  <a:gd name="connsiteY0" fmla="*/ 35600 h 35599"/>
                  <a:gd name="connsiteX1" fmla="*/ 23408 w 35575"/>
                  <a:gd name="connsiteY1" fmla="*/ 33504 h 35599"/>
                  <a:gd name="connsiteX2" fmla="*/ 2072 w 35575"/>
                  <a:gd name="connsiteY2" fmla="*/ 12168 h 35599"/>
                  <a:gd name="connsiteX3" fmla="*/ 2072 w 35575"/>
                  <a:gd name="connsiteY3" fmla="*/ 2072 h 35599"/>
                  <a:gd name="connsiteX4" fmla="*/ 12168 w 35575"/>
                  <a:gd name="connsiteY4" fmla="*/ 2072 h 35599"/>
                  <a:gd name="connsiteX5" fmla="*/ 33504 w 35575"/>
                  <a:gd name="connsiteY5" fmla="*/ 23408 h 35599"/>
                  <a:gd name="connsiteX6" fmla="*/ 33504 w 35575"/>
                  <a:gd name="connsiteY6" fmla="*/ 33504 h 35599"/>
                  <a:gd name="connsiteX7" fmla="*/ 28456 w 35575"/>
                  <a:gd name="connsiteY7" fmla="*/ 35600 h 35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575" h="35599">
                    <a:moveTo>
                      <a:pt x="28456" y="35600"/>
                    </a:moveTo>
                    <a:cubicBezTo>
                      <a:pt x="26646" y="35600"/>
                      <a:pt x="24836" y="34933"/>
                      <a:pt x="23408" y="33504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3504" y="23408"/>
                    </a:lnTo>
                    <a:cubicBezTo>
                      <a:pt x="36266" y="26170"/>
                      <a:pt x="36266" y="30742"/>
                      <a:pt x="33504" y="33504"/>
                    </a:cubicBezTo>
                    <a:cubicBezTo>
                      <a:pt x="32171" y="34838"/>
                      <a:pt x="30361" y="35600"/>
                      <a:pt x="28456" y="356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433" name="Grafik 220">
                <a:extLst>
                  <a:ext uri="{FF2B5EF4-FFF2-40B4-BE49-F238E27FC236}">
                    <a16:creationId xmlns:a16="http://schemas.microsoft.com/office/drawing/2014/main" id="{64D46BE6-5069-C138-1ED6-EDA893C5E8B9}"/>
                  </a:ext>
                </a:extLst>
              </p:cNvPr>
              <p:cNvGrpSpPr/>
              <p:nvPr/>
            </p:nvGrpSpPr>
            <p:grpSpPr bwMode="gray">
              <a:xfrm>
                <a:off x="5913595" y="3527869"/>
                <a:ext cx="79057" cy="79057"/>
                <a:chOff x="5913595" y="3527869"/>
                <a:chExt cx="79057" cy="79057"/>
              </a:xfrm>
              <a:grpFill/>
            </p:grpSpPr>
            <p:sp>
              <p:nvSpPr>
                <p:cNvPr id="445" name="Grafik 220">
                  <a:extLst>
                    <a:ext uri="{FF2B5EF4-FFF2-40B4-BE49-F238E27FC236}">
                      <a16:creationId xmlns:a16="http://schemas.microsoft.com/office/drawing/2014/main" id="{2B6541E4-7EB6-0159-D1BC-74E767A51F89}"/>
                    </a:ext>
                  </a:extLst>
                </p:cNvPr>
                <p:cNvSpPr/>
                <p:nvPr/>
              </p:nvSpPr>
              <p:spPr bwMode="gray">
                <a:xfrm>
                  <a:off x="5913595" y="3592639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6" name="Grafik 220">
                  <a:extLst>
                    <a:ext uri="{FF2B5EF4-FFF2-40B4-BE49-F238E27FC236}">
                      <a16:creationId xmlns:a16="http://schemas.microsoft.com/office/drawing/2014/main" id="{0F48CF85-D7C2-61F7-DE85-17641193CD40}"/>
                    </a:ext>
                  </a:extLst>
                </p:cNvPr>
                <p:cNvSpPr/>
                <p:nvPr/>
              </p:nvSpPr>
              <p:spPr bwMode="gray">
                <a:xfrm>
                  <a:off x="5913595" y="3527869"/>
                  <a:ext cx="14287" cy="79057"/>
                </a:xfrm>
                <a:custGeom>
                  <a:avLst/>
                  <a:gdLst>
                    <a:gd name="connsiteX0" fmla="*/ 7144 w 14287"/>
                    <a:gd name="connsiteY0" fmla="*/ 79057 h 79057"/>
                    <a:gd name="connsiteX1" fmla="*/ 0 w 14287"/>
                    <a:gd name="connsiteY1" fmla="*/ 71914 h 79057"/>
                    <a:gd name="connsiteX2" fmla="*/ 0 w 14287"/>
                    <a:gd name="connsiteY2" fmla="*/ 7144 h 79057"/>
                    <a:gd name="connsiteX3" fmla="*/ 7144 w 14287"/>
                    <a:gd name="connsiteY3" fmla="*/ 0 h 79057"/>
                    <a:gd name="connsiteX4" fmla="*/ 14288 w 14287"/>
                    <a:gd name="connsiteY4" fmla="*/ 7144 h 79057"/>
                    <a:gd name="connsiteX5" fmla="*/ 14288 w 14287"/>
                    <a:gd name="connsiteY5" fmla="*/ 71914 h 79057"/>
                    <a:gd name="connsiteX6" fmla="*/ 7144 w 14287"/>
                    <a:gd name="connsiteY6" fmla="*/ 79057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79057">
                      <a:moveTo>
                        <a:pt x="7144" y="79057"/>
                      </a:moveTo>
                      <a:cubicBezTo>
                        <a:pt x="3239" y="79057"/>
                        <a:pt x="0" y="75819"/>
                        <a:pt x="0" y="7191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1914"/>
                      </a:lnTo>
                      <a:cubicBezTo>
                        <a:pt x="14288" y="75819"/>
                        <a:pt x="11049" y="79057"/>
                        <a:pt x="7144" y="7905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34" name="Grafik 220">
                <a:extLst>
                  <a:ext uri="{FF2B5EF4-FFF2-40B4-BE49-F238E27FC236}">
                    <a16:creationId xmlns:a16="http://schemas.microsoft.com/office/drawing/2014/main" id="{E8FD0DD9-4EF4-F4A2-A800-8FBA1497CAFC}"/>
                  </a:ext>
                </a:extLst>
              </p:cNvPr>
              <p:cNvSpPr/>
              <p:nvPr/>
            </p:nvSpPr>
            <p:spPr bwMode="gray">
              <a:xfrm>
                <a:off x="5935622" y="3554372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835" y="29789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5" name="Grafik 220">
                <a:extLst>
                  <a:ext uri="{FF2B5EF4-FFF2-40B4-BE49-F238E27FC236}">
                    <a16:creationId xmlns:a16="http://schemas.microsoft.com/office/drawing/2014/main" id="{FDC7EB7A-8C6B-6DCF-78AC-4DE41C95C0A0}"/>
                  </a:ext>
                </a:extLst>
              </p:cNvPr>
              <p:cNvSpPr/>
              <p:nvPr/>
            </p:nvSpPr>
            <p:spPr bwMode="gray">
              <a:xfrm>
                <a:off x="5968007" y="3521987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835" y="29789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6" name="Grafik 220">
                <a:extLst>
                  <a:ext uri="{FF2B5EF4-FFF2-40B4-BE49-F238E27FC236}">
                    <a16:creationId xmlns:a16="http://schemas.microsoft.com/office/drawing/2014/main" id="{6FA79F03-9394-03AD-4303-D0A5FE9203B5}"/>
                  </a:ext>
                </a:extLst>
              </p:cNvPr>
              <p:cNvSpPr/>
              <p:nvPr/>
            </p:nvSpPr>
            <p:spPr bwMode="gray">
              <a:xfrm>
                <a:off x="6000487" y="3489602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739" y="29789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7" name="Grafik 220">
                <a:extLst>
                  <a:ext uri="{FF2B5EF4-FFF2-40B4-BE49-F238E27FC236}">
                    <a16:creationId xmlns:a16="http://schemas.microsoft.com/office/drawing/2014/main" id="{62143F9A-6575-787C-A668-16C43CCF625E}"/>
                  </a:ext>
                </a:extLst>
              </p:cNvPr>
              <p:cNvSpPr/>
              <p:nvPr/>
            </p:nvSpPr>
            <p:spPr bwMode="gray">
              <a:xfrm>
                <a:off x="6032872" y="3452073"/>
                <a:ext cx="35575" cy="35599"/>
              </a:xfrm>
              <a:custGeom>
                <a:avLst/>
                <a:gdLst>
                  <a:gd name="connsiteX0" fmla="*/ 7120 w 35575"/>
                  <a:gd name="connsiteY0" fmla="*/ 35600 h 35599"/>
                  <a:gd name="connsiteX1" fmla="*/ 2072 w 35575"/>
                  <a:gd name="connsiteY1" fmla="*/ 33504 h 35599"/>
                  <a:gd name="connsiteX2" fmla="*/ 2072 w 35575"/>
                  <a:gd name="connsiteY2" fmla="*/ 23408 h 35599"/>
                  <a:gd name="connsiteX3" fmla="*/ 23408 w 35575"/>
                  <a:gd name="connsiteY3" fmla="*/ 2072 h 35599"/>
                  <a:gd name="connsiteX4" fmla="*/ 33504 w 35575"/>
                  <a:gd name="connsiteY4" fmla="*/ 2072 h 35599"/>
                  <a:gd name="connsiteX5" fmla="*/ 33504 w 35575"/>
                  <a:gd name="connsiteY5" fmla="*/ 12168 h 35599"/>
                  <a:gd name="connsiteX6" fmla="*/ 12168 w 35575"/>
                  <a:gd name="connsiteY6" fmla="*/ 33504 h 35599"/>
                  <a:gd name="connsiteX7" fmla="*/ 7120 w 35575"/>
                  <a:gd name="connsiteY7" fmla="*/ 35600 h 35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575" h="35599">
                    <a:moveTo>
                      <a:pt x="7120" y="35600"/>
                    </a:moveTo>
                    <a:cubicBezTo>
                      <a:pt x="5310" y="35600"/>
                      <a:pt x="3500" y="34933"/>
                      <a:pt x="2072" y="33504"/>
                    </a:cubicBezTo>
                    <a:cubicBezTo>
                      <a:pt x="-691" y="30742"/>
                      <a:pt x="-691" y="26170"/>
                      <a:pt x="2072" y="23408"/>
                    </a:cubicBezTo>
                    <a:lnTo>
                      <a:pt x="23408" y="2072"/>
                    </a:lnTo>
                    <a:cubicBezTo>
                      <a:pt x="26170" y="-691"/>
                      <a:pt x="30742" y="-691"/>
                      <a:pt x="33504" y="2072"/>
                    </a:cubicBezTo>
                    <a:cubicBezTo>
                      <a:pt x="36266" y="4834"/>
                      <a:pt x="36266" y="9406"/>
                      <a:pt x="33504" y="12168"/>
                    </a:cubicBezTo>
                    <a:lnTo>
                      <a:pt x="12168" y="33504"/>
                    </a:lnTo>
                    <a:cubicBezTo>
                      <a:pt x="10739" y="34838"/>
                      <a:pt x="8930" y="35600"/>
                      <a:pt x="7120" y="356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438" name="Grafik 220">
                <a:extLst>
                  <a:ext uri="{FF2B5EF4-FFF2-40B4-BE49-F238E27FC236}">
                    <a16:creationId xmlns:a16="http://schemas.microsoft.com/office/drawing/2014/main" id="{6C3B7C2D-AF4B-BDA5-5748-35A6A24E07AC}"/>
                  </a:ext>
                </a:extLst>
              </p:cNvPr>
              <p:cNvGrpSpPr/>
              <p:nvPr/>
            </p:nvGrpSpPr>
            <p:grpSpPr bwMode="gray">
              <a:xfrm>
                <a:off x="6130003" y="3311365"/>
                <a:ext cx="79059" cy="79057"/>
                <a:chOff x="6130003" y="3311365"/>
                <a:chExt cx="79059" cy="79057"/>
              </a:xfrm>
              <a:grpFill/>
            </p:grpSpPr>
            <p:sp>
              <p:nvSpPr>
                <p:cNvPr id="443" name="Grafik 220">
                  <a:extLst>
                    <a:ext uri="{FF2B5EF4-FFF2-40B4-BE49-F238E27FC236}">
                      <a16:creationId xmlns:a16="http://schemas.microsoft.com/office/drawing/2014/main" id="{E810DE3C-FF0B-715C-2194-ECCE87FDADE5}"/>
                    </a:ext>
                  </a:extLst>
                </p:cNvPr>
                <p:cNvSpPr/>
                <p:nvPr/>
              </p:nvSpPr>
              <p:spPr bwMode="gray">
                <a:xfrm>
                  <a:off x="6130003" y="3311365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4" name="Grafik 220">
                  <a:extLst>
                    <a:ext uri="{FF2B5EF4-FFF2-40B4-BE49-F238E27FC236}">
                      <a16:creationId xmlns:a16="http://schemas.microsoft.com/office/drawing/2014/main" id="{72063B58-4406-C3E8-F0D7-013950AE638C}"/>
                    </a:ext>
                  </a:extLst>
                </p:cNvPr>
                <p:cNvSpPr/>
                <p:nvPr/>
              </p:nvSpPr>
              <p:spPr bwMode="gray">
                <a:xfrm>
                  <a:off x="6194773" y="3311365"/>
                  <a:ext cx="14289" cy="79057"/>
                </a:xfrm>
                <a:custGeom>
                  <a:avLst/>
                  <a:gdLst>
                    <a:gd name="connsiteX0" fmla="*/ 7144 w 14289"/>
                    <a:gd name="connsiteY0" fmla="*/ 79058 h 79057"/>
                    <a:gd name="connsiteX1" fmla="*/ 0 w 14289"/>
                    <a:gd name="connsiteY1" fmla="*/ 71914 h 79057"/>
                    <a:gd name="connsiteX2" fmla="*/ 0 w 14289"/>
                    <a:gd name="connsiteY2" fmla="*/ 7144 h 79057"/>
                    <a:gd name="connsiteX3" fmla="*/ 7144 w 14289"/>
                    <a:gd name="connsiteY3" fmla="*/ 0 h 79057"/>
                    <a:gd name="connsiteX4" fmla="*/ 14288 w 14289"/>
                    <a:gd name="connsiteY4" fmla="*/ 7144 h 79057"/>
                    <a:gd name="connsiteX5" fmla="*/ 14288 w 14289"/>
                    <a:gd name="connsiteY5" fmla="*/ 71914 h 79057"/>
                    <a:gd name="connsiteX6" fmla="*/ 7144 w 14289"/>
                    <a:gd name="connsiteY6" fmla="*/ 79058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9" h="79057">
                      <a:moveTo>
                        <a:pt x="7144" y="79058"/>
                      </a:moveTo>
                      <a:cubicBezTo>
                        <a:pt x="3239" y="79058"/>
                        <a:pt x="0" y="75819"/>
                        <a:pt x="0" y="7191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1914"/>
                      </a:lnTo>
                      <a:cubicBezTo>
                        <a:pt x="14383" y="75914"/>
                        <a:pt x="11144" y="79058"/>
                        <a:pt x="7144" y="7905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39" name="Grafik 220">
                <a:extLst>
                  <a:ext uri="{FF2B5EF4-FFF2-40B4-BE49-F238E27FC236}">
                    <a16:creationId xmlns:a16="http://schemas.microsoft.com/office/drawing/2014/main" id="{5EBDEC83-2FAB-DF0F-4894-F051B1A209E1}"/>
                  </a:ext>
                </a:extLst>
              </p:cNvPr>
              <p:cNvSpPr/>
              <p:nvPr/>
            </p:nvSpPr>
            <p:spPr bwMode="gray">
              <a:xfrm>
                <a:off x="6156602" y="3333487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739" y="29694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0" name="Grafik 220">
                <a:extLst>
                  <a:ext uri="{FF2B5EF4-FFF2-40B4-BE49-F238E27FC236}">
                    <a16:creationId xmlns:a16="http://schemas.microsoft.com/office/drawing/2014/main" id="{4BD88532-307E-8214-4775-59617CC29D69}"/>
                  </a:ext>
                </a:extLst>
              </p:cNvPr>
              <p:cNvSpPr/>
              <p:nvPr/>
            </p:nvSpPr>
            <p:spPr bwMode="gray">
              <a:xfrm>
                <a:off x="6124217" y="3365872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739" y="29789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1" name="Grafik 220">
                <a:extLst>
                  <a:ext uri="{FF2B5EF4-FFF2-40B4-BE49-F238E27FC236}">
                    <a16:creationId xmlns:a16="http://schemas.microsoft.com/office/drawing/2014/main" id="{9FA8995C-751B-540E-6F2C-6A1E6FDACE1B}"/>
                  </a:ext>
                </a:extLst>
              </p:cNvPr>
              <p:cNvSpPr/>
              <p:nvPr/>
            </p:nvSpPr>
            <p:spPr bwMode="gray">
              <a:xfrm>
                <a:off x="6091737" y="3398257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835" y="29789"/>
                      <a:pt x="9025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2" name="Grafik 220">
                <a:extLst>
                  <a:ext uri="{FF2B5EF4-FFF2-40B4-BE49-F238E27FC236}">
                    <a16:creationId xmlns:a16="http://schemas.microsoft.com/office/drawing/2014/main" id="{ECA5F861-3C22-2732-ED56-3E1386BD52A2}"/>
                  </a:ext>
                </a:extLst>
              </p:cNvPr>
              <p:cNvSpPr/>
              <p:nvPr/>
            </p:nvSpPr>
            <p:spPr bwMode="gray">
              <a:xfrm>
                <a:off x="6054208" y="3430642"/>
                <a:ext cx="35575" cy="35599"/>
              </a:xfrm>
              <a:custGeom>
                <a:avLst/>
                <a:gdLst>
                  <a:gd name="connsiteX0" fmla="*/ 7120 w 35575"/>
                  <a:gd name="connsiteY0" fmla="*/ 35600 h 35599"/>
                  <a:gd name="connsiteX1" fmla="*/ 2072 w 35575"/>
                  <a:gd name="connsiteY1" fmla="*/ 33504 h 35599"/>
                  <a:gd name="connsiteX2" fmla="*/ 2072 w 35575"/>
                  <a:gd name="connsiteY2" fmla="*/ 23408 h 35599"/>
                  <a:gd name="connsiteX3" fmla="*/ 23408 w 35575"/>
                  <a:gd name="connsiteY3" fmla="*/ 2072 h 35599"/>
                  <a:gd name="connsiteX4" fmla="*/ 33504 w 35575"/>
                  <a:gd name="connsiteY4" fmla="*/ 2072 h 35599"/>
                  <a:gd name="connsiteX5" fmla="*/ 33504 w 35575"/>
                  <a:gd name="connsiteY5" fmla="*/ 12168 h 35599"/>
                  <a:gd name="connsiteX6" fmla="*/ 12168 w 35575"/>
                  <a:gd name="connsiteY6" fmla="*/ 33504 h 35599"/>
                  <a:gd name="connsiteX7" fmla="*/ 7120 w 35575"/>
                  <a:gd name="connsiteY7" fmla="*/ 35600 h 35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575" h="35599">
                    <a:moveTo>
                      <a:pt x="7120" y="35600"/>
                    </a:moveTo>
                    <a:cubicBezTo>
                      <a:pt x="5310" y="35600"/>
                      <a:pt x="3500" y="34933"/>
                      <a:pt x="2072" y="33504"/>
                    </a:cubicBezTo>
                    <a:cubicBezTo>
                      <a:pt x="-691" y="30742"/>
                      <a:pt x="-691" y="26170"/>
                      <a:pt x="2072" y="23408"/>
                    </a:cubicBezTo>
                    <a:lnTo>
                      <a:pt x="23408" y="2072"/>
                    </a:lnTo>
                    <a:cubicBezTo>
                      <a:pt x="26170" y="-691"/>
                      <a:pt x="30742" y="-691"/>
                      <a:pt x="33504" y="2072"/>
                    </a:cubicBezTo>
                    <a:cubicBezTo>
                      <a:pt x="36266" y="4834"/>
                      <a:pt x="36266" y="9406"/>
                      <a:pt x="33504" y="12168"/>
                    </a:cubicBezTo>
                    <a:lnTo>
                      <a:pt x="12168" y="33504"/>
                    </a:lnTo>
                    <a:cubicBezTo>
                      <a:pt x="10739" y="34933"/>
                      <a:pt x="8930" y="35600"/>
                      <a:pt x="7120" y="356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451" name="Grafik 222">
            <a:extLst>
              <a:ext uri="{FF2B5EF4-FFF2-40B4-BE49-F238E27FC236}">
                <a16:creationId xmlns:a16="http://schemas.microsoft.com/office/drawing/2014/main" id="{53CA1053-C60A-F030-0F99-C5A8F272C933}"/>
              </a:ext>
            </a:extLst>
          </p:cNvPr>
          <p:cNvGrpSpPr/>
          <p:nvPr/>
        </p:nvGrpSpPr>
        <p:grpSpPr bwMode="gray">
          <a:xfrm>
            <a:off x="7536202" y="240224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452" name="Grafik 222">
              <a:extLst>
                <a:ext uri="{FF2B5EF4-FFF2-40B4-BE49-F238E27FC236}">
                  <a16:creationId xmlns:a16="http://schemas.microsoft.com/office/drawing/2014/main" id="{74E0B16C-9ACA-F58A-9FEB-08D614618B8A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3" name="Grafik 222">
              <a:extLst>
                <a:ext uri="{FF2B5EF4-FFF2-40B4-BE49-F238E27FC236}">
                  <a16:creationId xmlns:a16="http://schemas.microsoft.com/office/drawing/2014/main" id="{18DA05A8-CBE9-619C-E266-9600F79F5B3C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4" name="Grafik 222">
              <a:extLst>
                <a:ext uri="{FF2B5EF4-FFF2-40B4-BE49-F238E27FC236}">
                  <a16:creationId xmlns:a16="http://schemas.microsoft.com/office/drawing/2014/main" id="{8D825471-7895-63E7-8157-6CD8532F9B4B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5" name="Grafik 222">
              <a:extLst>
                <a:ext uri="{FF2B5EF4-FFF2-40B4-BE49-F238E27FC236}">
                  <a16:creationId xmlns:a16="http://schemas.microsoft.com/office/drawing/2014/main" id="{101F9646-1672-919C-4F72-B569EAD9389F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6" name="Grafik 222">
              <a:extLst>
                <a:ext uri="{FF2B5EF4-FFF2-40B4-BE49-F238E27FC236}">
                  <a16:creationId xmlns:a16="http://schemas.microsoft.com/office/drawing/2014/main" id="{2AA4C812-B698-FBAF-D573-C5ECEF88FD22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457" name="Grafik 222">
              <a:extLst>
                <a:ext uri="{FF2B5EF4-FFF2-40B4-BE49-F238E27FC236}">
                  <a16:creationId xmlns:a16="http://schemas.microsoft.com/office/drawing/2014/main" id="{6C9E7FED-3707-9F5B-0482-E9EB93D7AD29}"/>
                </a:ext>
              </a:extLst>
            </p:cNvPr>
            <p:cNvGrpSpPr/>
            <p:nvPr/>
          </p:nvGrpSpPr>
          <p:grpSpPr bwMode="gray">
            <a:xfrm>
              <a:off x="5931074" y="3321486"/>
              <a:ext cx="260556" cy="275343"/>
              <a:chOff x="5931074" y="3321486"/>
              <a:chExt cx="260556" cy="275343"/>
            </a:xfrm>
            <a:grpFill/>
          </p:grpSpPr>
          <p:grpSp>
            <p:nvGrpSpPr>
              <p:cNvPr id="458" name="Grafik 222">
                <a:extLst>
                  <a:ext uri="{FF2B5EF4-FFF2-40B4-BE49-F238E27FC236}">
                    <a16:creationId xmlns:a16="http://schemas.microsoft.com/office/drawing/2014/main" id="{1CF510AE-C80F-384E-D4DF-D0747FE5AE2D}"/>
                  </a:ext>
                </a:extLst>
              </p:cNvPr>
              <p:cNvGrpSpPr/>
              <p:nvPr/>
            </p:nvGrpSpPr>
            <p:grpSpPr bwMode="gray">
              <a:xfrm>
                <a:off x="6014394" y="3321486"/>
                <a:ext cx="76080" cy="76080"/>
                <a:chOff x="6014394" y="3321486"/>
                <a:chExt cx="76080" cy="76080"/>
              </a:xfrm>
              <a:grpFill/>
            </p:grpSpPr>
            <p:sp>
              <p:nvSpPr>
                <p:cNvPr id="465" name="Grafik 222">
                  <a:extLst>
                    <a:ext uri="{FF2B5EF4-FFF2-40B4-BE49-F238E27FC236}">
                      <a16:creationId xmlns:a16="http://schemas.microsoft.com/office/drawing/2014/main" id="{55509AD4-1361-2BC1-084D-1713F6E0DC70}"/>
                    </a:ext>
                  </a:extLst>
                </p:cNvPr>
                <p:cNvSpPr/>
                <p:nvPr/>
              </p:nvSpPr>
              <p:spPr bwMode="gray">
                <a:xfrm>
                  <a:off x="6014394" y="3321486"/>
                  <a:ext cx="76057" cy="76080"/>
                </a:xfrm>
                <a:custGeom>
                  <a:avLst/>
                  <a:gdLst>
                    <a:gd name="connsiteX0" fmla="*/ 68937 w 76057"/>
                    <a:gd name="connsiteY0" fmla="*/ 76081 h 76080"/>
                    <a:gd name="connsiteX1" fmla="*/ 63889 w 76057"/>
                    <a:gd name="connsiteY1" fmla="*/ 73985 h 76080"/>
                    <a:gd name="connsiteX2" fmla="*/ 2072 w 76057"/>
                    <a:gd name="connsiteY2" fmla="*/ 12168 h 76080"/>
                    <a:gd name="connsiteX3" fmla="*/ 2072 w 76057"/>
                    <a:gd name="connsiteY3" fmla="*/ 2072 h 76080"/>
                    <a:gd name="connsiteX4" fmla="*/ 12168 w 76057"/>
                    <a:gd name="connsiteY4" fmla="*/ 2072 h 76080"/>
                    <a:gd name="connsiteX5" fmla="*/ 73985 w 76057"/>
                    <a:gd name="connsiteY5" fmla="*/ 63889 h 76080"/>
                    <a:gd name="connsiteX6" fmla="*/ 73985 w 76057"/>
                    <a:gd name="connsiteY6" fmla="*/ 73985 h 76080"/>
                    <a:gd name="connsiteX7" fmla="*/ 68937 w 76057"/>
                    <a:gd name="connsiteY7" fmla="*/ 76081 h 760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6057" h="76080">
                      <a:moveTo>
                        <a:pt x="68937" y="76081"/>
                      </a:moveTo>
                      <a:cubicBezTo>
                        <a:pt x="67127" y="76081"/>
                        <a:pt x="65318" y="75414"/>
                        <a:pt x="63889" y="7398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3985" y="63889"/>
                      </a:lnTo>
                      <a:cubicBezTo>
                        <a:pt x="76748" y="66651"/>
                        <a:pt x="76748" y="71223"/>
                        <a:pt x="73985" y="73985"/>
                      </a:cubicBezTo>
                      <a:cubicBezTo>
                        <a:pt x="72557" y="75319"/>
                        <a:pt x="70747" y="76081"/>
                        <a:pt x="68937" y="7608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66" name="Grafik 222">
                  <a:extLst>
                    <a:ext uri="{FF2B5EF4-FFF2-40B4-BE49-F238E27FC236}">
                      <a16:creationId xmlns:a16="http://schemas.microsoft.com/office/drawing/2014/main" id="{269129F4-E1A3-1C98-8D46-1BA0BA32CF33}"/>
                    </a:ext>
                  </a:extLst>
                </p:cNvPr>
                <p:cNvSpPr/>
                <p:nvPr/>
              </p:nvSpPr>
              <p:spPr bwMode="gray">
                <a:xfrm>
                  <a:off x="6037325" y="3383279"/>
                  <a:ext cx="53149" cy="14287"/>
                </a:xfrm>
                <a:custGeom>
                  <a:avLst/>
                  <a:gdLst>
                    <a:gd name="connsiteX0" fmla="*/ 46006 w 53149"/>
                    <a:gd name="connsiteY0" fmla="*/ 14288 h 14287"/>
                    <a:gd name="connsiteX1" fmla="*/ 7144 w 53149"/>
                    <a:gd name="connsiteY1" fmla="*/ 14288 h 14287"/>
                    <a:gd name="connsiteX2" fmla="*/ 0 w 53149"/>
                    <a:gd name="connsiteY2" fmla="*/ 7144 h 14287"/>
                    <a:gd name="connsiteX3" fmla="*/ 7144 w 53149"/>
                    <a:gd name="connsiteY3" fmla="*/ 0 h 14287"/>
                    <a:gd name="connsiteX4" fmla="*/ 46006 w 53149"/>
                    <a:gd name="connsiteY4" fmla="*/ 0 h 14287"/>
                    <a:gd name="connsiteX5" fmla="*/ 53150 w 53149"/>
                    <a:gd name="connsiteY5" fmla="*/ 7144 h 14287"/>
                    <a:gd name="connsiteX6" fmla="*/ 46006 w 5314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3149" h="14287">
                      <a:moveTo>
                        <a:pt x="4600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46006" y="0"/>
                      </a:lnTo>
                      <a:cubicBezTo>
                        <a:pt x="49911" y="0"/>
                        <a:pt x="53150" y="3239"/>
                        <a:pt x="53150" y="7144"/>
                      </a:cubicBezTo>
                      <a:cubicBezTo>
                        <a:pt x="53150" y="11049"/>
                        <a:pt x="49911" y="14288"/>
                        <a:pt x="4600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67" name="Grafik 222">
                  <a:extLst>
                    <a:ext uri="{FF2B5EF4-FFF2-40B4-BE49-F238E27FC236}">
                      <a16:creationId xmlns:a16="http://schemas.microsoft.com/office/drawing/2014/main" id="{5D20B27D-F112-39BF-50B2-61020AB0EDB9}"/>
                    </a:ext>
                  </a:extLst>
                </p:cNvPr>
                <p:cNvSpPr/>
                <p:nvPr/>
              </p:nvSpPr>
              <p:spPr bwMode="gray">
                <a:xfrm>
                  <a:off x="6076187" y="3344417"/>
                  <a:ext cx="14287" cy="53149"/>
                </a:xfrm>
                <a:custGeom>
                  <a:avLst/>
                  <a:gdLst>
                    <a:gd name="connsiteX0" fmla="*/ 7144 w 14287"/>
                    <a:gd name="connsiteY0" fmla="*/ 53150 h 53149"/>
                    <a:gd name="connsiteX1" fmla="*/ 0 w 14287"/>
                    <a:gd name="connsiteY1" fmla="*/ 46006 h 53149"/>
                    <a:gd name="connsiteX2" fmla="*/ 0 w 14287"/>
                    <a:gd name="connsiteY2" fmla="*/ 7144 h 53149"/>
                    <a:gd name="connsiteX3" fmla="*/ 7144 w 14287"/>
                    <a:gd name="connsiteY3" fmla="*/ 0 h 53149"/>
                    <a:gd name="connsiteX4" fmla="*/ 14288 w 14287"/>
                    <a:gd name="connsiteY4" fmla="*/ 7144 h 53149"/>
                    <a:gd name="connsiteX5" fmla="*/ 14288 w 14287"/>
                    <a:gd name="connsiteY5" fmla="*/ 46006 h 53149"/>
                    <a:gd name="connsiteX6" fmla="*/ 7144 w 14287"/>
                    <a:gd name="connsiteY6" fmla="*/ 53150 h 531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53149">
                      <a:moveTo>
                        <a:pt x="7144" y="53150"/>
                      </a:moveTo>
                      <a:cubicBezTo>
                        <a:pt x="3239" y="53150"/>
                        <a:pt x="0" y="49911"/>
                        <a:pt x="0" y="46006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46006"/>
                      </a:lnTo>
                      <a:cubicBezTo>
                        <a:pt x="14288" y="49911"/>
                        <a:pt x="11049" y="53150"/>
                        <a:pt x="7144" y="531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59" name="Grafik 222">
                <a:extLst>
                  <a:ext uri="{FF2B5EF4-FFF2-40B4-BE49-F238E27FC236}">
                    <a16:creationId xmlns:a16="http://schemas.microsoft.com/office/drawing/2014/main" id="{19236C33-5B12-682C-55AF-A422BC505229}"/>
                  </a:ext>
                </a:extLst>
              </p:cNvPr>
              <p:cNvGrpSpPr/>
              <p:nvPr/>
            </p:nvGrpSpPr>
            <p:grpSpPr bwMode="gray">
              <a:xfrm>
                <a:off x="6014394" y="3520725"/>
                <a:ext cx="76080" cy="76104"/>
                <a:chOff x="6014394" y="3520725"/>
                <a:chExt cx="76080" cy="76104"/>
              </a:xfrm>
              <a:grpFill/>
            </p:grpSpPr>
            <p:sp>
              <p:nvSpPr>
                <p:cNvPr id="462" name="Grafik 222">
                  <a:extLst>
                    <a:ext uri="{FF2B5EF4-FFF2-40B4-BE49-F238E27FC236}">
                      <a16:creationId xmlns:a16="http://schemas.microsoft.com/office/drawing/2014/main" id="{486A2AAF-782A-CC6B-F205-B663099BC25D}"/>
                    </a:ext>
                  </a:extLst>
                </p:cNvPr>
                <p:cNvSpPr/>
                <p:nvPr/>
              </p:nvSpPr>
              <p:spPr bwMode="gray">
                <a:xfrm>
                  <a:off x="6014394" y="3520749"/>
                  <a:ext cx="76057" cy="76080"/>
                </a:xfrm>
                <a:custGeom>
                  <a:avLst/>
                  <a:gdLst>
                    <a:gd name="connsiteX0" fmla="*/ 7120 w 76057"/>
                    <a:gd name="connsiteY0" fmla="*/ 76081 h 76080"/>
                    <a:gd name="connsiteX1" fmla="*/ 2072 w 76057"/>
                    <a:gd name="connsiteY1" fmla="*/ 73985 h 76080"/>
                    <a:gd name="connsiteX2" fmla="*/ 2072 w 76057"/>
                    <a:gd name="connsiteY2" fmla="*/ 63889 h 76080"/>
                    <a:gd name="connsiteX3" fmla="*/ 63889 w 76057"/>
                    <a:gd name="connsiteY3" fmla="*/ 2072 h 76080"/>
                    <a:gd name="connsiteX4" fmla="*/ 73985 w 76057"/>
                    <a:gd name="connsiteY4" fmla="*/ 2072 h 76080"/>
                    <a:gd name="connsiteX5" fmla="*/ 73985 w 76057"/>
                    <a:gd name="connsiteY5" fmla="*/ 12168 h 76080"/>
                    <a:gd name="connsiteX6" fmla="*/ 12168 w 76057"/>
                    <a:gd name="connsiteY6" fmla="*/ 73985 h 76080"/>
                    <a:gd name="connsiteX7" fmla="*/ 7120 w 76057"/>
                    <a:gd name="connsiteY7" fmla="*/ 76081 h 760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6057" h="76080">
                      <a:moveTo>
                        <a:pt x="7120" y="76081"/>
                      </a:moveTo>
                      <a:cubicBezTo>
                        <a:pt x="5310" y="76081"/>
                        <a:pt x="3500" y="75414"/>
                        <a:pt x="2072" y="73985"/>
                      </a:cubicBezTo>
                      <a:cubicBezTo>
                        <a:pt x="-691" y="71223"/>
                        <a:pt x="-691" y="66651"/>
                        <a:pt x="2072" y="63889"/>
                      </a:cubicBezTo>
                      <a:lnTo>
                        <a:pt x="63889" y="2072"/>
                      </a:lnTo>
                      <a:cubicBezTo>
                        <a:pt x="66651" y="-691"/>
                        <a:pt x="71223" y="-691"/>
                        <a:pt x="73985" y="2072"/>
                      </a:cubicBezTo>
                      <a:cubicBezTo>
                        <a:pt x="76748" y="4834"/>
                        <a:pt x="76748" y="9406"/>
                        <a:pt x="73985" y="12168"/>
                      </a:cubicBezTo>
                      <a:lnTo>
                        <a:pt x="12168" y="73985"/>
                      </a:lnTo>
                      <a:cubicBezTo>
                        <a:pt x="10739" y="75414"/>
                        <a:pt x="8930" y="76081"/>
                        <a:pt x="7120" y="7608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63" name="Grafik 222">
                  <a:extLst>
                    <a:ext uri="{FF2B5EF4-FFF2-40B4-BE49-F238E27FC236}">
                      <a16:creationId xmlns:a16="http://schemas.microsoft.com/office/drawing/2014/main" id="{C0A7F099-913F-7722-D2D6-59D39E8D46C2}"/>
                    </a:ext>
                  </a:extLst>
                </p:cNvPr>
                <p:cNvSpPr/>
                <p:nvPr/>
              </p:nvSpPr>
              <p:spPr bwMode="gray">
                <a:xfrm>
                  <a:off x="6076187" y="3520725"/>
                  <a:ext cx="14287" cy="53149"/>
                </a:xfrm>
                <a:custGeom>
                  <a:avLst/>
                  <a:gdLst>
                    <a:gd name="connsiteX0" fmla="*/ 7144 w 14287"/>
                    <a:gd name="connsiteY0" fmla="*/ 53149 h 53149"/>
                    <a:gd name="connsiteX1" fmla="*/ 0 w 14287"/>
                    <a:gd name="connsiteY1" fmla="*/ 46006 h 53149"/>
                    <a:gd name="connsiteX2" fmla="*/ 0 w 14287"/>
                    <a:gd name="connsiteY2" fmla="*/ 7144 h 53149"/>
                    <a:gd name="connsiteX3" fmla="*/ 7144 w 14287"/>
                    <a:gd name="connsiteY3" fmla="*/ 0 h 53149"/>
                    <a:gd name="connsiteX4" fmla="*/ 14288 w 14287"/>
                    <a:gd name="connsiteY4" fmla="*/ 7144 h 53149"/>
                    <a:gd name="connsiteX5" fmla="*/ 14288 w 14287"/>
                    <a:gd name="connsiteY5" fmla="*/ 46006 h 53149"/>
                    <a:gd name="connsiteX6" fmla="*/ 7144 w 14287"/>
                    <a:gd name="connsiteY6" fmla="*/ 53149 h 531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53149">
                      <a:moveTo>
                        <a:pt x="7144" y="53149"/>
                      </a:moveTo>
                      <a:cubicBezTo>
                        <a:pt x="3239" y="53149"/>
                        <a:pt x="0" y="49911"/>
                        <a:pt x="0" y="4600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46006"/>
                      </a:lnTo>
                      <a:cubicBezTo>
                        <a:pt x="14288" y="50006"/>
                        <a:pt x="11049" y="53149"/>
                        <a:pt x="7144" y="5314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64" name="Grafik 222">
                  <a:extLst>
                    <a:ext uri="{FF2B5EF4-FFF2-40B4-BE49-F238E27FC236}">
                      <a16:creationId xmlns:a16="http://schemas.microsoft.com/office/drawing/2014/main" id="{A31BEF4D-19C5-99AC-711F-14DA1A7922A2}"/>
                    </a:ext>
                  </a:extLst>
                </p:cNvPr>
                <p:cNvSpPr/>
                <p:nvPr/>
              </p:nvSpPr>
              <p:spPr bwMode="gray">
                <a:xfrm>
                  <a:off x="6037325" y="3520725"/>
                  <a:ext cx="53149" cy="14287"/>
                </a:xfrm>
                <a:custGeom>
                  <a:avLst/>
                  <a:gdLst>
                    <a:gd name="connsiteX0" fmla="*/ 46006 w 53149"/>
                    <a:gd name="connsiteY0" fmla="*/ 14288 h 14287"/>
                    <a:gd name="connsiteX1" fmla="*/ 7144 w 53149"/>
                    <a:gd name="connsiteY1" fmla="*/ 14288 h 14287"/>
                    <a:gd name="connsiteX2" fmla="*/ 0 w 53149"/>
                    <a:gd name="connsiteY2" fmla="*/ 7144 h 14287"/>
                    <a:gd name="connsiteX3" fmla="*/ 7144 w 53149"/>
                    <a:gd name="connsiteY3" fmla="*/ 0 h 14287"/>
                    <a:gd name="connsiteX4" fmla="*/ 46006 w 53149"/>
                    <a:gd name="connsiteY4" fmla="*/ 0 h 14287"/>
                    <a:gd name="connsiteX5" fmla="*/ 53150 w 53149"/>
                    <a:gd name="connsiteY5" fmla="*/ 7144 h 14287"/>
                    <a:gd name="connsiteX6" fmla="*/ 46006 w 5314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3149" h="14287">
                      <a:moveTo>
                        <a:pt x="4600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46006" y="0"/>
                      </a:lnTo>
                      <a:cubicBezTo>
                        <a:pt x="49911" y="0"/>
                        <a:pt x="53150" y="3239"/>
                        <a:pt x="53150" y="7144"/>
                      </a:cubicBezTo>
                      <a:cubicBezTo>
                        <a:pt x="53150" y="11049"/>
                        <a:pt x="49911" y="14288"/>
                        <a:pt x="4600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60" name="Grafik 222">
                <a:extLst>
                  <a:ext uri="{FF2B5EF4-FFF2-40B4-BE49-F238E27FC236}">
                    <a16:creationId xmlns:a16="http://schemas.microsoft.com/office/drawing/2014/main" id="{BE47CC08-4440-7166-A07F-8FE2D2F6174C}"/>
                  </a:ext>
                </a:extLst>
              </p:cNvPr>
              <p:cNvSpPr/>
              <p:nvPr/>
            </p:nvSpPr>
            <p:spPr bwMode="gray">
              <a:xfrm>
                <a:off x="5931074" y="3376040"/>
                <a:ext cx="62912" cy="165925"/>
              </a:xfrm>
              <a:custGeom>
                <a:avLst/>
                <a:gdLst>
                  <a:gd name="connsiteX0" fmla="*/ 48720 w 62912"/>
                  <a:gd name="connsiteY0" fmla="*/ 165926 h 165925"/>
                  <a:gd name="connsiteX1" fmla="*/ 48435 w 62912"/>
                  <a:gd name="connsiteY1" fmla="*/ 165926 h 165925"/>
                  <a:gd name="connsiteX2" fmla="*/ 31480 w 62912"/>
                  <a:gd name="connsiteY2" fmla="*/ 165830 h 165925"/>
                  <a:gd name="connsiteX3" fmla="*/ 31194 w 62912"/>
                  <a:gd name="connsiteY3" fmla="*/ 165830 h 165925"/>
                  <a:gd name="connsiteX4" fmla="*/ 16145 w 62912"/>
                  <a:gd name="connsiteY4" fmla="*/ 156019 h 165925"/>
                  <a:gd name="connsiteX5" fmla="*/ 16145 w 62912"/>
                  <a:gd name="connsiteY5" fmla="*/ 9715 h 165925"/>
                  <a:gd name="connsiteX6" fmla="*/ 31480 w 62912"/>
                  <a:gd name="connsiteY6" fmla="*/ 0 h 165925"/>
                  <a:gd name="connsiteX7" fmla="*/ 48435 w 62912"/>
                  <a:gd name="connsiteY7" fmla="*/ 0 h 165925"/>
                  <a:gd name="connsiteX8" fmla="*/ 62817 w 62912"/>
                  <a:gd name="connsiteY8" fmla="*/ 14383 h 165925"/>
                  <a:gd name="connsiteX9" fmla="*/ 62817 w 62912"/>
                  <a:gd name="connsiteY9" fmla="*/ 43148 h 165925"/>
                  <a:gd name="connsiteX10" fmla="*/ 48435 w 62912"/>
                  <a:gd name="connsiteY10" fmla="*/ 57531 h 165925"/>
                  <a:gd name="connsiteX11" fmla="*/ 33957 w 62912"/>
                  <a:gd name="connsiteY11" fmla="*/ 57531 h 165925"/>
                  <a:gd name="connsiteX12" fmla="*/ 33385 w 62912"/>
                  <a:gd name="connsiteY12" fmla="*/ 107918 h 165925"/>
                  <a:gd name="connsiteX13" fmla="*/ 48530 w 62912"/>
                  <a:gd name="connsiteY13" fmla="*/ 108394 h 165925"/>
                  <a:gd name="connsiteX14" fmla="*/ 62913 w 62912"/>
                  <a:gd name="connsiteY14" fmla="*/ 122777 h 165925"/>
                  <a:gd name="connsiteX15" fmla="*/ 62913 w 62912"/>
                  <a:gd name="connsiteY15" fmla="*/ 151543 h 165925"/>
                  <a:gd name="connsiteX16" fmla="*/ 58626 w 62912"/>
                  <a:gd name="connsiteY16" fmla="*/ 161830 h 165925"/>
                  <a:gd name="connsiteX17" fmla="*/ 48720 w 62912"/>
                  <a:gd name="connsiteY17" fmla="*/ 165926 h 165925"/>
                  <a:gd name="connsiteX18" fmla="*/ 31290 w 62912"/>
                  <a:gd name="connsiteY18" fmla="*/ 151638 h 165925"/>
                  <a:gd name="connsiteX19" fmla="*/ 48530 w 62912"/>
                  <a:gd name="connsiteY19" fmla="*/ 151733 h 165925"/>
                  <a:gd name="connsiteX20" fmla="*/ 48625 w 62912"/>
                  <a:gd name="connsiteY20" fmla="*/ 151638 h 165925"/>
                  <a:gd name="connsiteX21" fmla="*/ 48625 w 62912"/>
                  <a:gd name="connsiteY21" fmla="*/ 122873 h 165925"/>
                  <a:gd name="connsiteX22" fmla="*/ 34052 w 62912"/>
                  <a:gd name="connsiteY22" fmla="*/ 122777 h 165925"/>
                  <a:gd name="connsiteX23" fmla="*/ 19479 w 62912"/>
                  <a:gd name="connsiteY23" fmla="*/ 111252 h 165925"/>
                  <a:gd name="connsiteX24" fmla="*/ 19479 w 62912"/>
                  <a:gd name="connsiteY24" fmla="*/ 54864 h 165925"/>
                  <a:gd name="connsiteX25" fmla="*/ 33957 w 62912"/>
                  <a:gd name="connsiteY25" fmla="*/ 43339 h 165925"/>
                  <a:gd name="connsiteX26" fmla="*/ 48435 w 62912"/>
                  <a:gd name="connsiteY26" fmla="*/ 43339 h 165925"/>
                  <a:gd name="connsiteX27" fmla="*/ 48530 w 62912"/>
                  <a:gd name="connsiteY27" fmla="*/ 14478 h 165925"/>
                  <a:gd name="connsiteX28" fmla="*/ 31480 w 62912"/>
                  <a:gd name="connsiteY28" fmla="*/ 14383 h 165925"/>
                  <a:gd name="connsiteX29" fmla="*/ 29004 w 62912"/>
                  <a:gd name="connsiteY29" fmla="*/ 15907 h 165925"/>
                  <a:gd name="connsiteX30" fmla="*/ 29099 w 62912"/>
                  <a:gd name="connsiteY30" fmla="*/ 150114 h 165925"/>
                  <a:gd name="connsiteX31" fmla="*/ 31290 w 62912"/>
                  <a:gd name="connsiteY31" fmla="*/ 151638 h 165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62912" h="165925">
                    <a:moveTo>
                      <a:pt x="48720" y="165926"/>
                    </a:moveTo>
                    <a:cubicBezTo>
                      <a:pt x="48625" y="165926"/>
                      <a:pt x="48530" y="165926"/>
                      <a:pt x="48435" y="165926"/>
                    </a:cubicBezTo>
                    <a:lnTo>
                      <a:pt x="31480" y="165830"/>
                    </a:lnTo>
                    <a:cubicBezTo>
                      <a:pt x="31385" y="165830"/>
                      <a:pt x="31290" y="165830"/>
                      <a:pt x="31194" y="165830"/>
                    </a:cubicBezTo>
                    <a:cubicBezTo>
                      <a:pt x="24813" y="165830"/>
                      <a:pt x="18907" y="162020"/>
                      <a:pt x="16145" y="156019"/>
                    </a:cubicBezTo>
                    <a:cubicBezTo>
                      <a:pt x="-5382" y="109537"/>
                      <a:pt x="-5382" y="56197"/>
                      <a:pt x="16145" y="9715"/>
                    </a:cubicBezTo>
                    <a:cubicBezTo>
                      <a:pt x="19002" y="3810"/>
                      <a:pt x="25003" y="0"/>
                      <a:pt x="31480" y="0"/>
                    </a:cubicBezTo>
                    <a:lnTo>
                      <a:pt x="48435" y="0"/>
                    </a:lnTo>
                    <a:cubicBezTo>
                      <a:pt x="56340" y="0"/>
                      <a:pt x="62817" y="6477"/>
                      <a:pt x="62817" y="14383"/>
                    </a:cubicBezTo>
                    <a:lnTo>
                      <a:pt x="62817" y="43148"/>
                    </a:lnTo>
                    <a:cubicBezTo>
                      <a:pt x="62817" y="51054"/>
                      <a:pt x="56340" y="57531"/>
                      <a:pt x="48435" y="57531"/>
                    </a:cubicBezTo>
                    <a:lnTo>
                      <a:pt x="33957" y="57531"/>
                    </a:lnTo>
                    <a:cubicBezTo>
                      <a:pt x="29670" y="74009"/>
                      <a:pt x="29670" y="91250"/>
                      <a:pt x="33385" y="107918"/>
                    </a:cubicBezTo>
                    <a:lnTo>
                      <a:pt x="48530" y="108394"/>
                    </a:lnTo>
                    <a:cubicBezTo>
                      <a:pt x="56436" y="108394"/>
                      <a:pt x="62913" y="114871"/>
                      <a:pt x="62913" y="122777"/>
                    </a:cubicBezTo>
                    <a:lnTo>
                      <a:pt x="62913" y="151543"/>
                    </a:lnTo>
                    <a:cubicBezTo>
                      <a:pt x="62913" y="155448"/>
                      <a:pt x="61389" y="159163"/>
                      <a:pt x="58626" y="161830"/>
                    </a:cubicBezTo>
                    <a:cubicBezTo>
                      <a:pt x="55959" y="164497"/>
                      <a:pt x="52435" y="165926"/>
                      <a:pt x="48720" y="165926"/>
                    </a:cubicBezTo>
                    <a:close/>
                    <a:moveTo>
                      <a:pt x="31290" y="151638"/>
                    </a:moveTo>
                    <a:lnTo>
                      <a:pt x="48530" y="151733"/>
                    </a:lnTo>
                    <a:lnTo>
                      <a:pt x="48625" y="151638"/>
                    </a:lnTo>
                    <a:lnTo>
                      <a:pt x="48625" y="122873"/>
                    </a:lnTo>
                    <a:lnTo>
                      <a:pt x="34052" y="122777"/>
                    </a:lnTo>
                    <a:cubicBezTo>
                      <a:pt x="27099" y="122777"/>
                      <a:pt x="21193" y="118015"/>
                      <a:pt x="19479" y="111252"/>
                    </a:cubicBezTo>
                    <a:cubicBezTo>
                      <a:pt x="15288" y="92392"/>
                      <a:pt x="15288" y="72962"/>
                      <a:pt x="19479" y="54864"/>
                    </a:cubicBezTo>
                    <a:cubicBezTo>
                      <a:pt x="21003" y="48196"/>
                      <a:pt x="27099" y="43339"/>
                      <a:pt x="33957" y="43339"/>
                    </a:cubicBezTo>
                    <a:lnTo>
                      <a:pt x="48435" y="43339"/>
                    </a:lnTo>
                    <a:lnTo>
                      <a:pt x="48530" y="14478"/>
                    </a:lnTo>
                    <a:lnTo>
                      <a:pt x="31480" y="14383"/>
                    </a:lnTo>
                    <a:cubicBezTo>
                      <a:pt x="30432" y="14383"/>
                      <a:pt x="29480" y="14954"/>
                      <a:pt x="29004" y="15907"/>
                    </a:cubicBezTo>
                    <a:cubicBezTo>
                      <a:pt x="9287" y="58483"/>
                      <a:pt x="9287" y="107442"/>
                      <a:pt x="29099" y="150114"/>
                    </a:cubicBezTo>
                    <a:cubicBezTo>
                      <a:pt x="29480" y="151066"/>
                      <a:pt x="30147" y="151352"/>
                      <a:pt x="31290" y="1516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1" name="Grafik 222">
                <a:extLst>
                  <a:ext uri="{FF2B5EF4-FFF2-40B4-BE49-F238E27FC236}">
                    <a16:creationId xmlns:a16="http://schemas.microsoft.com/office/drawing/2014/main" id="{67FB6561-7219-DBCD-0699-4CC5ED5B2F4A}"/>
                  </a:ext>
                </a:extLst>
              </p:cNvPr>
              <p:cNvSpPr/>
              <p:nvPr/>
            </p:nvSpPr>
            <p:spPr bwMode="gray">
              <a:xfrm>
                <a:off x="6112430" y="3419569"/>
                <a:ext cx="79200" cy="79057"/>
              </a:xfrm>
              <a:custGeom>
                <a:avLst/>
                <a:gdLst>
                  <a:gd name="connsiteX0" fmla="*/ 39576 w 79200"/>
                  <a:gd name="connsiteY0" fmla="*/ 79058 h 79057"/>
                  <a:gd name="connsiteX1" fmla="*/ 11573 w 79200"/>
                  <a:gd name="connsiteY1" fmla="*/ 67532 h 79057"/>
                  <a:gd name="connsiteX2" fmla="*/ 11573 w 79200"/>
                  <a:gd name="connsiteY2" fmla="*/ 11620 h 79057"/>
                  <a:gd name="connsiteX3" fmla="*/ 39576 w 79200"/>
                  <a:gd name="connsiteY3" fmla="*/ 0 h 79057"/>
                  <a:gd name="connsiteX4" fmla="*/ 67580 w 79200"/>
                  <a:gd name="connsiteY4" fmla="*/ 11620 h 79057"/>
                  <a:gd name="connsiteX5" fmla="*/ 79200 w 79200"/>
                  <a:gd name="connsiteY5" fmla="*/ 39624 h 79057"/>
                  <a:gd name="connsiteX6" fmla="*/ 67580 w 79200"/>
                  <a:gd name="connsiteY6" fmla="*/ 67628 h 79057"/>
                  <a:gd name="connsiteX7" fmla="*/ 39576 w 79200"/>
                  <a:gd name="connsiteY7" fmla="*/ 79058 h 79057"/>
                  <a:gd name="connsiteX8" fmla="*/ 39576 w 79200"/>
                  <a:gd name="connsiteY8" fmla="*/ 14288 h 79057"/>
                  <a:gd name="connsiteX9" fmla="*/ 21669 w 79200"/>
                  <a:gd name="connsiteY9" fmla="*/ 21717 h 79057"/>
                  <a:gd name="connsiteX10" fmla="*/ 21669 w 79200"/>
                  <a:gd name="connsiteY10" fmla="*/ 57436 h 79057"/>
                  <a:gd name="connsiteX11" fmla="*/ 57388 w 79200"/>
                  <a:gd name="connsiteY11" fmla="*/ 57436 h 79057"/>
                  <a:gd name="connsiteX12" fmla="*/ 64818 w 79200"/>
                  <a:gd name="connsiteY12" fmla="*/ 39529 h 79057"/>
                  <a:gd name="connsiteX13" fmla="*/ 57388 w 79200"/>
                  <a:gd name="connsiteY13" fmla="*/ 21622 h 79057"/>
                  <a:gd name="connsiteX14" fmla="*/ 39576 w 79200"/>
                  <a:gd name="connsiteY14" fmla="*/ 14288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9200" h="79057">
                    <a:moveTo>
                      <a:pt x="39576" y="79058"/>
                    </a:moveTo>
                    <a:cubicBezTo>
                      <a:pt x="29480" y="79058"/>
                      <a:pt x="19288" y="75248"/>
                      <a:pt x="11573" y="67532"/>
                    </a:cubicBezTo>
                    <a:cubicBezTo>
                      <a:pt x="-3858" y="52102"/>
                      <a:pt x="-3858" y="27051"/>
                      <a:pt x="11573" y="11620"/>
                    </a:cubicBezTo>
                    <a:cubicBezTo>
                      <a:pt x="19002" y="4191"/>
                      <a:pt x="29004" y="0"/>
                      <a:pt x="39576" y="0"/>
                    </a:cubicBezTo>
                    <a:cubicBezTo>
                      <a:pt x="50149" y="0"/>
                      <a:pt x="60055" y="4096"/>
                      <a:pt x="67580" y="11620"/>
                    </a:cubicBezTo>
                    <a:cubicBezTo>
                      <a:pt x="75105" y="19145"/>
                      <a:pt x="79200" y="29051"/>
                      <a:pt x="79200" y="39624"/>
                    </a:cubicBezTo>
                    <a:cubicBezTo>
                      <a:pt x="79200" y="50197"/>
                      <a:pt x="75105" y="60103"/>
                      <a:pt x="67580" y="67628"/>
                    </a:cubicBezTo>
                    <a:cubicBezTo>
                      <a:pt x="59865" y="75248"/>
                      <a:pt x="49768" y="79058"/>
                      <a:pt x="39576" y="79058"/>
                    </a:cubicBezTo>
                    <a:close/>
                    <a:moveTo>
                      <a:pt x="39576" y="14288"/>
                    </a:moveTo>
                    <a:cubicBezTo>
                      <a:pt x="32814" y="14288"/>
                      <a:pt x="26527" y="16955"/>
                      <a:pt x="21669" y="21717"/>
                    </a:cubicBezTo>
                    <a:cubicBezTo>
                      <a:pt x="11859" y="31528"/>
                      <a:pt x="11859" y="47625"/>
                      <a:pt x="21669" y="57436"/>
                    </a:cubicBezTo>
                    <a:cubicBezTo>
                      <a:pt x="31575" y="67246"/>
                      <a:pt x="47577" y="67246"/>
                      <a:pt x="57388" y="57436"/>
                    </a:cubicBezTo>
                    <a:cubicBezTo>
                      <a:pt x="62151" y="52673"/>
                      <a:pt x="64818" y="46292"/>
                      <a:pt x="64818" y="39529"/>
                    </a:cubicBezTo>
                    <a:cubicBezTo>
                      <a:pt x="64818" y="32766"/>
                      <a:pt x="62151" y="26480"/>
                      <a:pt x="57388" y="21622"/>
                    </a:cubicBezTo>
                    <a:cubicBezTo>
                      <a:pt x="52626" y="16764"/>
                      <a:pt x="46339" y="14288"/>
                      <a:pt x="3957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468" name="Grafik 36">
            <a:extLst>
              <a:ext uri="{FF2B5EF4-FFF2-40B4-BE49-F238E27FC236}">
                <a16:creationId xmlns:a16="http://schemas.microsoft.com/office/drawing/2014/main" id="{EE04F123-DC2A-DF20-EC64-7A60F5B35B15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536202" y="1865000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469" name="Grafik 36">
              <a:extLst>
                <a:ext uri="{FF2B5EF4-FFF2-40B4-BE49-F238E27FC236}">
                  <a16:creationId xmlns:a16="http://schemas.microsoft.com/office/drawing/2014/main" id="{A6BF9E1B-0F35-B508-C9F4-E7C3C2349E95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70" name="Grafik 36">
              <a:extLst>
                <a:ext uri="{FF2B5EF4-FFF2-40B4-BE49-F238E27FC236}">
                  <a16:creationId xmlns:a16="http://schemas.microsoft.com/office/drawing/2014/main" id="{ED047E3C-E839-72EE-F3C8-6AD3A88268D0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71" name="Grafik 36">
              <a:extLst>
                <a:ext uri="{FF2B5EF4-FFF2-40B4-BE49-F238E27FC236}">
                  <a16:creationId xmlns:a16="http://schemas.microsoft.com/office/drawing/2014/main" id="{B63A65D4-84F9-BEEE-53AA-44EC0D68A29C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72" name="Grafik 36">
              <a:extLst>
                <a:ext uri="{FF2B5EF4-FFF2-40B4-BE49-F238E27FC236}">
                  <a16:creationId xmlns:a16="http://schemas.microsoft.com/office/drawing/2014/main" id="{FD713B15-0EAF-BA0E-D923-E0BE2C91FB60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73" name="Grafik 36">
              <a:extLst>
                <a:ext uri="{FF2B5EF4-FFF2-40B4-BE49-F238E27FC236}">
                  <a16:creationId xmlns:a16="http://schemas.microsoft.com/office/drawing/2014/main" id="{B767EBA2-1E3E-CBD7-C097-7CB7D64AF9F3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474" name="Grafik 36">
              <a:extLst>
                <a:ext uri="{FF2B5EF4-FFF2-40B4-BE49-F238E27FC236}">
                  <a16:creationId xmlns:a16="http://schemas.microsoft.com/office/drawing/2014/main" id="{49DDFE5F-D427-8C95-94E7-6659D98B7C8B}"/>
                </a:ext>
              </a:extLst>
            </p:cNvPr>
            <p:cNvGrpSpPr/>
            <p:nvPr/>
          </p:nvGrpSpPr>
          <p:grpSpPr bwMode="gray">
            <a:xfrm>
              <a:off x="5991724" y="3321486"/>
              <a:ext cx="76080" cy="76080"/>
              <a:chOff x="5991724" y="3321486"/>
              <a:chExt cx="76080" cy="76080"/>
            </a:xfrm>
            <a:grpFill/>
          </p:grpSpPr>
          <p:sp>
            <p:nvSpPr>
              <p:cNvPr id="484" name="Grafik 36">
                <a:extLst>
                  <a:ext uri="{FF2B5EF4-FFF2-40B4-BE49-F238E27FC236}">
                    <a16:creationId xmlns:a16="http://schemas.microsoft.com/office/drawing/2014/main" id="{EB7CF7CA-1523-0A06-2620-6CDB7ED01F08}"/>
                  </a:ext>
                </a:extLst>
              </p:cNvPr>
              <p:cNvSpPr/>
              <p:nvPr/>
            </p:nvSpPr>
            <p:spPr bwMode="gray">
              <a:xfrm>
                <a:off x="5991724" y="3321486"/>
                <a:ext cx="76057" cy="76080"/>
              </a:xfrm>
              <a:custGeom>
                <a:avLst/>
                <a:gdLst>
                  <a:gd name="connsiteX0" fmla="*/ 68937 w 76057"/>
                  <a:gd name="connsiteY0" fmla="*/ 76081 h 76080"/>
                  <a:gd name="connsiteX1" fmla="*/ 63889 w 76057"/>
                  <a:gd name="connsiteY1" fmla="*/ 73985 h 76080"/>
                  <a:gd name="connsiteX2" fmla="*/ 2072 w 76057"/>
                  <a:gd name="connsiteY2" fmla="*/ 12168 h 76080"/>
                  <a:gd name="connsiteX3" fmla="*/ 2072 w 76057"/>
                  <a:gd name="connsiteY3" fmla="*/ 2072 h 76080"/>
                  <a:gd name="connsiteX4" fmla="*/ 12168 w 76057"/>
                  <a:gd name="connsiteY4" fmla="*/ 2072 h 76080"/>
                  <a:gd name="connsiteX5" fmla="*/ 73985 w 76057"/>
                  <a:gd name="connsiteY5" fmla="*/ 63889 h 76080"/>
                  <a:gd name="connsiteX6" fmla="*/ 73985 w 76057"/>
                  <a:gd name="connsiteY6" fmla="*/ 73985 h 76080"/>
                  <a:gd name="connsiteX7" fmla="*/ 68937 w 76057"/>
                  <a:gd name="connsiteY7" fmla="*/ 76081 h 76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6057" h="76080">
                    <a:moveTo>
                      <a:pt x="68937" y="76081"/>
                    </a:moveTo>
                    <a:cubicBezTo>
                      <a:pt x="67127" y="76081"/>
                      <a:pt x="65318" y="75414"/>
                      <a:pt x="63889" y="7398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73985" y="63889"/>
                    </a:lnTo>
                    <a:cubicBezTo>
                      <a:pt x="76748" y="66651"/>
                      <a:pt x="76748" y="71223"/>
                      <a:pt x="73985" y="73985"/>
                    </a:cubicBezTo>
                    <a:cubicBezTo>
                      <a:pt x="72557" y="75319"/>
                      <a:pt x="70747" y="76081"/>
                      <a:pt x="68937" y="760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85" name="Grafik 36">
                <a:extLst>
                  <a:ext uri="{FF2B5EF4-FFF2-40B4-BE49-F238E27FC236}">
                    <a16:creationId xmlns:a16="http://schemas.microsoft.com/office/drawing/2014/main" id="{C13FB8E8-E5DE-BDDB-3D75-7CE951ED961E}"/>
                  </a:ext>
                </a:extLst>
              </p:cNvPr>
              <p:cNvSpPr/>
              <p:nvPr/>
            </p:nvSpPr>
            <p:spPr bwMode="gray">
              <a:xfrm>
                <a:off x="6014560" y="3383279"/>
                <a:ext cx="53149" cy="14287"/>
              </a:xfrm>
              <a:custGeom>
                <a:avLst/>
                <a:gdLst>
                  <a:gd name="connsiteX0" fmla="*/ 46101 w 53149"/>
                  <a:gd name="connsiteY0" fmla="*/ 14288 h 14287"/>
                  <a:gd name="connsiteX1" fmla="*/ 7144 w 53149"/>
                  <a:gd name="connsiteY1" fmla="*/ 14288 h 14287"/>
                  <a:gd name="connsiteX2" fmla="*/ 0 w 53149"/>
                  <a:gd name="connsiteY2" fmla="*/ 7144 h 14287"/>
                  <a:gd name="connsiteX3" fmla="*/ 7144 w 53149"/>
                  <a:gd name="connsiteY3" fmla="*/ 0 h 14287"/>
                  <a:gd name="connsiteX4" fmla="*/ 46006 w 53149"/>
                  <a:gd name="connsiteY4" fmla="*/ 0 h 14287"/>
                  <a:gd name="connsiteX5" fmla="*/ 53150 w 53149"/>
                  <a:gd name="connsiteY5" fmla="*/ 7144 h 14287"/>
                  <a:gd name="connsiteX6" fmla="*/ 46101 w 53149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3149" h="14287">
                    <a:moveTo>
                      <a:pt x="4610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46006" y="0"/>
                    </a:lnTo>
                    <a:cubicBezTo>
                      <a:pt x="49911" y="0"/>
                      <a:pt x="53150" y="3239"/>
                      <a:pt x="53150" y="7144"/>
                    </a:cubicBezTo>
                    <a:cubicBezTo>
                      <a:pt x="53150" y="11049"/>
                      <a:pt x="50006" y="14288"/>
                      <a:pt x="46101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86" name="Grafik 36">
                <a:extLst>
                  <a:ext uri="{FF2B5EF4-FFF2-40B4-BE49-F238E27FC236}">
                    <a16:creationId xmlns:a16="http://schemas.microsoft.com/office/drawing/2014/main" id="{A4C72D02-7D07-E5B1-E030-8B8255C7B40D}"/>
                  </a:ext>
                </a:extLst>
              </p:cNvPr>
              <p:cNvSpPr/>
              <p:nvPr/>
            </p:nvSpPr>
            <p:spPr bwMode="gray">
              <a:xfrm>
                <a:off x="6053518" y="3344417"/>
                <a:ext cx="14287" cy="53149"/>
              </a:xfrm>
              <a:custGeom>
                <a:avLst/>
                <a:gdLst>
                  <a:gd name="connsiteX0" fmla="*/ 7144 w 14287"/>
                  <a:gd name="connsiteY0" fmla="*/ 53150 h 53149"/>
                  <a:gd name="connsiteX1" fmla="*/ 0 w 14287"/>
                  <a:gd name="connsiteY1" fmla="*/ 46006 h 53149"/>
                  <a:gd name="connsiteX2" fmla="*/ 0 w 14287"/>
                  <a:gd name="connsiteY2" fmla="*/ 7144 h 53149"/>
                  <a:gd name="connsiteX3" fmla="*/ 7144 w 14287"/>
                  <a:gd name="connsiteY3" fmla="*/ 0 h 53149"/>
                  <a:gd name="connsiteX4" fmla="*/ 14288 w 14287"/>
                  <a:gd name="connsiteY4" fmla="*/ 7144 h 53149"/>
                  <a:gd name="connsiteX5" fmla="*/ 14288 w 14287"/>
                  <a:gd name="connsiteY5" fmla="*/ 46006 h 53149"/>
                  <a:gd name="connsiteX6" fmla="*/ 7144 w 14287"/>
                  <a:gd name="connsiteY6" fmla="*/ 53150 h 53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53149">
                    <a:moveTo>
                      <a:pt x="7144" y="53150"/>
                    </a:moveTo>
                    <a:cubicBezTo>
                      <a:pt x="3238" y="53150"/>
                      <a:pt x="0" y="49911"/>
                      <a:pt x="0" y="46006"/>
                    </a:cubicBezTo>
                    <a:lnTo>
                      <a:pt x="0" y="7144"/>
                    </a:lnTo>
                    <a:cubicBezTo>
                      <a:pt x="0" y="3238"/>
                      <a:pt x="3238" y="0"/>
                      <a:pt x="7144" y="0"/>
                    </a:cubicBezTo>
                    <a:cubicBezTo>
                      <a:pt x="11049" y="0"/>
                      <a:pt x="14288" y="3238"/>
                      <a:pt x="14288" y="7144"/>
                    </a:cubicBezTo>
                    <a:lnTo>
                      <a:pt x="14288" y="46006"/>
                    </a:lnTo>
                    <a:cubicBezTo>
                      <a:pt x="14288" y="49911"/>
                      <a:pt x="11049" y="53150"/>
                      <a:pt x="7144" y="531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475" name="Grafik 36">
              <a:extLst>
                <a:ext uri="{FF2B5EF4-FFF2-40B4-BE49-F238E27FC236}">
                  <a16:creationId xmlns:a16="http://schemas.microsoft.com/office/drawing/2014/main" id="{EE1C0CE3-38CB-D8A1-9DF1-C1BB4A3C4B86}"/>
                </a:ext>
              </a:extLst>
            </p:cNvPr>
            <p:cNvGrpSpPr/>
            <p:nvPr/>
          </p:nvGrpSpPr>
          <p:grpSpPr bwMode="gray">
            <a:xfrm>
              <a:off x="5991629" y="3520725"/>
              <a:ext cx="76176" cy="76104"/>
              <a:chOff x="5991629" y="3520725"/>
              <a:chExt cx="76176" cy="76104"/>
            </a:xfrm>
            <a:grpFill/>
          </p:grpSpPr>
          <p:sp>
            <p:nvSpPr>
              <p:cNvPr id="481" name="Grafik 36">
                <a:extLst>
                  <a:ext uri="{FF2B5EF4-FFF2-40B4-BE49-F238E27FC236}">
                    <a16:creationId xmlns:a16="http://schemas.microsoft.com/office/drawing/2014/main" id="{55956364-0112-C5DD-7463-E259F838B812}"/>
                  </a:ext>
                </a:extLst>
              </p:cNvPr>
              <p:cNvSpPr/>
              <p:nvPr/>
            </p:nvSpPr>
            <p:spPr bwMode="gray">
              <a:xfrm>
                <a:off x="5991629" y="3520749"/>
                <a:ext cx="76057" cy="76080"/>
              </a:xfrm>
              <a:custGeom>
                <a:avLst/>
                <a:gdLst>
                  <a:gd name="connsiteX0" fmla="*/ 7120 w 76057"/>
                  <a:gd name="connsiteY0" fmla="*/ 76081 h 76080"/>
                  <a:gd name="connsiteX1" fmla="*/ 2072 w 76057"/>
                  <a:gd name="connsiteY1" fmla="*/ 73985 h 76080"/>
                  <a:gd name="connsiteX2" fmla="*/ 2072 w 76057"/>
                  <a:gd name="connsiteY2" fmla="*/ 63889 h 76080"/>
                  <a:gd name="connsiteX3" fmla="*/ 63889 w 76057"/>
                  <a:gd name="connsiteY3" fmla="*/ 2072 h 76080"/>
                  <a:gd name="connsiteX4" fmla="*/ 73985 w 76057"/>
                  <a:gd name="connsiteY4" fmla="*/ 2072 h 76080"/>
                  <a:gd name="connsiteX5" fmla="*/ 73985 w 76057"/>
                  <a:gd name="connsiteY5" fmla="*/ 12168 h 76080"/>
                  <a:gd name="connsiteX6" fmla="*/ 12168 w 76057"/>
                  <a:gd name="connsiteY6" fmla="*/ 73985 h 76080"/>
                  <a:gd name="connsiteX7" fmla="*/ 7120 w 76057"/>
                  <a:gd name="connsiteY7" fmla="*/ 76081 h 76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6057" h="76080">
                    <a:moveTo>
                      <a:pt x="7120" y="76081"/>
                    </a:moveTo>
                    <a:cubicBezTo>
                      <a:pt x="5310" y="76081"/>
                      <a:pt x="3500" y="75414"/>
                      <a:pt x="2072" y="73985"/>
                    </a:cubicBezTo>
                    <a:cubicBezTo>
                      <a:pt x="-691" y="71223"/>
                      <a:pt x="-691" y="66651"/>
                      <a:pt x="2072" y="63889"/>
                    </a:cubicBezTo>
                    <a:lnTo>
                      <a:pt x="63889" y="2072"/>
                    </a:lnTo>
                    <a:cubicBezTo>
                      <a:pt x="66651" y="-691"/>
                      <a:pt x="71223" y="-691"/>
                      <a:pt x="73985" y="2072"/>
                    </a:cubicBezTo>
                    <a:cubicBezTo>
                      <a:pt x="76748" y="4834"/>
                      <a:pt x="76748" y="9406"/>
                      <a:pt x="73985" y="12168"/>
                    </a:cubicBezTo>
                    <a:lnTo>
                      <a:pt x="12168" y="73985"/>
                    </a:lnTo>
                    <a:cubicBezTo>
                      <a:pt x="10835" y="75414"/>
                      <a:pt x="9025" y="76081"/>
                      <a:pt x="7120" y="760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82" name="Grafik 36">
                <a:extLst>
                  <a:ext uri="{FF2B5EF4-FFF2-40B4-BE49-F238E27FC236}">
                    <a16:creationId xmlns:a16="http://schemas.microsoft.com/office/drawing/2014/main" id="{C5C507CB-0693-45C8-21C4-F02E1DCF4914}"/>
                  </a:ext>
                </a:extLst>
              </p:cNvPr>
              <p:cNvSpPr/>
              <p:nvPr/>
            </p:nvSpPr>
            <p:spPr bwMode="gray">
              <a:xfrm>
                <a:off x="6053518" y="3520725"/>
                <a:ext cx="14287" cy="53149"/>
              </a:xfrm>
              <a:custGeom>
                <a:avLst/>
                <a:gdLst>
                  <a:gd name="connsiteX0" fmla="*/ 7144 w 14287"/>
                  <a:gd name="connsiteY0" fmla="*/ 53149 h 53149"/>
                  <a:gd name="connsiteX1" fmla="*/ 0 w 14287"/>
                  <a:gd name="connsiteY1" fmla="*/ 46006 h 53149"/>
                  <a:gd name="connsiteX2" fmla="*/ 0 w 14287"/>
                  <a:gd name="connsiteY2" fmla="*/ 7144 h 53149"/>
                  <a:gd name="connsiteX3" fmla="*/ 7144 w 14287"/>
                  <a:gd name="connsiteY3" fmla="*/ 0 h 53149"/>
                  <a:gd name="connsiteX4" fmla="*/ 14288 w 14287"/>
                  <a:gd name="connsiteY4" fmla="*/ 7144 h 53149"/>
                  <a:gd name="connsiteX5" fmla="*/ 14288 w 14287"/>
                  <a:gd name="connsiteY5" fmla="*/ 46006 h 53149"/>
                  <a:gd name="connsiteX6" fmla="*/ 7144 w 14287"/>
                  <a:gd name="connsiteY6" fmla="*/ 53149 h 53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53149">
                    <a:moveTo>
                      <a:pt x="7144" y="53149"/>
                    </a:moveTo>
                    <a:cubicBezTo>
                      <a:pt x="3238" y="53149"/>
                      <a:pt x="0" y="49911"/>
                      <a:pt x="0" y="46006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46006"/>
                    </a:lnTo>
                    <a:cubicBezTo>
                      <a:pt x="14288" y="50006"/>
                      <a:pt x="11049" y="53149"/>
                      <a:pt x="7144" y="5314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83" name="Grafik 36">
                <a:extLst>
                  <a:ext uri="{FF2B5EF4-FFF2-40B4-BE49-F238E27FC236}">
                    <a16:creationId xmlns:a16="http://schemas.microsoft.com/office/drawing/2014/main" id="{FFCC3EE4-5F9C-E0C9-7C32-16C80DBA9B12}"/>
                  </a:ext>
                </a:extLst>
              </p:cNvPr>
              <p:cNvSpPr/>
              <p:nvPr/>
            </p:nvSpPr>
            <p:spPr bwMode="gray">
              <a:xfrm>
                <a:off x="6014560" y="3520725"/>
                <a:ext cx="53149" cy="14287"/>
              </a:xfrm>
              <a:custGeom>
                <a:avLst/>
                <a:gdLst>
                  <a:gd name="connsiteX0" fmla="*/ 46101 w 53149"/>
                  <a:gd name="connsiteY0" fmla="*/ 14288 h 14287"/>
                  <a:gd name="connsiteX1" fmla="*/ 7144 w 53149"/>
                  <a:gd name="connsiteY1" fmla="*/ 14288 h 14287"/>
                  <a:gd name="connsiteX2" fmla="*/ 0 w 53149"/>
                  <a:gd name="connsiteY2" fmla="*/ 7144 h 14287"/>
                  <a:gd name="connsiteX3" fmla="*/ 7144 w 53149"/>
                  <a:gd name="connsiteY3" fmla="*/ 0 h 14287"/>
                  <a:gd name="connsiteX4" fmla="*/ 46006 w 53149"/>
                  <a:gd name="connsiteY4" fmla="*/ 0 h 14287"/>
                  <a:gd name="connsiteX5" fmla="*/ 53150 w 53149"/>
                  <a:gd name="connsiteY5" fmla="*/ 7144 h 14287"/>
                  <a:gd name="connsiteX6" fmla="*/ 46101 w 53149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3149" h="14287">
                    <a:moveTo>
                      <a:pt x="4610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46006" y="0"/>
                    </a:lnTo>
                    <a:cubicBezTo>
                      <a:pt x="49911" y="0"/>
                      <a:pt x="53150" y="3239"/>
                      <a:pt x="53150" y="7144"/>
                    </a:cubicBezTo>
                    <a:cubicBezTo>
                      <a:pt x="53150" y="11049"/>
                      <a:pt x="50006" y="14288"/>
                      <a:pt x="46101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476" name="Grafik 36">
              <a:extLst>
                <a:ext uri="{FF2B5EF4-FFF2-40B4-BE49-F238E27FC236}">
                  <a16:creationId xmlns:a16="http://schemas.microsoft.com/office/drawing/2014/main" id="{267F94F7-62D6-A5E5-90B2-BC10B8C1CA9B}"/>
                </a:ext>
              </a:extLst>
            </p:cNvPr>
            <p:cNvGrpSpPr/>
            <p:nvPr/>
          </p:nvGrpSpPr>
          <p:grpSpPr bwMode="gray">
            <a:xfrm>
              <a:off x="5937598" y="3424451"/>
              <a:ext cx="101798" cy="69318"/>
              <a:chOff x="5937598" y="3424451"/>
              <a:chExt cx="101798" cy="69318"/>
            </a:xfrm>
            <a:grpFill/>
          </p:grpSpPr>
          <p:sp>
            <p:nvSpPr>
              <p:cNvPr id="478" name="Grafik 36">
                <a:extLst>
                  <a:ext uri="{FF2B5EF4-FFF2-40B4-BE49-F238E27FC236}">
                    <a16:creationId xmlns:a16="http://schemas.microsoft.com/office/drawing/2014/main" id="{9A545795-CC31-2E00-AA80-2A186329A3AE}"/>
                  </a:ext>
                </a:extLst>
              </p:cNvPr>
              <p:cNvSpPr/>
              <p:nvPr/>
            </p:nvSpPr>
            <p:spPr bwMode="gray">
              <a:xfrm>
                <a:off x="5937598" y="3451954"/>
                <a:ext cx="101726" cy="14287"/>
              </a:xfrm>
              <a:custGeom>
                <a:avLst/>
                <a:gdLst>
                  <a:gd name="connsiteX0" fmla="*/ 94583 w 101726"/>
                  <a:gd name="connsiteY0" fmla="*/ 14288 h 14287"/>
                  <a:gd name="connsiteX1" fmla="*/ 7144 w 101726"/>
                  <a:gd name="connsiteY1" fmla="*/ 14288 h 14287"/>
                  <a:gd name="connsiteX2" fmla="*/ 0 w 101726"/>
                  <a:gd name="connsiteY2" fmla="*/ 7144 h 14287"/>
                  <a:gd name="connsiteX3" fmla="*/ 7144 w 101726"/>
                  <a:gd name="connsiteY3" fmla="*/ 0 h 14287"/>
                  <a:gd name="connsiteX4" fmla="*/ 94583 w 101726"/>
                  <a:gd name="connsiteY4" fmla="*/ 0 h 14287"/>
                  <a:gd name="connsiteX5" fmla="*/ 101727 w 101726"/>
                  <a:gd name="connsiteY5" fmla="*/ 7144 h 14287"/>
                  <a:gd name="connsiteX6" fmla="*/ 94583 w 101726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1726" h="14287">
                    <a:moveTo>
                      <a:pt x="94583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94583" y="0"/>
                    </a:lnTo>
                    <a:cubicBezTo>
                      <a:pt x="98488" y="0"/>
                      <a:pt x="101727" y="3239"/>
                      <a:pt x="101727" y="7144"/>
                    </a:cubicBezTo>
                    <a:cubicBezTo>
                      <a:pt x="101727" y="11049"/>
                      <a:pt x="98488" y="14288"/>
                      <a:pt x="94583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79" name="Grafik 36">
                <a:extLst>
                  <a:ext uri="{FF2B5EF4-FFF2-40B4-BE49-F238E27FC236}">
                    <a16:creationId xmlns:a16="http://schemas.microsoft.com/office/drawing/2014/main" id="{80252159-9782-8516-CCC7-AE29F23EC57D}"/>
                  </a:ext>
                </a:extLst>
              </p:cNvPr>
              <p:cNvSpPr/>
              <p:nvPr/>
            </p:nvSpPr>
            <p:spPr bwMode="gray">
              <a:xfrm>
                <a:off x="5997630" y="3451978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739" y="41124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80" name="Grafik 36">
                <a:extLst>
                  <a:ext uri="{FF2B5EF4-FFF2-40B4-BE49-F238E27FC236}">
                    <a16:creationId xmlns:a16="http://schemas.microsoft.com/office/drawing/2014/main" id="{9BBB9F5B-33FC-6F49-E7B2-8A71F9179091}"/>
                  </a:ext>
                </a:extLst>
              </p:cNvPr>
              <p:cNvSpPr/>
              <p:nvPr/>
            </p:nvSpPr>
            <p:spPr bwMode="gray">
              <a:xfrm>
                <a:off x="5997534" y="3424451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124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477" name="Grafik 36">
              <a:extLst>
                <a:ext uri="{FF2B5EF4-FFF2-40B4-BE49-F238E27FC236}">
                  <a16:creationId xmlns:a16="http://schemas.microsoft.com/office/drawing/2014/main" id="{D1971976-0FD8-3D2D-B501-7FEC04178391}"/>
                </a:ext>
              </a:extLst>
            </p:cNvPr>
            <p:cNvSpPr/>
            <p:nvPr/>
          </p:nvSpPr>
          <p:spPr bwMode="gray">
            <a:xfrm>
              <a:off x="6089760" y="3419617"/>
              <a:ext cx="79105" cy="79009"/>
            </a:xfrm>
            <a:custGeom>
              <a:avLst/>
              <a:gdLst>
                <a:gd name="connsiteX0" fmla="*/ 39576 w 79105"/>
                <a:gd name="connsiteY0" fmla="*/ 79010 h 79009"/>
                <a:gd name="connsiteX1" fmla="*/ 11573 w 79105"/>
                <a:gd name="connsiteY1" fmla="*/ 67485 h 79009"/>
                <a:gd name="connsiteX2" fmla="*/ 11573 w 79105"/>
                <a:gd name="connsiteY2" fmla="*/ 11573 h 79009"/>
                <a:gd name="connsiteX3" fmla="*/ 11573 w 79105"/>
                <a:gd name="connsiteY3" fmla="*/ 11573 h 79009"/>
                <a:gd name="connsiteX4" fmla="*/ 67485 w 79105"/>
                <a:gd name="connsiteY4" fmla="*/ 11573 h 79009"/>
                <a:gd name="connsiteX5" fmla="*/ 79105 w 79105"/>
                <a:gd name="connsiteY5" fmla="*/ 39576 h 79009"/>
                <a:gd name="connsiteX6" fmla="*/ 67485 w 79105"/>
                <a:gd name="connsiteY6" fmla="*/ 67580 h 79009"/>
                <a:gd name="connsiteX7" fmla="*/ 39576 w 79105"/>
                <a:gd name="connsiteY7" fmla="*/ 79010 h 79009"/>
                <a:gd name="connsiteX8" fmla="*/ 21765 w 79105"/>
                <a:gd name="connsiteY8" fmla="*/ 21669 h 79009"/>
                <a:gd name="connsiteX9" fmla="*/ 21765 w 79105"/>
                <a:gd name="connsiteY9" fmla="*/ 57388 h 79009"/>
                <a:gd name="connsiteX10" fmla="*/ 57483 w 79105"/>
                <a:gd name="connsiteY10" fmla="*/ 57388 h 79009"/>
                <a:gd name="connsiteX11" fmla="*/ 64913 w 79105"/>
                <a:gd name="connsiteY11" fmla="*/ 39481 h 79009"/>
                <a:gd name="connsiteX12" fmla="*/ 57483 w 79105"/>
                <a:gd name="connsiteY12" fmla="*/ 21574 h 79009"/>
                <a:gd name="connsiteX13" fmla="*/ 21765 w 79105"/>
                <a:gd name="connsiteY13" fmla="*/ 21669 h 79009"/>
                <a:gd name="connsiteX14" fmla="*/ 21765 w 79105"/>
                <a:gd name="connsiteY14" fmla="*/ 21669 h 79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9105" h="79009">
                  <a:moveTo>
                    <a:pt x="39576" y="79010"/>
                  </a:moveTo>
                  <a:cubicBezTo>
                    <a:pt x="29480" y="79010"/>
                    <a:pt x="19288" y="75200"/>
                    <a:pt x="11573" y="67485"/>
                  </a:cubicBezTo>
                  <a:cubicBezTo>
                    <a:pt x="-3858" y="52054"/>
                    <a:pt x="-3858" y="27003"/>
                    <a:pt x="11573" y="11573"/>
                  </a:cubicBezTo>
                  <a:lnTo>
                    <a:pt x="11573" y="11573"/>
                  </a:lnTo>
                  <a:cubicBezTo>
                    <a:pt x="27003" y="-3858"/>
                    <a:pt x="52054" y="-3858"/>
                    <a:pt x="67485" y="11573"/>
                  </a:cubicBezTo>
                  <a:cubicBezTo>
                    <a:pt x="74914" y="19002"/>
                    <a:pt x="79105" y="29004"/>
                    <a:pt x="79105" y="39576"/>
                  </a:cubicBezTo>
                  <a:cubicBezTo>
                    <a:pt x="79105" y="50149"/>
                    <a:pt x="75009" y="60055"/>
                    <a:pt x="67485" y="67580"/>
                  </a:cubicBezTo>
                  <a:cubicBezTo>
                    <a:pt x="59865" y="75200"/>
                    <a:pt x="49673" y="79010"/>
                    <a:pt x="39576" y="79010"/>
                  </a:cubicBezTo>
                  <a:close/>
                  <a:moveTo>
                    <a:pt x="21765" y="21669"/>
                  </a:moveTo>
                  <a:cubicBezTo>
                    <a:pt x="11954" y="31480"/>
                    <a:pt x="11954" y="47577"/>
                    <a:pt x="21765" y="57388"/>
                  </a:cubicBezTo>
                  <a:cubicBezTo>
                    <a:pt x="31671" y="67199"/>
                    <a:pt x="47673" y="67199"/>
                    <a:pt x="57483" y="57388"/>
                  </a:cubicBezTo>
                  <a:cubicBezTo>
                    <a:pt x="62246" y="52626"/>
                    <a:pt x="64913" y="46244"/>
                    <a:pt x="64913" y="39481"/>
                  </a:cubicBezTo>
                  <a:cubicBezTo>
                    <a:pt x="64913" y="32718"/>
                    <a:pt x="62246" y="26432"/>
                    <a:pt x="57483" y="21574"/>
                  </a:cubicBezTo>
                  <a:cubicBezTo>
                    <a:pt x="47577" y="11859"/>
                    <a:pt x="31575" y="11763"/>
                    <a:pt x="21765" y="21669"/>
                  </a:cubicBezTo>
                  <a:lnTo>
                    <a:pt x="21765" y="216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</p:grpSp>
      <p:grpSp>
        <p:nvGrpSpPr>
          <p:cNvPr id="487" name="Grafik 224">
            <a:extLst>
              <a:ext uri="{FF2B5EF4-FFF2-40B4-BE49-F238E27FC236}">
                <a16:creationId xmlns:a16="http://schemas.microsoft.com/office/drawing/2014/main" id="{E09E630F-23AB-2E08-F07D-016A49CC0D78}"/>
              </a:ext>
            </a:extLst>
          </p:cNvPr>
          <p:cNvGrpSpPr/>
          <p:nvPr/>
        </p:nvGrpSpPr>
        <p:grpSpPr bwMode="gray">
          <a:xfrm>
            <a:off x="7536202" y="2939492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488" name="Grafik 224">
              <a:extLst>
                <a:ext uri="{FF2B5EF4-FFF2-40B4-BE49-F238E27FC236}">
                  <a16:creationId xmlns:a16="http://schemas.microsoft.com/office/drawing/2014/main" id="{9DE56A7A-303C-FB64-3425-4C3F5C5651CA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494" name="Grafik 224">
                <a:extLst>
                  <a:ext uri="{FF2B5EF4-FFF2-40B4-BE49-F238E27FC236}">
                    <a16:creationId xmlns:a16="http://schemas.microsoft.com/office/drawing/2014/main" id="{17DF1946-D8A9-D5EE-2901-FC8E9C9FC84D}"/>
                  </a:ext>
                </a:extLst>
              </p:cNvPr>
              <p:cNvGrpSpPr/>
              <p:nvPr/>
            </p:nvGrpSpPr>
            <p:grpSpPr bwMode="gray">
              <a:xfrm>
                <a:off x="5951066" y="3230286"/>
                <a:ext cx="285352" cy="149849"/>
                <a:chOff x="5951066" y="3230286"/>
                <a:chExt cx="285352" cy="149849"/>
              </a:xfrm>
              <a:grpFill/>
            </p:grpSpPr>
            <p:grpSp>
              <p:nvGrpSpPr>
                <p:cNvPr id="497" name="Grafik 224">
                  <a:extLst>
                    <a:ext uri="{FF2B5EF4-FFF2-40B4-BE49-F238E27FC236}">
                      <a16:creationId xmlns:a16="http://schemas.microsoft.com/office/drawing/2014/main" id="{5E924525-4BE3-CCEC-1B46-111B8005D8EE}"/>
                    </a:ext>
                  </a:extLst>
                </p:cNvPr>
                <p:cNvGrpSpPr/>
                <p:nvPr/>
              </p:nvGrpSpPr>
              <p:grpSpPr bwMode="gray">
                <a:xfrm>
                  <a:off x="6118933" y="3230286"/>
                  <a:ext cx="117485" cy="65934"/>
                  <a:chOff x="6118933" y="3230286"/>
                  <a:chExt cx="117485" cy="65934"/>
                </a:xfrm>
                <a:grpFill/>
              </p:grpSpPr>
              <p:sp>
                <p:nvSpPr>
                  <p:cNvPr id="510" name="Grafik 224">
                    <a:extLst>
                      <a:ext uri="{FF2B5EF4-FFF2-40B4-BE49-F238E27FC236}">
                        <a16:creationId xmlns:a16="http://schemas.microsoft.com/office/drawing/2014/main" id="{C036B4A8-6F9F-B7C7-64CD-7F06FC83787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33" y="3230286"/>
                    <a:ext cx="117485" cy="65934"/>
                  </a:xfrm>
                  <a:custGeom>
                    <a:avLst/>
                    <a:gdLst>
                      <a:gd name="connsiteX0" fmla="*/ 7165 w 117485"/>
                      <a:gd name="connsiteY0" fmla="*/ 65934 h 65934"/>
                      <a:gd name="connsiteX1" fmla="*/ 783 w 117485"/>
                      <a:gd name="connsiteY1" fmla="*/ 61934 h 65934"/>
                      <a:gd name="connsiteX2" fmla="*/ 4022 w 117485"/>
                      <a:gd name="connsiteY2" fmla="*/ 52313 h 65934"/>
                      <a:gd name="connsiteX3" fmla="*/ 107082 w 117485"/>
                      <a:gd name="connsiteY3" fmla="*/ 783 h 65934"/>
                      <a:gd name="connsiteX4" fmla="*/ 116702 w 117485"/>
                      <a:gd name="connsiteY4" fmla="*/ 4022 h 65934"/>
                      <a:gd name="connsiteX5" fmla="*/ 113464 w 117485"/>
                      <a:gd name="connsiteY5" fmla="*/ 13642 h 65934"/>
                      <a:gd name="connsiteX6" fmla="*/ 10403 w 117485"/>
                      <a:gd name="connsiteY6" fmla="*/ 65172 h 65934"/>
                      <a:gd name="connsiteX7" fmla="*/ 7165 w 117485"/>
                      <a:gd name="connsiteY7" fmla="*/ 65934 h 659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934">
                        <a:moveTo>
                          <a:pt x="7165" y="65934"/>
                        </a:moveTo>
                        <a:cubicBezTo>
                          <a:pt x="4498" y="65934"/>
                          <a:pt x="2021" y="64505"/>
                          <a:pt x="783" y="61934"/>
                        </a:cubicBezTo>
                        <a:cubicBezTo>
                          <a:pt x="-1027" y="58409"/>
                          <a:pt x="402" y="54123"/>
                          <a:pt x="4022" y="52313"/>
                        </a:cubicBezTo>
                        <a:lnTo>
                          <a:pt x="107082" y="783"/>
                        </a:lnTo>
                        <a:cubicBezTo>
                          <a:pt x="110606" y="-1027"/>
                          <a:pt x="114893" y="402"/>
                          <a:pt x="116702" y="4022"/>
                        </a:cubicBezTo>
                        <a:cubicBezTo>
                          <a:pt x="118512" y="7546"/>
                          <a:pt x="117083" y="11832"/>
                          <a:pt x="113464" y="13642"/>
                        </a:cubicBezTo>
                        <a:lnTo>
                          <a:pt x="10403" y="65172"/>
                        </a:lnTo>
                        <a:cubicBezTo>
                          <a:pt x="9356" y="65648"/>
                          <a:pt x="8308" y="65934"/>
                          <a:pt x="7165" y="659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11" name="Grafik 224">
                    <a:extLst>
                      <a:ext uri="{FF2B5EF4-FFF2-40B4-BE49-F238E27FC236}">
                        <a16:creationId xmlns:a16="http://schemas.microsoft.com/office/drawing/2014/main" id="{C760FF5F-64D0-DC49-8D71-A38F1F6FB44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403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8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12" name="Grafik 224">
                    <a:extLst>
                      <a:ext uri="{FF2B5EF4-FFF2-40B4-BE49-F238E27FC236}">
                        <a16:creationId xmlns:a16="http://schemas.microsoft.com/office/drawing/2014/main" id="{333E3963-2A23-0B06-3DC1-526E2654F2B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498" name="Grafik 224">
                  <a:extLst>
                    <a:ext uri="{FF2B5EF4-FFF2-40B4-BE49-F238E27FC236}">
                      <a16:creationId xmlns:a16="http://schemas.microsoft.com/office/drawing/2014/main" id="{5441840B-524F-498A-DD75-C7FD55965065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44"/>
                  <a:ext cx="117485" cy="65892"/>
                  <a:chOff x="5951103" y="3314244"/>
                  <a:chExt cx="117485" cy="65892"/>
                </a:xfrm>
                <a:grpFill/>
              </p:grpSpPr>
              <p:sp>
                <p:nvSpPr>
                  <p:cNvPr id="507" name="Grafik 224">
                    <a:extLst>
                      <a:ext uri="{FF2B5EF4-FFF2-40B4-BE49-F238E27FC236}">
                        <a16:creationId xmlns:a16="http://schemas.microsoft.com/office/drawing/2014/main" id="{5A8B7DDD-F5C0-F3BB-664D-B8716AA88F7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44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130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498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130"/>
                        </a:lnTo>
                        <a:cubicBezTo>
                          <a:pt x="9356" y="65606"/>
                          <a:pt x="8213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08" name="Grafik 224">
                    <a:extLst>
                      <a:ext uri="{FF2B5EF4-FFF2-40B4-BE49-F238E27FC236}">
                        <a16:creationId xmlns:a16="http://schemas.microsoft.com/office/drawing/2014/main" id="{66D12E3E-2949-844A-D07F-D30AD21A2F1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09" name="Grafik 224">
                    <a:extLst>
                      <a:ext uri="{FF2B5EF4-FFF2-40B4-BE49-F238E27FC236}">
                        <a16:creationId xmlns:a16="http://schemas.microsoft.com/office/drawing/2014/main" id="{B027D20B-7A7D-DEDA-DE84-310B348D7E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499" name="Grafik 224">
                  <a:extLst>
                    <a:ext uri="{FF2B5EF4-FFF2-40B4-BE49-F238E27FC236}">
                      <a16:creationId xmlns:a16="http://schemas.microsoft.com/office/drawing/2014/main" id="{0643DB60-943F-0084-7118-FDAA76F35FF7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504" name="Grafik 224">
                    <a:extLst>
                      <a:ext uri="{FF2B5EF4-FFF2-40B4-BE49-F238E27FC236}">
                        <a16:creationId xmlns:a16="http://schemas.microsoft.com/office/drawing/2014/main" id="{6979E937-7222-8955-E3A5-DAC79A03CE1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05" name="Grafik 224">
                    <a:extLst>
                      <a:ext uri="{FF2B5EF4-FFF2-40B4-BE49-F238E27FC236}">
                        <a16:creationId xmlns:a16="http://schemas.microsoft.com/office/drawing/2014/main" id="{7D399B43-F735-AC0A-B4D9-E2ED195610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06" name="Grafik 224">
                    <a:extLst>
                      <a:ext uri="{FF2B5EF4-FFF2-40B4-BE49-F238E27FC236}">
                        <a16:creationId xmlns:a16="http://schemas.microsoft.com/office/drawing/2014/main" id="{ECBC11B4-E801-636C-C785-683BF5E33D9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500" name="Grafik 224">
                  <a:extLst>
                    <a:ext uri="{FF2B5EF4-FFF2-40B4-BE49-F238E27FC236}">
                      <a16:creationId xmlns:a16="http://schemas.microsoft.com/office/drawing/2014/main" id="{DFE9D7EE-AABD-493C-8BBE-AB042146F1FF}"/>
                    </a:ext>
                  </a:extLst>
                </p:cNvPr>
                <p:cNvGrpSpPr/>
                <p:nvPr/>
              </p:nvGrpSpPr>
              <p:grpSpPr bwMode="gray">
                <a:xfrm>
                  <a:off x="5951066" y="3230345"/>
                  <a:ext cx="117405" cy="65875"/>
                  <a:chOff x="5951066" y="3230345"/>
                  <a:chExt cx="117405" cy="65875"/>
                </a:xfrm>
                <a:grpFill/>
              </p:grpSpPr>
              <p:sp>
                <p:nvSpPr>
                  <p:cNvPr id="501" name="Grafik 224">
                    <a:extLst>
                      <a:ext uri="{FF2B5EF4-FFF2-40B4-BE49-F238E27FC236}">
                        <a16:creationId xmlns:a16="http://schemas.microsoft.com/office/drawing/2014/main" id="{6E256884-4A0D-A7DC-BD72-E88B4508DF8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066" y="3230345"/>
                    <a:ext cx="117367" cy="65875"/>
                  </a:xfrm>
                  <a:custGeom>
                    <a:avLst/>
                    <a:gdLst>
                      <a:gd name="connsiteX0" fmla="*/ 110262 w 117367"/>
                      <a:gd name="connsiteY0" fmla="*/ 65875 h 65875"/>
                      <a:gd name="connsiteX1" fmla="*/ 107118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262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262" y="65875"/>
                        </a:moveTo>
                        <a:cubicBezTo>
                          <a:pt x="109214" y="65875"/>
                          <a:pt x="108071" y="65589"/>
                          <a:pt x="107118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405" y="64351"/>
                          <a:pt x="112833" y="65875"/>
                          <a:pt x="110262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02" name="Grafik 224">
                    <a:extLst>
                      <a:ext uri="{FF2B5EF4-FFF2-40B4-BE49-F238E27FC236}">
                        <a16:creationId xmlns:a16="http://schemas.microsoft.com/office/drawing/2014/main" id="{A84B6B99-75FC-F03D-E466-793AC67E82F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767"/>
                  </a:xfrm>
                  <a:custGeom>
                    <a:avLst/>
                    <a:gdLst>
                      <a:gd name="connsiteX0" fmla="*/ 7144 w 14287"/>
                      <a:gd name="connsiteY0" fmla="*/ 46768 h 46767"/>
                      <a:gd name="connsiteX1" fmla="*/ 0 w 14287"/>
                      <a:gd name="connsiteY1" fmla="*/ 39624 h 46767"/>
                      <a:gd name="connsiteX2" fmla="*/ 0 w 14287"/>
                      <a:gd name="connsiteY2" fmla="*/ 7144 h 46767"/>
                      <a:gd name="connsiteX3" fmla="*/ 7144 w 14287"/>
                      <a:gd name="connsiteY3" fmla="*/ 0 h 46767"/>
                      <a:gd name="connsiteX4" fmla="*/ 14288 w 14287"/>
                      <a:gd name="connsiteY4" fmla="*/ 7144 h 46767"/>
                      <a:gd name="connsiteX5" fmla="*/ 14288 w 14287"/>
                      <a:gd name="connsiteY5" fmla="*/ 39529 h 46767"/>
                      <a:gd name="connsiteX6" fmla="*/ 7144 w 14287"/>
                      <a:gd name="connsiteY6" fmla="*/ 46768 h 467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767">
                        <a:moveTo>
                          <a:pt x="7144" y="46768"/>
                        </a:moveTo>
                        <a:cubicBezTo>
                          <a:pt x="3239" y="46768"/>
                          <a:pt x="0" y="43529"/>
                          <a:pt x="0" y="39624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768"/>
                          <a:pt x="7144" y="4676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03" name="Grafik 224">
                    <a:extLst>
                      <a:ext uri="{FF2B5EF4-FFF2-40B4-BE49-F238E27FC236}">
                        <a16:creationId xmlns:a16="http://schemas.microsoft.com/office/drawing/2014/main" id="{79BA467A-C622-CDF8-2AEF-5755B0024D0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933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8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495" name="Grafik 224">
                <a:extLst>
                  <a:ext uri="{FF2B5EF4-FFF2-40B4-BE49-F238E27FC236}">
                    <a16:creationId xmlns:a16="http://schemas.microsoft.com/office/drawing/2014/main" id="{DBA5B430-D14F-6E92-731D-65BBC0E26204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96" name="Grafik 224">
                <a:extLst>
                  <a:ext uri="{FF2B5EF4-FFF2-40B4-BE49-F238E27FC236}">
                    <a16:creationId xmlns:a16="http://schemas.microsoft.com/office/drawing/2014/main" id="{47659952-C5EF-6E06-FC32-6AD7C850A821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89" name="Grafik 224">
              <a:extLst>
                <a:ext uri="{FF2B5EF4-FFF2-40B4-BE49-F238E27FC236}">
                  <a16:creationId xmlns:a16="http://schemas.microsoft.com/office/drawing/2014/main" id="{FF5DCABF-B676-46A4-6E61-D4904D108714}"/>
                </a:ext>
              </a:extLst>
            </p:cNvPr>
            <p:cNvGrpSpPr/>
            <p:nvPr/>
          </p:nvGrpSpPr>
          <p:grpSpPr bwMode="gray">
            <a:xfrm>
              <a:off x="5965400" y="3460051"/>
              <a:ext cx="256480" cy="176307"/>
              <a:chOff x="5965400" y="3460051"/>
              <a:chExt cx="256480" cy="176307"/>
            </a:xfrm>
            <a:grpFill/>
          </p:grpSpPr>
          <p:sp>
            <p:nvSpPr>
              <p:cNvPr id="490" name="Grafik 224">
                <a:extLst>
                  <a:ext uri="{FF2B5EF4-FFF2-40B4-BE49-F238E27FC236}">
                    <a16:creationId xmlns:a16="http://schemas.microsoft.com/office/drawing/2014/main" id="{65B1DFAF-8C71-A778-6EA1-E3623F949457}"/>
                  </a:ext>
                </a:extLst>
              </p:cNvPr>
              <p:cNvSpPr/>
              <p:nvPr/>
            </p:nvSpPr>
            <p:spPr bwMode="gray">
              <a:xfrm>
                <a:off x="5965400" y="3492626"/>
                <a:ext cx="143838" cy="143732"/>
              </a:xfrm>
              <a:custGeom>
                <a:avLst/>
                <a:gdLst>
                  <a:gd name="connsiteX0" fmla="*/ 114692 w 143838"/>
                  <a:gd name="connsiteY0" fmla="*/ 143732 h 143732"/>
                  <a:gd name="connsiteX1" fmla="*/ 108691 w 143838"/>
                  <a:gd name="connsiteY1" fmla="*/ 142685 h 143732"/>
                  <a:gd name="connsiteX2" fmla="*/ 964 w 143838"/>
                  <a:gd name="connsiteY2" fmla="*/ 34957 h 143732"/>
                  <a:gd name="connsiteX3" fmla="*/ 5059 w 143838"/>
                  <a:gd name="connsiteY3" fmla="*/ 16764 h 143732"/>
                  <a:gd name="connsiteX4" fmla="*/ 17537 w 143838"/>
                  <a:gd name="connsiteY4" fmla="*/ 4286 h 143732"/>
                  <a:gd name="connsiteX5" fmla="*/ 27919 w 143838"/>
                  <a:gd name="connsiteY5" fmla="*/ 0 h 143732"/>
                  <a:gd name="connsiteX6" fmla="*/ 27919 w 143838"/>
                  <a:gd name="connsiteY6" fmla="*/ 0 h 143732"/>
                  <a:gd name="connsiteX7" fmla="*/ 38302 w 143838"/>
                  <a:gd name="connsiteY7" fmla="*/ 4286 h 143732"/>
                  <a:gd name="connsiteX8" fmla="*/ 59542 w 143838"/>
                  <a:gd name="connsiteY8" fmla="*/ 25527 h 143732"/>
                  <a:gd name="connsiteX9" fmla="*/ 59542 w 143838"/>
                  <a:gd name="connsiteY9" fmla="*/ 46292 h 143732"/>
                  <a:gd name="connsiteX10" fmla="*/ 48874 w 143838"/>
                  <a:gd name="connsiteY10" fmla="*/ 56959 h 143732"/>
                  <a:gd name="connsiteX11" fmla="*/ 48684 w 143838"/>
                  <a:gd name="connsiteY11" fmla="*/ 58102 h 143732"/>
                  <a:gd name="connsiteX12" fmla="*/ 85641 w 143838"/>
                  <a:gd name="connsiteY12" fmla="*/ 95059 h 143732"/>
                  <a:gd name="connsiteX13" fmla="*/ 86879 w 143838"/>
                  <a:gd name="connsiteY13" fmla="*/ 94869 h 143732"/>
                  <a:gd name="connsiteX14" fmla="*/ 97547 w 143838"/>
                  <a:gd name="connsiteY14" fmla="*/ 84011 h 143732"/>
                  <a:gd name="connsiteX15" fmla="*/ 107929 w 143838"/>
                  <a:gd name="connsiteY15" fmla="*/ 79724 h 143732"/>
                  <a:gd name="connsiteX16" fmla="*/ 107929 w 143838"/>
                  <a:gd name="connsiteY16" fmla="*/ 79724 h 143732"/>
                  <a:gd name="connsiteX17" fmla="*/ 118312 w 143838"/>
                  <a:gd name="connsiteY17" fmla="*/ 84011 h 143732"/>
                  <a:gd name="connsiteX18" fmla="*/ 139457 w 143838"/>
                  <a:gd name="connsiteY18" fmla="*/ 105156 h 143732"/>
                  <a:gd name="connsiteX19" fmla="*/ 143839 w 143838"/>
                  <a:gd name="connsiteY19" fmla="*/ 115729 h 143732"/>
                  <a:gd name="connsiteX20" fmla="*/ 139362 w 143838"/>
                  <a:gd name="connsiteY20" fmla="*/ 126016 h 143732"/>
                  <a:gd name="connsiteX21" fmla="*/ 126789 w 143838"/>
                  <a:gd name="connsiteY21" fmla="*/ 138494 h 143732"/>
                  <a:gd name="connsiteX22" fmla="*/ 114692 w 143838"/>
                  <a:gd name="connsiteY22" fmla="*/ 143732 h 143732"/>
                  <a:gd name="connsiteX23" fmla="*/ 28300 w 143838"/>
                  <a:gd name="connsiteY23" fmla="*/ 14288 h 143732"/>
                  <a:gd name="connsiteX24" fmla="*/ 15156 w 143838"/>
                  <a:gd name="connsiteY24" fmla="*/ 26860 h 143732"/>
                  <a:gd name="connsiteX25" fmla="*/ 14394 w 143838"/>
                  <a:gd name="connsiteY25" fmla="*/ 30099 h 143732"/>
                  <a:gd name="connsiteX26" fmla="*/ 113549 w 143838"/>
                  <a:gd name="connsiteY26" fmla="*/ 129254 h 143732"/>
                  <a:gd name="connsiteX27" fmla="*/ 116597 w 143838"/>
                  <a:gd name="connsiteY27" fmla="*/ 128588 h 143732"/>
                  <a:gd name="connsiteX28" fmla="*/ 129361 w 143838"/>
                  <a:gd name="connsiteY28" fmla="*/ 115919 h 143732"/>
                  <a:gd name="connsiteX29" fmla="*/ 129361 w 143838"/>
                  <a:gd name="connsiteY29" fmla="*/ 115348 h 143732"/>
                  <a:gd name="connsiteX30" fmla="*/ 108120 w 143838"/>
                  <a:gd name="connsiteY30" fmla="*/ 94107 h 143732"/>
                  <a:gd name="connsiteX31" fmla="*/ 96880 w 143838"/>
                  <a:gd name="connsiteY31" fmla="*/ 104775 h 143732"/>
                  <a:gd name="connsiteX32" fmla="*/ 78021 w 143838"/>
                  <a:gd name="connsiteY32" fmla="*/ 106966 h 143732"/>
                  <a:gd name="connsiteX33" fmla="*/ 36492 w 143838"/>
                  <a:gd name="connsiteY33" fmla="*/ 65437 h 143732"/>
                  <a:gd name="connsiteX34" fmla="*/ 38683 w 143838"/>
                  <a:gd name="connsiteY34" fmla="*/ 46673 h 143732"/>
                  <a:gd name="connsiteX35" fmla="*/ 49351 w 143838"/>
                  <a:gd name="connsiteY35" fmla="*/ 36004 h 143732"/>
                  <a:gd name="connsiteX36" fmla="*/ 28300 w 143838"/>
                  <a:gd name="connsiteY36" fmla="*/ 14288 h 143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143838" h="143732">
                    <a:moveTo>
                      <a:pt x="114692" y="143732"/>
                    </a:moveTo>
                    <a:cubicBezTo>
                      <a:pt x="112692" y="143732"/>
                      <a:pt x="110692" y="143351"/>
                      <a:pt x="108691" y="142685"/>
                    </a:cubicBezTo>
                    <a:cubicBezTo>
                      <a:pt x="58685" y="124301"/>
                      <a:pt x="19347" y="85058"/>
                      <a:pt x="964" y="34957"/>
                    </a:cubicBezTo>
                    <a:cubicBezTo>
                      <a:pt x="-1227" y="28575"/>
                      <a:pt x="392" y="21431"/>
                      <a:pt x="5059" y="16764"/>
                    </a:cubicBezTo>
                    <a:lnTo>
                      <a:pt x="17537" y="4286"/>
                    </a:lnTo>
                    <a:cubicBezTo>
                      <a:pt x="20299" y="1524"/>
                      <a:pt x="23919" y="0"/>
                      <a:pt x="27919" y="0"/>
                    </a:cubicBezTo>
                    <a:cubicBezTo>
                      <a:pt x="27919" y="0"/>
                      <a:pt x="27919" y="0"/>
                      <a:pt x="27919" y="0"/>
                    </a:cubicBezTo>
                    <a:cubicBezTo>
                      <a:pt x="31825" y="0"/>
                      <a:pt x="35539" y="1524"/>
                      <a:pt x="38302" y="4286"/>
                    </a:cubicBezTo>
                    <a:lnTo>
                      <a:pt x="59542" y="25527"/>
                    </a:lnTo>
                    <a:cubicBezTo>
                      <a:pt x="65257" y="31242"/>
                      <a:pt x="65257" y="40576"/>
                      <a:pt x="59542" y="46292"/>
                    </a:cubicBezTo>
                    <a:lnTo>
                      <a:pt x="48874" y="56959"/>
                    </a:lnTo>
                    <a:cubicBezTo>
                      <a:pt x="48493" y="57341"/>
                      <a:pt x="48493" y="57817"/>
                      <a:pt x="48684" y="58102"/>
                    </a:cubicBezTo>
                    <a:cubicBezTo>
                      <a:pt x="57828" y="72771"/>
                      <a:pt x="70591" y="85534"/>
                      <a:pt x="85641" y="95059"/>
                    </a:cubicBezTo>
                    <a:cubicBezTo>
                      <a:pt x="85927" y="95250"/>
                      <a:pt x="86498" y="95250"/>
                      <a:pt x="86879" y="94869"/>
                    </a:cubicBezTo>
                    <a:lnTo>
                      <a:pt x="97547" y="84011"/>
                    </a:lnTo>
                    <a:cubicBezTo>
                      <a:pt x="100309" y="81248"/>
                      <a:pt x="104024" y="79724"/>
                      <a:pt x="107929" y="79724"/>
                    </a:cubicBezTo>
                    <a:cubicBezTo>
                      <a:pt x="107929" y="79724"/>
                      <a:pt x="107929" y="79724"/>
                      <a:pt x="107929" y="79724"/>
                    </a:cubicBezTo>
                    <a:cubicBezTo>
                      <a:pt x="111835" y="79724"/>
                      <a:pt x="115549" y="81248"/>
                      <a:pt x="118312" y="84011"/>
                    </a:cubicBezTo>
                    <a:lnTo>
                      <a:pt x="139457" y="105156"/>
                    </a:lnTo>
                    <a:cubicBezTo>
                      <a:pt x="142315" y="108014"/>
                      <a:pt x="143839" y="111728"/>
                      <a:pt x="143839" y="115729"/>
                    </a:cubicBezTo>
                    <a:cubicBezTo>
                      <a:pt x="143839" y="119634"/>
                      <a:pt x="142219" y="123349"/>
                      <a:pt x="139362" y="126016"/>
                    </a:cubicBezTo>
                    <a:lnTo>
                      <a:pt x="126789" y="138494"/>
                    </a:lnTo>
                    <a:cubicBezTo>
                      <a:pt x="123741" y="141923"/>
                      <a:pt x="119264" y="143732"/>
                      <a:pt x="114692" y="143732"/>
                    </a:cubicBezTo>
                    <a:close/>
                    <a:moveTo>
                      <a:pt x="28300" y="14288"/>
                    </a:moveTo>
                    <a:lnTo>
                      <a:pt x="15156" y="26860"/>
                    </a:lnTo>
                    <a:cubicBezTo>
                      <a:pt x="14299" y="27718"/>
                      <a:pt x="14013" y="29051"/>
                      <a:pt x="14394" y="30099"/>
                    </a:cubicBezTo>
                    <a:cubicBezTo>
                      <a:pt x="31253" y="76105"/>
                      <a:pt x="67448" y="112300"/>
                      <a:pt x="113549" y="129254"/>
                    </a:cubicBezTo>
                    <a:cubicBezTo>
                      <a:pt x="114597" y="129635"/>
                      <a:pt x="115835" y="129349"/>
                      <a:pt x="116597" y="128588"/>
                    </a:cubicBezTo>
                    <a:lnTo>
                      <a:pt x="129361" y="115919"/>
                    </a:lnTo>
                    <a:cubicBezTo>
                      <a:pt x="129361" y="115919"/>
                      <a:pt x="129361" y="115348"/>
                      <a:pt x="129361" y="115348"/>
                    </a:cubicBezTo>
                    <a:lnTo>
                      <a:pt x="108120" y="94107"/>
                    </a:lnTo>
                    <a:lnTo>
                      <a:pt x="96880" y="104775"/>
                    </a:lnTo>
                    <a:cubicBezTo>
                      <a:pt x="91832" y="109823"/>
                      <a:pt x="84117" y="110680"/>
                      <a:pt x="78021" y="106966"/>
                    </a:cubicBezTo>
                    <a:cubicBezTo>
                      <a:pt x="61066" y="96202"/>
                      <a:pt x="46779" y="81915"/>
                      <a:pt x="36492" y="65437"/>
                    </a:cubicBezTo>
                    <a:cubicBezTo>
                      <a:pt x="32777" y="59531"/>
                      <a:pt x="33634" y="51625"/>
                      <a:pt x="38683" y="46673"/>
                    </a:cubicBezTo>
                    <a:lnTo>
                      <a:pt x="49351" y="36004"/>
                    </a:lnTo>
                    <a:lnTo>
                      <a:pt x="28300" y="1428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491" name="Grafik 224">
                <a:extLst>
                  <a:ext uri="{FF2B5EF4-FFF2-40B4-BE49-F238E27FC236}">
                    <a16:creationId xmlns:a16="http://schemas.microsoft.com/office/drawing/2014/main" id="{4B7B2387-64D6-B7FA-76D8-10B610818C17}"/>
                  </a:ext>
                </a:extLst>
              </p:cNvPr>
              <p:cNvGrpSpPr/>
              <p:nvPr/>
            </p:nvGrpSpPr>
            <p:grpSpPr bwMode="gray">
              <a:xfrm>
                <a:off x="6109587" y="3460051"/>
                <a:ext cx="112293" cy="111442"/>
                <a:chOff x="6109587" y="3460051"/>
                <a:chExt cx="112293" cy="111442"/>
              </a:xfrm>
              <a:grpFill/>
            </p:grpSpPr>
            <p:sp>
              <p:nvSpPr>
                <p:cNvPr id="492" name="Grafik 224">
                  <a:extLst>
                    <a:ext uri="{FF2B5EF4-FFF2-40B4-BE49-F238E27FC236}">
                      <a16:creationId xmlns:a16="http://schemas.microsoft.com/office/drawing/2014/main" id="{A595F6FE-EE82-8E9D-AFB3-7AF6B5845AEC}"/>
                    </a:ext>
                  </a:extLst>
                </p:cNvPr>
                <p:cNvSpPr/>
                <p:nvPr/>
              </p:nvSpPr>
              <p:spPr bwMode="gray">
                <a:xfrm>
                  <a:off x="6136183" y="3486530"/>
                  <a:ext cx="54502" cy="58483"/>
                </a:xfrm>
                <a:custGeom>
                  <a:avLst/>
                  <a:gdLst>
                    <a:gd name="connsiteX0" fmla="*/ 24872 w 54502"/>
                    <a:gd name="connsiteY0" fmla="*/ 58483 h 58483"/>
                    <a:gd name="connsiteX1" fmla="*/ 7060 w 54502"/>
                    <a:gd name="connsiteY1" fmla="*/ 50673 h 58483"/>
                    <a:gd name="connsiteX2" fmla="*/ 107 w 54502"/>
                    <a:gd name="connsiteY2" fmla="*/ 28575 h 58483"/>
                    <a:gd name="connsiteX3" fmla="*/ 28777 w 54502"/>
                    <a:gd name="connsiteY3" fmla="*/ 0 h 58483"/>
                    <a:gd name="connsiteX4" fmla="*/ 47351 w 54502"/>
                    <a:gd name="connsiteY4" fmla="*/ 8192 h 58483"/>
                    <a:gd name="connsiteX5" fmla="*/ 54399 w 54502"/>
                    <a:gd name="connsiteY5" fmla="*/ 29908 h 58483"/>
                    <a:gd name="connsiteX6" fmla="*/ 54399 w 54502"/>
                    <a:gd name="connsiteY6" fmla="*/ 29908 h 58483"/>
                    <a:gd name="connsiteX7" fmla="*/ 24872 w 54502"/>
                    <a:gd name="connsiteY7" fmla="*/ 58483 h 58483"/>
                    <a:gd name="connsiteX8" fmla="*/ 28777 w 54502"/>
                    <a:gd name="connsiteY8" fmla="*/ 14288 h 58483"/>
                    <a:gd name="connsiteX9" fmla="*/ 14394 w 54502"/>
                    <a:gd name="connsiteY9" fmla="*/ 29908 h 58483"/>
                    <a:gd name="connsiteX10" fmla="*/ 17633 w 54502"/>
                    <a:gd name="connsiteY10" fmla="*/ 41053 h 58483"/>
                    <a:gd name="connsiteX11" fmla="*/ 24967 w 54502"/>
                    <a:gd name="connsiteY11" fmla="*/ 44196 h 58483"/>
                    <a:gd name="connsiteX12" fmla="*/ 40207 w 54502"/>
                    <a:gd name="connsiteY12" fmla="*/ 28575 h 58483"/>
                    <a:gd name="connsiteX13" fmla="*/ 36873 w 54502"/>
                    <a:gd name="connsiteY13" fmla="*/ 17812 h 58483"/>
                    <a:gd name="connsiteX14" fmla="*/ 28777 w 54502"/>
                    <a:gd name="connsiteY14" fmla="*/ 14288 h 58483"/>
                    <a:gd name="connsiteX15" fmla="*/ 47255 w 54502"/>
                    <a:gd name="connsiteY15" fmla="*/ 29242 h 58483"/>
                    <a:gd name="connsiteX16" fmla="*/ 47255 w 54502"/>
                    <a:gd name="connsiteY16" fmla="*/ 29242 h 58483"/>
                    <a:gd name="connsiteX17" fmla="*/ 47255 w 54502"/>
                    <a:gd name="connsiteY17" fmla="*/ 29242 h 584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54502" h="58483">
                      <a:moveTo>
                        <a:pt x="24872" y="58483"/>
                      </a:moveTo>
                      <a:cubicBezTo>
                        <a:pt x="17918" y="58483"/>
                        <a:pt x="11632" y="55721"/>
                        <a:pt x="7060" y="50673"/>
                      </a:cubicBezTo>
                      <a:cubicBezTo>
                        <a:pt x="1916" y="45053"/>
                        <a:pt x="-560" y="37052"/>
                        <a:pt x="107" y="28575"/>
                      </a:cubicBezTo>
                      <a:cubicBezTo>
                        <a:pt x="1535" y="12573"/>
                        <a:pt x="14108" y="0"/>
                        <a:pt x="28777" y="0"/>
                      </a:cubicBezTo>
                      <a:cubicBezTo>
                        <a:pt x="35921" y="0"/>
                        <a:pt x="42493" y="2857"/>
                        <a:pt x="47351" y="8192"/>
                      </a:cubicBezTo>
                      <a:cubicBezTo>
                        <a:pt x="52494" y="13811"/>
                        <a:pt x="55066" y="21717"/>
                        <a:pt x="54399" y="29908"/>
                      </a:cubicBezTo>
                      <a:lnTo>
                        <a:pt x="54399" y="29908"/>
                      </a:lnTo>
                      <a:cubicBezTo>
                        <a:pt x="52875" y="46768"/>
                        <a:pt x="40778" y="58483"/>
                        <a:pt x="24872" y="58483"/>
                      </a:cubicBezTo>
                      <a:close/>
                      <a:moveTo>
                        <a:pt x="28777" y="14288"/>
                      </a:moveTo>
                      <a:cubicBezTo>
                        <a:pt x="21443" y="14288"/>
                        <a:pt x="15156" y="21145"/>
                        <a:pt x="14394" y="29908"/>
                      </a:cubicBezTo>
                      <a:cubicBezTo>
                        <a:pt x="14013" y="34385"/>
                        <a:pt x="15156" y="38481"/>
                        <a:pt x="17633" y="41053"/>
                      </a:cubicBezTo>
                      <a:cubicBezTo>
                        <a:pt x="19538" y="43053"/>
                        <a:pt x="22014" y="44196"/>
                        <a:pt x="24967" y="44196"/>
                      </a:cubicBezTo>
                      <a:cubicBezTo>
                        <a:pt x="33349" y="44196"/>
                        <a:pt x="39350" y="38100"/>
                        <a:pt x="40207" y="28575"/>
                      </a:cubicBezTo>
                      <a:cubicBezTo>
                        <a:pt x="40588" y="24479"/>
                        <a:pt x="39350" y="20479"/>
                        <a:pt x="36873" y="17812"/>
                      </a:cubicBezTo>
                      <a:cubicBezTo>
                        <a:pt x="35349" y="16193"/>
                        <a:pt x="32777" y="14288"/>
                        <a:pt x="28777" y="14288"/>
                      </a:cubicBezTo>
                      <a:close/>
                      <a:moveTo>
                        <a:pt x="47255" y="29242"/>
                      </a:moveTo>
                      <a:lnTo>
                        <a:pt x="47255" y="29242"/>
                      </a:lnTo>
                      <a:lnTo>
                        <a:pt x="47255" y="29242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3" name="Grafik 224">
                  <a:extLst>
                    <a:ext uri="{FF2B5EF4-FFF2-40B4-BE49-F238E27FC236}">
                      <a16:creationId xmlns:a16="http://schemas.microsoft.com/office/drawing/2014/main" id="{BEE628E5-555D-019C-67D5-E8819983C031}"/>
                    </a:ext>
                  </a:extLst>
                </p:cNvPr>
                <p:cNvSpPr/>
                <p:nvPr/>
              </p:nvSpPr>
              <p:spPr bwMode="gray">
                <a:xfrm>
                  <a:off x="6109587" y="3460051"/>
                  <a:ext cx="112293" cy="111442"/>
                </a:xfrm>
                <a:custGeom>
                  <a:avLst/>
                  <a:gdLst>
                    <a:gd name="connsiteX0" fmla="*/ 51849 w 112293"/>
                    <a:gd name="connsiteY0" fmla="*/ 111442 h 111442"/>
                    <a:gd name="connsiteX1" fmla="*/ 13368 w 112293"/>
                    <a:gd name="connsiteY1" fmla="*/ 94964 h 111442"/>
                    <a:gd name="connsiteX2" fmla="*/ 223 w 112293"/>
                    <a:gd name="connsiteY2" fmla="*/ 55150 h 111442"/>
                    <a:gd name="connsiteX3" fmla="*/ 60326 w 112293"/>
                    <a:gd name="connsiteY3" fmla="*/ 0 h 111442"/>
                    <a:gd name="connsiteX4" fmla="*/ 100331 w 112293"/>
                    <a:gd name="connsiteY4" fmla="*/ 15716 h 111442"/>
                    <a:gd name="connsiteX5" fmla="*/ 112047 w 112293"/>
                    <a:gd name="connsiteY5" fmla="*/ 54102 h 111442"/>
                    <a:gd name="connsiteX6" fmla="*/ 99474 w 112293"/>
                    <a:gd name="connsiteY6" fmla="*/ 80105 h 111442"/>
                    <a:gd name="connsiteX7" fmla="*/ 82615 w 112293"/>
                    <a:gd name="connsiteY7" fmla="*/ 84868 h 111442"/>
                    <a:gd name="connsiteX8" fmla="*/ 66327 w 112293"/>
                    <a:gd name="connsiteY8" fmla="*/ 59722 h 111442"/>
                    <a:gd name="connsiteX9" fmla="*/ 68708 w 112293"/>
                    <a:gd name="connsiteY9" fmla="*/ 33147 h 111442"/>
                    <a:gd name="connsiteX10" fmla="*/ 76423 w 112293"/>
                    <a:gd name="connsiteY10" fmla="*/ 26670 h 111442"/>
                    <a:gd name="connsiteX11" fmla="*/ 82900 w 112293"/>
                    <a:gd name="connsiteY11" fmla="*/ 34385 h 111442"/>
                    <a:gd name="connsiteX12" fmla="*/ 80519 w 112293"/>
                    <a:gd name="connsiteY12" fmla="*/ 60960 h 111442"/>
                    <a:gd name="connsiteX13" fmla="*/ 85091 w 112293"/>
                    <a:gd name="connsiteY13" fmla="*/ 70866 h 111442"/>
                    <a:gd name="connsiteX14" fmla="*/ 90711 w 112293"/>
                    <a:gd name="connsiteY14" fmla="*/ 68866 h 111442"/>
                    <a:gd name="connsiteX15" fmla="*/ 97759 w 112293"/>
                    <a:gd name="connsiteY15" fmla="*/ 52959 h 111442"/>
                    <a:gd name="connsiteX16" fmla="*/ 89663 w 112293"/>
                    <a:gd name="connsiteY16" fmla="*/ 25527 h 111442"/>
                    <a:gd name="connsiteX17" fmla="*/ 60231 w 112293"/>
                    <a:gd name="connsiteY17" fmla="*/ 14478 h 111442"/>
                    <a:gd name="connsiteX18" fmla="*/ 14320 w 112293"/>
                    <a:gd name="connsiteY18" fmla="*/ 56579 h 111442"/>
                    <a:gd name="connsiteX19" fmla="*/ 23750 w 112293"/>
                    <a:gd name="connsiteY19" fmla="*/ 85535 h 111442"/>
                    <a:gd name="connsiteX20" fmla="*/ 51658 w 112293"/>
                    <a:gd name="connsiteY20" fmla="*/ 97441 h 111442"/>
                    <a:gd name="connsiteX21" fmla="*/ 70804 w 112293"/>
                    <a:gd name="connsiteY21" fmla="*/ 94012 h 111442"/>
                    <a:gd name="connsiteX22" fmla="*/ 80138 w 112293"/>
                    <a:gd name="connsiteY22" fmla="*/ 97822 h 111442"/>
                    <a:gd name="connsiteX23" fmla="*/ 76328 w 112293"/>
                    <a:gd name="connsiteY23" fmla="*/ 107156 h 111442"/>
                    <a:gd name="connsiteX24" fmla="*/ 51849 w 112293"/>
                    <a:gd name="connsiteY24" fmla="*/ 111442 h 1114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112293" h="111442">
                      <a:moveTo>
                        <a:pt x="51849" y="111442"/>
                      </a:moveTo>
                      <a:cubicBezTo>
                        <a:pt x="36799" y="111442"/>
                        <a:pt x="23179" y="105537"/>
                        <a:pt x="13368" y="94964"/>
                      </a:cubicBezTo>
                      <a:cubicBezTo>
                        <a:pt x="3557" y="84296"/>
                        <a:pt x="-1110" y="70104"/>
                        <a:pt x="223" y="55150"/>
                      </a:cubicBezTo>
                      <a:cubicBezTo>
                        <a:pt x="2890" y="24765"/>
                        <a:pt x="29846" y="0"/>
                        <a:pt x="60326" y="0"/>
                      </a:cubicBezTo>
                      <a:cubicBezTo>
                        <a:pt x="77090" y="0"/>
                        <a:pt x="90901" y="5429"/>
                        <a:pt x="100331" y="15716"/>
                      </a:cubicBezTo>
                      <a:cubicBezTo>
                        <a:pt x="109285" y="25432"/>
                        <a:pt x="113380" y="39053"/>
                        <a:pt x="112047" y="54102"/>
                      </a:cubicBezTo>
                      <a:cubicBezTo>
                        <a:pt x="110809" y="68580"/>
                        <a:pt x="104522" y="76200"/>
                        <a:pt x="99474" y="80105"/>
                      </a:cubicBezTo>
                      <a:cubicBezTo>
                        <a:pt x="94330" y="84011"/>
                        <a:pt x="88044" y="85820"/>
                        <a:pt x="82615" y="84868"/>
                      </a:cubicBezTo>
                      <a:cubicBezTo>
                        <a:pt x="74233" y="83344"/>
                        <a:pt x="64898" y="75914"/>
                        <a:pt x="66327" y="59722"/>
                      </a:cubicBezTo>
                      <a:lnTo>
                        <a:pt x="68708" y="33147"/>
                      </a:lnTo>
                      <a:cubicBezTo>
                        <a:pt x="69089" y="29242"/>
                        <a:pt x="72518" y="26289"/>
                        <a:pt x="76423" y="26670"/>
                      </a:cubicBezTo>
                      <a:cubicBezTo>
                        <a:pt x="80329" y="27051"/>
                        <a:pt x="83281" y="30480"/>
                        <a:pt x="82900" y="34385"/>
                      </a:cubicBezTo>
                      <a:lnTo>
                        <a:pt x="80519" y="60960"/>
                      </a:lnTo>
                      <a:cubicBezTo>
                        <a:pt x="80329" y="63627"/>
                        <a:pt x="80233" y="70009"/>
                        <a:pt x="85091" y="70866"/>
                      </a:cubicBezTo>
                      <a:cubicBezTo>
                        <a:pt x="85853" y="70961"/>
                        <a:pt x="88234" y="70771"/>
                        <a:pt x="90711" y="68866"/>
                      </a:cubicBezTo>
                      <a:cubicBezTo>
                        <a:pt x="93473" y="66770"/>
                        <a:pt x="96902" y="62293"/>
                        <a:pt x="97759" y="52959"/>
                      </a:cubicBezTo>
                      <a:cubicBezTo>
                        <a:pt x="98712" y="41815"/>
                        <a:pt x="95950" y="32290"/>
                        <a:pt x="89663" y="25527"/>
                      </a:cubicBezTo>
                      <a:cubicBezTo>
                        <a:pt x="82996" y="18288"/>
                        <a:pt x="72804" y="14478"/>
                        <a:pt x="60231" y="14478"/>
                      </a:cubicBezTo>
                      <a:cubicBezTo>
                        <a:pt x="36990" y="14478"/>
                        <a:pt x="16321" y="33337"/>
                        <a:pt x="14320" y="56579"/>
                      </a:cubicBezTo>
                      <a:cubicBezTo>
                        <a:pt x="13368" y="67532"/>
                        <a:pt x="16702" y="77819"/>
                        <a:pt x="23750" y="85535"/>
                      </a:cubicBezTo>
                      <a:cubicBezTo>
                        <a:pt x="30799" y="93155"/>
                        <a:pt x="40705" y="97441"/>
                        <a:pt x="51658" y="97441"/>
                      </a:cubicBezTo>
                      <a:cubicBezTo>
                        <a:pt x="59374" y="97441"/>
                        <a:pt x="63755" y="96964"/>
                        <a:pt x="70804" y="94012"/>
                      </a:cubicBezTo>
                      <a:cubicBezTo>
                        <a:pt x="74423" y="92488"/>
                        <a:pt x="78614" y="94202"/>
                        <a:pt x="80138" y="97822"/>
                      </a:cubicBezTo>
                      <a:cubicBezTo>
                        <a:pt x="81662" y="101441"/>
                        <a:pt x="79948" y="105632"/>
                        <a:pt x="76328" y="107156"/>
                      </a:cubicBezTo>
                      <a:cubicBezTo>
                        <a:pt x="67375" y="110776"/>
                        <a:pt x="60993" y="111442"/>
                        <a:pt x="51849" y="11144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513" name="Grafik 226">
            <a:extLst>
              <a:ext uri="{FF2B5EF4-FFF2-40B4-BE49-F238E27FC236}">
                <a16:creationId xmlns:a16="http://schemas.microsoft.com/office/drawing/2014/main" id="{F5FBD36D-8CCF-4194-6F5B-8B72557FB06A}"/>
              </a:ext>
            </a:extLst>
          </p:cNvPr>
          <p:cNvGrpSpPr/>
          <p:nvPr/>
        </p:nvGrpSpPr>
        <p:grpSpPr bwMode="gray">
          <a:xfrm>
            <a:off x="7536202" y="347673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514" name="Grafik 226">
              <a:extLst>
                <a:ext uri="{FF2B5EF4-FFF2-40B4-BE49-F238E27FC236}">
                  <a16:creationId xmlns:a16="http://schemas.microsoft.com/office/drawing/2014/main" id="{2FAFFD7A-4730-0E1E-790C-F02A83E94063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5" name="Grafik 226">
              <a:extLst>
                <a:ext uri="{FF2B5EF4-FFF2-40B4-BE49-F238E27FC236}">
                  <a16:creationId xmlns:a16="http://schemas.microsoft.com/office/drawing/2014/main" id="{E5F61461-BD96-BAA6-CC70-42A68D8B73EB}"/>
                </a:ext>
              </a:extLst>
            </p:cNvPr>
            <p:cNvSpPr/>
            <p:nvPr/>
          </p:nvSpPr>
          <p:spPr bwMode="gray">
            <a:xfrm>
              <a:off x="5908357" y="3306222"/>
              <a:ext cx="305849" cy="305847"/>
            </a:xfrm>
            <a:custGeom>
              <a:avLst/>
              <a:gdLst>
                <a:gd name="connsiteX0" fmla="*/ 298799 w 305849"/>
                <a:gd name="connsiteY0" fmla="*/ 305848 h 305847"/>
                <a:gd name="connsiteX1" fmla="*/ 7144 w 305849"/>
                <a:gd name="connsiteY1" fmla="*/ 305848 h 305847"/>
                <a:gd name="connsiteX2" fmla="*/ 0 w 305849"/>
                <a:gd name="connsiteY2" fmla="*/ 298704 h 305847"/>
                <a:gd name="connsiteX3" fmla="*/ 0 w 305849"/>
                <a:gd name="connsiteY3" fmla="*/ 7144 h 305847"/>
                <a:gd name="connsiteX4" fmla="*/ 7144 w 305849"/>
                <a:gd name="connsiteY4" fmla="*/ 0 h 305847"/>
                <a:gd name="connsiteX5" fmla="*/ 298704 w 305849"/>
                <a:gd name="connsiteY5" fmla="*/ 0 h 305847"/>
                <a:gd name="connsiteX6" fmla="*/ 305848 w 305849"/>
                <a:gd name="connsiteY6" fmla="*/ 7144 h 305847"/>
                <a:gd name="connsiteX7" fmla="*/ 305848 w 305849"/>
                <a:gd name="connsiteY7" fmla="*/ 298704 h 305847"/>
                <a:gd name="connsiteX8" fmla="*/ 298799 w 305849"/>
                <a:gd name="connsiteY8" fmla="*/ 305848 h 305847"/>
                <a:gd name="connsiteX9" fmla="*/ 14288 w 305849"/>
                <a:gd name="connsiteY9" fmla="*/ 291560 h 305847"/>
                <a:gd name="connsiteX10" fmla="*/ 291560 w 305849"/>
                <a:gd name="connsiteY10" fmla="*/ 291560 h 305847"/>
                <a:gd name="connsiteX11" fmla="*/ 291560 w 305849"/>
                <a:gd name="connsiteY11" fmla="*/ 14288 h 305847"/>
                <a:gd name="connsiteX12" fmla="*/ 14288 w 305849"/>
                <a:gd name="connsiteY12" fmla="*/ 14288 h 305847"/>
                <a:gd name="connsiteX13" fmla="*/ 14288 w 305849"/>
                <a:gd name="connsiteY13" fmla="*/ 291560 h 305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5849" h="305847">
                  <a:moveTo>
                    <a:pt x="298799" y="305848"/>
                  </a:moveTo>
                  <a:lnTo>
                    <a:pt x="7144" y="305848"/>
                  </a:lnTo>
                  <a:cubicBezTo>
                    <a:pt x="3238" y="305848"/>
                    <a:pt x="0" y="302609"/>
                    <a:pt x="0" y="298704"/>
                  </a:cubicBezTo>
                  <a:lnTo>
                    <a:pt x="0" y="7144"/>
                  </a:lnTo>
                  <a:cubicBezTo>
                    <a:pt x="0" y="3239"/>
                    <a:pt x="3238" y="0"/>
                    <a:pt x="7144" y="0"/>
                  </a:cubicBezTo>
                  <a:lnTo>
                    <a:pt x="298704" y="0"/>
                  </a:lnTo>
                  <a:cubicBezTo>
                    <a:pt x="302609" y="0"/>
                    <a:pt x="305848" y="3239"/>
                    <a:pt x="305848" y="7144"/>
                  </a:cubicBezTo>
                  <a:lnTo>
                    <a:pt x="305848" y="298704"/>
                  </a:lnTo>
                  <a:cubicBezTo>
                    <a:pt x="305943" y="302609"/>
                    <a:pt x="302705" y="305848"/>
                    <a:pt x="298799" y="305848"/>
                  </a:cubicBezTo>
                  <a:close/>
                  <a:moveTo>
                    <a:pt x="14288" y="291560"/>
                  </a:moveTo>
                  <a:lnTo>
                    <a:pt x="291560" y="291560"/>
                  </a:lnTo>
                  <a:lnTo>
                    <a:pt x="291560" y="14288"/>
                  </a:lnTo>
                  <a:lnTo>
                    <a:pt x="14288" y="14288"/>
                  </a:lnTo>
                  <a:lnTo>
                    <a:pt x="14288" y="2915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6" name="Grafik 226">
              <a:extLst>
                <a:ext uri="{FF2B5EF4-FFF2-40B4-BE49-F238E27FC236}">
                  <a16:creationId xmlns:a16="http://schemas.microsoft.com/office/drawing/2014/main" id="{DDD00E35-3172-EBC0-55DE-D38919202491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7" name="Grafik 226">
              <a:extLst>
                <a:ext uri="{FF2B5EF4-FFF2-40B4-BE49-F238E27FC236}">
                  <a16:creationId xmlns:a16="http://schemas.microsoft.com/office/drawing/2014/main" id="{0D5F3D14-8469-B8F6-1D1B-E68D03A55E35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8" name="Grafik 226">
              <a:extLst>
                <a:ext uri="{FF2B5EF4-FFF2-40B4-BE49-F238E27FC236}">
                  <a16:creationId xmlns:a16="http://schemas.microsoft.com/office/drawing/2014/main" id="{501D8AE7-832B-71FC-C795-5085F88D4CFA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9" name="Grafik 226">
              <a:extLst>
                <a:ext uri="{FF2B5EF4-FFF2-40B4-BE49-F238E27FC236}">
                  <a16:creationId xmlns:a16="http://schemas.microsoft.com/office/drawing/2014/main" id="{735BC63F-6528-C683-0D81-5B91D2E69278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20" name="Grafik 226">
              <a:extLst>
                <a:ext uri="{FF2B5EF4-FFF2-40B4-BE49-F238E27FC236}">
                  <a16:creationId xmlns:a16="http://schemas.microsoft.com/office/drawing/2014/main" id="{C9B0F898-1760-3F14-6041-CB6E00CCBCEE}"/>
                </a:ext>
              </a:extLst>
            </p:cNvPr>
            <p:cNvSpPr/>
            <p:nvPr/>
          </p:nvSpPr>
          <p:spPr bwMode="gray">
            <a:xfrm>
              <a:off x="5908380" y="3306246"/>
              <a:ext cx="305895" cy="305823"/>
            </a:xfrm>
            <a:custGeom>
              <a:avLst/>
              <a:gdLst>
                <a:gd name="connsiteX0" fmla="*/ 298775 w 305895"/>
                <a:gd name="connsiteY0" fmla="*/ 305824 h 305823"/>
                <a:gd name="connsiteX1" fmla="*/ 293727 w 305895"/>
                <a:gd name="connsiteY1" fmla="*/ 303728 h 305823"/>
                <a:gd name="connsiteX2" fmla="*/ 2072 w 305895"/>
                <a:gd name="connsiteY2" fmla="*/ 12168 h 305823"/>
                <a:gd name="connsiteX3" fmla="*/ 2072 w 305895"/>
                <a:gd name="connsiteY3" fmla="*/ 2072 h 305823"/>
                <a:gd name="connsiteX4" fmla="*/ 12168 w 305895"/>
                <a:gd name="connsiteY4" fmla="*/ 2072 h 305823"/>
                <a:gd name="connsiteX5" fmla="*/ 303824 w 305895"/>
                <a:gd name="connsiteY5" fmla="*/ 293632 h 305823"/>
                <a:gd name="connsiteX6" fmla="*/ 303824 w 305895"/>
                <a:gd name="connsiteY6" fmla="*/ 303728 h 305823"/>
                <a:gd name="connsiteX7" fmla="*/ 298775 w 305895"/>
                <a:gd name="connsiteY7" fmla="*/ 305824 h 305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5895" h="305823">
                  <a:moveTo>
                    <a:pt x="298775" y="305824"/>
                  </a:moveTo>
                  <a:cubicBezTo>
                    <a:pt x="296966" y="305824"/>
                    <a:pt x="295156" y="305157"/>
                    <a:pt x="293727" y="303728"/>
                  </a:cubicBezTo>
                  <a:lnTo>
                    <a:pt x="2072" y="12168"/>
                  </a:lnTo>
                  <a:cubicBezTo>
                    <a:pt x="-691" y="9406"/>
                    <a:pt x="-691" y="4834"/>
                    <a:pt x="2072" y="2072"/>
                  </a:cubicBezTo>
                  <a:cubicBezTo>
                    <a:pt x="4834" y="-691"/>
                    <a:pt x="9406" y="-691"/>
                    <a:pt x="12168" y="2072"/>
                  </a:cubicBezTo>
                  <a:lnTo>
                    <a:pt x="303824" y="293632"/>
                  </a:lnTo>
                  <a:cubicBezTo>
                    <a:pt x="306586" y="296394"/>
                    <a:pt x="306586" y="300966"/>
                    <a:pt x="303824" y="303728"/>
                  </a:cubicBezTo>
                  <a:cubicBezTo>
                    <a:pt x="302395" y="305157"/>
                    <a:pt x="300585" y="305824"/>
                    <a:pt x="298775" y="3058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521" name="Rectangle 520">
            <a:extLst>
              <a:ext uri="{FF2B5EF4-FFF2-40B4-BE49-F238E27FC236}">
                <a16:creationId xmlns:a16="http://schemas.microsoft.com/office/drawing/2014/main" id="{1ED0CA7F-0A67-82D0-9262-B10FDC82B881}"/>
              </a:ext>
            </a:extLst>
          </p:cNvPr>
          <p:cNvSpPr/>
          <p:nvPr/>
        </p:nvSpPr>
        <p:spPr>
          <a:xfrm>
            <a:off x="6614160" y="4599707"/>
            <a:ext cx="3002951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Miscellaneous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522" name="Text Box 61">
            <a:extLst>
              <a:ext uri="{FF2B5EF4-FFF2-40B4-BE49-F238E27FC236}">
                <a16:creationId xmlns:a16="http://schemas.microsoft.com/office/drawing/2014/main" id="{2BEBFA9B-141B-01BB-75CB-1968A684D0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4643438"/>
            <a:ext cx="89505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Telephone IP</a:t>
            </a:r>
          </a:p>
        </p:txBody>
      </p:sp>
      <p:sp>
        <p:nvSpPr>
          <p:cNvPr id="523" name="Text Box 62">
            <a:extLst>
              <a:ext uri="{FF2B5EF4-FFF2-40B4-BE49-F238E27FC236}">
                <a16:creationId xmlns:a16="http://schemas.microsoft.com/office/drawing/2014/main" id="{77D7D49C-BF54-80BF-203F-EB989BD12D5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5189538"/>
            <a:ext cx="128836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Protocol Translator</a:t>
            </a:r>
          </a:p>
        </p:txBody>
      </p:sp>
      <p:sp>
        <p:nvSpPr>
          <p:cNvPr id="524" name="Text Box 62">
            <a:extLst>
              <a:ext uri="{FF2B5EF4-FFF2-40B4-BE49-F238E27FC236}">
                <a16:creationId xmlns:a16="http://schemas.microsoft.com/office/drawing/2014/main" id="{B6D0A245-C789-D30D-07A4-DD17A05493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5735638"/>
            <a:ext cx="130324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Resource Manager</a:t>
            </a:r>
          </a:p>
        </p:txBody>
      </p:sp>
      <p:sp>
        <p:nvSpPr>
          <p:cNvPr id="525" name="Text Box 58">
            <a:extLst>
              <a:ext uri="{FF2B5EF4-FFF2-40B4-BE49-F238E27FC236}">
                <a16:creationId xmlns:a16="http://schemas.microsoft.com/office/drawing/2014/main" id="{E1E46F1B-7676-2CF0-30AE-59E1AD013A8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81605" y="5091973"/>
            <a:ext cx="69089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Net Sonar</a:t>
            </a:r>
          </a:p>
        </p:txBody>
      </p:sp>
      <p:sp>
        <p:nvSpPr>
          <p:cNvPr id="526" name="Text Box 59">
            <a:extLst>
              <a:ext uri="{FF2B5EF4-FFF2-40B4-BE49-F238E27FC236}">
                <a16:creationId xmlns:a16="http://schemas.microsoft.com/office/drawing/2014/main" id="{17532F44-E32A-BF7A-B5FB-4E20C0E00C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81605" y="5554253"/>
            <a:ext cx="91050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Call Manager</a:t>
            </a:r>
          </a:p>
        </p:txBody>
      </p:sp>
      <p:sp>
        <p:nvSpPr>
          <p:cNvPr id="527" name="Text Box 60">
            <a:extLst>
              <a:ext uri="{FF2B5EF4-FFF2-40B4-BE49-F238E27FC236}">
                <a16:creationId xmlns:a16="http://schemas.microsoft.com/office/drawing/2014/main" id="{93735DC6-5A6E-EF1D-BAC2-13F3EF755DE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81605" y="6024153"/>
            <a:ext cx="102431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 err="1"/>
              <a:t>Asic</a:t>
            </a:r>
            <a:r>
              <a:rPr lang="en-US" altLang="en-US" sz="1200" dirty="0"/>
              <a:t> Processor</a:t>
            </a:r>
          </a:p>
        </p:txBody>
      </p:sp>
      <p:sp>
        <p:nvSpPr>
          <p:cNvPr id="528" name="Text Box 61">
            <a:extLst>
              <a:ext uri="{FF2B5EF4-FFF2-40B4-BE49-F238E27FC236}">
                <a16:creationId xmlns:a16="http://schemas.microsoft.com/office/drawing/2014/main" id="{5A9B878F-AC95-C3C2-091D-7EC407A6E53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31640" y="5091973"/>
            <a:ext cx="57227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 err="1"/>
              <a:t>Netcrypt</a:t>
            </a:r>
            <a:endParaRPr lang="en-US" altLang="en-US" sz="1200" dirty="0"/>
          </a:p>
        </p:txBody>
      </p:sp>
      <p:sp>
        <p:nvSpPr>
          <p:cNvPr id="529" name="Text Box 62">
            <a:extLst>
              <a:ext uri="{FF2B5EF4-FFF2-40B4-BE49-F238E27FC236}">
                <a16:creationId xmlns:a16="http://schemas.microsoft.com/office/drawing/2014/main" id="{DF943960-4AA5-90F3-6442-F283E3E634C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31640" y="5554253"/>
            <a:ext cx="42639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Guard</a:t>
            </a:r>
          </a:p>
        </p:txBody>
      </p:sp>
      <p:sp>
        <p:nvSpPr>
          <p:cNvPr id="530" name="Text Box 62">
            <a:extLst>
              <a:ext uri="{FF2B5EF4-FFF2-40B4-BE49-F238E27FC236}">
                <a16:creationId xmlns:a16="http://schemas.microsoft.com/office/drawing/2014/main" id="{D060E724-ECC7-49BD-2562-06843AB052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31640" y="6024153"/>
            <a:ext cx="78547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FC Storage</a:t>
            </a:r>
          </a:p>
        </p:txBody>
      </p:sp>
      <p:grpSp>
        <p:nvGrpSpPr>
          <p:cNvPr id="531" name="Grafik 228">
            <a:extLst>
              <a:ext uri="{FF2B5EF4-FFF2-40B4-BE49-F238E27FC236}">
                <a16:creationId xmlns:a16="http://schemas.microsoft.com/office/drawing/2014/main" id="{6E819D2A-4560-5E38-B754-53E27651E319}"/>
              </a:ext>
            </a:extLst>
          </p:cNvPr>
          <p:cNvGrpSpPr/>
          <p:nvPr/>
        </p:nvGrpSpPr>
        <p:grpSpPr bwMode="gray">
          <a:xfrm>
            <a:off x="9942167" y="132775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532" name="Grafik 228">
              <a:extLst>
                <a:ext uri="{FF2B5EF4-FFF2-40B4-BE49-F238E27FC236}">
                  <a16:creationId xmlns:a16="http://schemas.microsoft.com/office/drawing/2014/main" id="{215FB9A3-5F76-3EA9-BD04-2C8766618CC3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33" name="Grafik 228">
              <a:extLst>
                <a:ext uri="{FF2B5EF4-FFF2-40B4-BE49-F238E27FC236}">
                  <a16:creationId xmlns:a16="http://schemas.microsoft.com/office/drawing/2014/main" id="{1023181F-0A6D-F186-FEBB-613E05ABB25A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534" name="Grafik 19">
            <a:extLst>
              <a:ext uri="{FF2B5EF4-FFF2-40B4-BE49-F238E27FC236}">
                <a16:creationId xmlns:a16="http://schemas.microsoft.com/office/drawing/2014/main" id="{C4422D0D-97D9-410E-399C-DABD4C4D851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942167" y="1850691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35" name="Grafik 19">
              <a:extLst>
                <a:ext uri="{FF2B5EF4-FFF2-40B4-BE49-F238E27FC236}">
                  <a16:creationId xmlns:a16="http://schemas.microsoft.com/office/drawing/2014/main" id="{BEC01065-0D68-B99D-CDCA-75978CC9A113}"/>
                </a:ext>
              </a:extLst>
            </p:cNvPr>
            <p:cNvGrpSpPr/>
            <p:nvPr/>
          </p:nvGrpSpPr>
          <p:grpSpPr bwMode="gray">
            <a:xfrm>
              <a:off x="5892164" y="3290029"/>
              <a:ext cx="338327" cy="338232"/>
              <a:chOff x="5892164" y="3290029"/>
              <a:chExt cx="338327" cy="338232"/>
            </a:xfrm>
            <a:grpFill/>
          </p:grpSpPr>
          <p:grpSp>
            <p:nvGrpSpPr>
              <p:cNvPr id="541" name="Grafik 19">
                <a:extLst>
                  <a:ext uri="{FF2B5EF4-FFF2-40B4-BE49-F238E27FC236}">
                    <a16:creationId xmlns:a16="http://schemas.microsoft.com/office/drawing/2014/main" id="{98FA30FA-0026-5574-0D6B-ABCE5EBA98B7}"/>
                  </a:ext>
                </a:extLst>
              </p:cNvPr>
              <p:cNvGrpSpPr/>
              <p:nvPr/>
            </p:nvGrpSpPr>
            <p:grpSpPr bwMode="gray">
              <a:xfrm>
                <a:off x="6054184" y="3348822"/>
                <a:ext cx="176307" cy="68175"/>
                <a:chOff x="6054184" y="3348822"/>
                <a:chExt cx="176307" cy="68175"/>
              </a:xfrm>
              <a:grpFill/>
            </p:grpSpPr>
            <p:sp>
              <p:nvSpPr>
                <p:cNvPr id="555" name="Grafik 19">
                  <a:extLst>
                    <a:ext uri="{FF2B5EF4-FFF2-40B4-BE49-F238E27FC236}">
                      <a16:creationId xmlns:a16="http://schemas.microsoft.com/office/drawing/2014/main" id="{0C20A57B-98BC-47E7-5BCE-C351350B749F}"/>
                    </a:ext>
                  </a:extLst>
                </p:cNvPr>
                <p:cNvSpPr/>
                <p:nvPr/>
              </p:nvSpPr>
              <p:spPr bwMode="gray">
                <a:xfrm>
                  <a:off x="6054184" y="3375754"/>
                  <a:ext cx="176307" cy="14287"/>
                </a:xfrm>
                <a:custGeom>
                  <a:avLst/>
                  <a:gdLst>
                    <a:gd name="connsiteX0" fmla="*/ 169164 w 176307"/>
                    <a:gd name="connsiteY0" fmla="*/ 14288 h 14287"/>
                    <a:gd name="connsiteX1" fmla="*/ 7144 w 176307"/>
                    <a:gd name="connsiteY1" fmla="*/ 14288 h 14287"/>
                    <a:gd name="connsiteX2" fmla="*/ 0 w 176307"/>
                    <a:gd name="connsiteY2" fmla="*/ 7144 h 14287"/>
                    <a:gd name="connsiteX3" fmla="*/ 7144 w 176307"/>
                    <a:gd name="connsiteY3" fmla="*/ 0 h 14287"/>
                    <a:gd name="connsiteX4" fmla="*/ 169164 w 176307"/>
                    <a:gd name="connsiteY4" fmla="*/ 0 h 14287"/>
                    <a:gd name="connsiteX5" fmla="*/ 176308 w 176307"/>
                    <a:gd name="connsiteY5" fmla="*/ 7144 h 14287"/>
                    <a:gd name="connsiteX6" fmla="*/ 169164 w 17630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76307" h="14287">
                      <a:moveTo>
                        <a:pt x="16916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69164" y="0"/>
                      </a:lnTo>
                      <a:cubicBezTo>
                        <a:pt x="173069" y="0"/>
                        <a:pt x="176308" y="3239"/>
                        <a:pt x="176308" y="7144"/>
                      </a:cubicBezTo>
                      <a:cubicBezTo>
                        <a:pt x="176308" y="11049"/>
                        <a:pt x="173069" y="14288"/>
                        <a:pt x="16916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556" name="Grafik 19">
                  <a:extLst>
                    <a:ext uri="{FF2B5EF4-FFF2-40B4-BE49-F238E27FC236}">
                      <a16:creationId xmlns:a16="http://schemas.microsoft.com/office/drawing/2014/main" id="{9CDE2BAA-7D55-C7BA-F253-0CDAE12380B2}"/>
                    </a:ext>
                  </a:extLst>
                </p:cNvPr>
                <p:cNvSpPr/>
                <p:nvPr/>
              </p:nvSpPr>
              <p:spPr bwMode="gray">
                <a:xfrm>
                  <a:off x="6189273" y="3348822"/>
                  <a:ext cx="41195" cy="41219"/>
                </a:xfrm>
                <a:custGeom>
                  <a:avLst/>
                  <a:gdLst>
                    <a:gd name="connsiteX0" fmla="*/ 34076 w 41195"/>
                    <a:gd name="connsiteY0" fmla="*/ 41219 h 41219"/>
                    <a:gd name="connsiteX1" fmla="*/ 29027 w 41195"/>
                    <a:gd name="connsiteY1" fmla="*/ 39124 h 41219"/>
                    <a:gd name="connsiteX2" fmla="*/ 2072 w 41195"/>
                    <a:gd name="connsiteY2" fmla="*/ 12168 h 41219"/>
                    <a:gd name="connsiteX3" fmla="*/ 2072 w 41195"/>
                    <a:gd name="connsiteY3" fmla="*/ 2072 h 41219"/>
                    <a:gd name="connsiteX4" fmla="*/ 12168 w 41195"/>
                    <a:gd name="connsiteY4" fmla="*/ 2072 h 41219"/>
                    <a:gd name="connsiteX5" fmla="*/ 39124 w 41195"/>
                    <a:gd name="connsiteY5" fmla="*/ 29027 h 41219"/>
                    <a:gd name="connsiteX6" fmla="*/ 39124 w 41195"/>
                    <a:gd name="connsiteY6" fmla="*/ 39124 h 41219"/>
                    <a:gd name="connsiteX7" fmla="*/ 34076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34076" y="41219"/>
                      </a:moveTo>
                      <a:cubicBezTo>
                        <a:pt x="32266" y="41219"/>
                        <a:pt x="30456" y="40553"/>
                        <a:pt x="29027" y="3912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124" y="29027"/>
                      </a:lnTo>
                      <a:cubicBezTo>
                        <a:pt x="41886" y="31790"/>
                        <a:pt x="41886" y="36362"/>
                        <a:pt x="39124" y="39124"/>
                      </a:cubicBezTo>
                      <a:cubicBezTo>
                        <a:pt x="37695" y="40553"/>
                        <a:pt x="35885" y="41219"/>
                        <a:pt x="34076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557" name="Grafik 19">
                  <a:extLst>
                    <a:ext uri="{FF2B5EF4-FFF2-40B4-BE49-F238E27FC236}">
                      <a16:creationId xmlns:a16="http://schemas.microsoft.com/office/drawing/2014/main" id="{39B80E8E-9A85-572F-9A06-600678396CB2}"/>
                    </a:ext>
                  </a:extLst>
                </p:cNvPr>
                <p:cNvSpPr/>
                <p:nvPr/>
              </p:nvSpPr>
              <p:spPr bwMode="gray">
                <a:xfrm>
                  <a:off x="6189273" y="3375778"/>
                  <a:ext cx="41195" cy="41219"/>
                </a:xfrm>
                <a:custGeom>
                  <a:avLst/>
                  <a:gdLst>
                    <a:gd name="connsiteX0" fmla="*/ 7120 w 41195"/>
                    <a:gd name="connsiteY0" fmla="*/ 41219 h 41219"/>
                    <a:gd name="connsiteX1" fmla="*/ 2072 w 41195"/>
                    <a:gd name="connsiteY1" fmla="*/ 39124 h 41219"/>
                    <a:gd name="connsiteX2" fmla="*/ 2072 w 41195"/>
                    <a:gd name="connsiteY2" fmla="*/ 29027 h 41219"/>
                    <a:gd name="connsiteX3" fmla="*/ 29027 w 41195"/>
                    <a:gd name="connsiteY3" fmla="*/ 2072 h 41219"/>
                    <a:gd name="connsiteX4" fmla="*/ 39124 w 41195"/>
                    <a:gd name="connsiteY4" fmla="*/ 2072 h 41219"/>
                    <a:gd name="connsiteX5" fmla="*/ 39124 w 41195"/>
                    <a:gd name="connsiteY5" fmla="*/ 12168 h 41219"/>
                    <a:gd name="connsiteX6" fmla="*/ 12168 w 41195"/>
                    <a:gd name="connsiteY6" fmla="*/ 39124 h 41219"/>
                    <a:gd name="connsiteX7" fmla="*/ 7120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7120" y="41219"/>
                      </a:moveTo>
                      <a:cubicBezTo>
                        <a:pt x="5310" y="41219"/>
                        <a:pt x="3500" y="40553"/>
                        <a:pt x="2072" y="39124"/>
                      </a:cubicBezTo>
                      <a:cubicBezTo>
                        <a:pt x="-691" y="36362"/>
                        <a:pt x="-691" y="31790"/>
                        <a:pt x="2072" y="29027"/>
                      </a:cubicBezTo>
                      <a:lnTo>
                        <a:pt x="29027" y="2072"/>
                      </a:lnTo>
                      <a:cubicBezTo>
                        <a:pt x="31790" y="-691"/>
                        <a:pt x="36362" y="-691"/>
                        <a:pt x="39124" y="2072"/>
                      </a:cubicBezTo>
                      <a:cubicBezTo>
                        <a:pt x="41886" y="4834"/>
                        <a:pt x="41886" y="9406"/>
                        <a:pt x="39124" y="12168"/>
                      </a:cubicBezTo>
                      <a:lnTo>
                        <a:pt x="12168" y="39124"/>
                      </a:lnTo>
                      <a:cubicBezTo>
                        <a:pt x="10739" y="40553"/>
                        <a:pt x="8930" y="41219"/>
                        <a:pt x="7120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542" name="Grafik 19">
                <a:extLst>
                  <a:ext uri="{FF2B5EF4-FFF2-40B4-BE49-F238E27FC236}">
                    <a16:creationId xmlns:a16="http://schemas.microsoft.com/office/drawing/2014/main" id="{CFE36BD2-5328-481B-AB2A-04B13AC252D7}"/>
                  </a:ext>
                </a:extLst>
              </p:cNvPr>
              <p:cNvGrpSpPr/>
              <p:nvPr/>
            </p:nvGrpSpPr>
            <p:grpSpPr bwMode="gray">
              <a:xfrm>
                <a:off x="5892164" y="3501318"/>
                <a:ext cx="176307" cy="68175"/>
                <a:chOff x="5892164" y="3501318"/>
                <a:chExt cx="176307" cy="68175"/>
              </a:xfrm>
              <a:grpFill/>
            </p:grpSpPr>
            <p:sp>
              <p:nvSpPr>
                <p:cNvPr id="552" name="Grafik 19">
                  <a:extLst>
                    <a:ext uri="{FF2B5EF4-FFF2-40B4-BE49-F238E27FC236}">
                      <a16:creationId xmlns:a16="http://schemas.microsoft.com/office/drawing/2014/main" id="{D767C2BF-FE25-4A1A-B1D8-43941EA992C9}"/>
                    </a:ext>
                  </a:extLst>
                </p:cNvPr>
                <p:cNvSpPr/>
                <p:nvPr/>
              </p:nvSpPr>
              <p:spPr bwMode="gray">
                <a:xfrm>
                  <a:off x="5892164" y="3528249"/>
                  <a:ext cx="176307" cy="14287"/>
                </a:xfrm>
                <a:custGeom>
                  <a:avLst/>
                  <a:gdLst>
                    <a:gd name="connsiteX0" fmla="*/ 169164 w 176307"/>
                    <a:gd name="connsiteY0" fmla="*/ 14288 h 14287"/>
                    <a:gd name="connsiteX1" fmla="*/ 7144 w 176307"/>
                    <a:gd name="connsiteY1" fmla="*/ 14288 h 14287"/>
                    <a:gd name="connsiteX2" fmla="*/ 0 w 176307"/>
                    <a:gd name="connsiteY2" fmla="*/ 7144 h 14287"/>
                    <a:gd name="connsiteX3" fmla="*/ 7144 w 176307"/>
                    <a:gd name="connsiteY3" fmla="*/ 0 h 14287"/>
                    <a:gd name="connsiteX4" fmla="*/ 169164 w 176307"/>
                    <a:gd name="connsiteY4" fmla="*/ 0 h 14287"/>
                    <a:gd name="connsiteX5" fmla="*/ 176308 w 176307"/>
                    <a:gd name="connsiteY5" fmla="*/ 7144 h 14287"/>
                    <a:gd name="connsiteX6" fmla="*/ 169164 w 17630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76307" h="14287">
                      <a:moveTo>
                        <a:pt x="16916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69164" y="0"/>
                      </a:lnTo>
                      <a:cubicBezTo>
                        <a:pt x="173069" y="0"/>
                        <a:pt x="176308" y="3239"/>
                        <a:pt x="176308" y="7144"/>
                      </a:cubicBezTo>
                      <a:cubicBezTo>
                        <a:pt x="176308" y="11049"/>
                        <a:pt x="173069" y="14288"/>
                        <a:pt x="16916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553" name="Grafik 19">
                  <a:extLst>
                    <a:ext uri="{FF2B5EF4-FFF2-40B4-BE49-F238E27FC236}">
                      <a16:creationId xmlns:a16="http://schemas.microsoft.com/office/drawing/2014/main" id="{D696258F-0922-5D37-6288-DB0E3D42208F}"/>
                    </a:ext>
                  </a:extLst>
                </p:cNvPr>
                <p:cNvSpPr/>
                <p:nvPr/>
              </p:nvSpPr>
              <p:spPr bwMode="gray">
                <a:xfrm>
                  <a:off x="5892188" y="3528273"/>
                  <a:ext cx="41195" cy="41219"/>
                </a:xfrm>
                <a:custGeom>
                  <a:avLst/>
                  <a:gdLst>
                    <a:gd name="connsiteX0" fmla="*/ 34076 w 41195"/>
                    <a:gd name="connsiteY0" fmla="*/ 41219 h 41219"/>
                    <a:gd name="connsiteX1" fmla="*/ 29027 w 41195"/>
                    <a:gd name="connsiteY1" fmla="*/ 39124 h 41219"/>
                    <a:gd name="connsiteX2" fmla="*/ 2072 w 41195"/>
                    <a:gd name="connsiteY2" fmla="*/ 12168 h 41219"/>
                    <a:gd name="connsiteX3" fmla="*/ 2072 w 41195"/>
                    <a:gd name="connsiteY3" fmla="*/ 2072 h 41219"/>
                    <a:gd name="connsiteX4" fmla="*/ 12168 w 41195"/>
                    <a:gd name="connsiteY4" fmla="*/ 2072 h 41219"/>
                    <a:gd name="connsiteX5" fmla="*/ 39124 w 41195"/>
                    <a:gd name="connsiteY5" fmla="*/ 29027 h 41219"/>
                    <a:gd name="connsiteX6" fmla="*/ 39124 w 41195"/>
                    <a:gd name="connsiteY6" fmla="*/ 39124 h 41219"/>
                    <a:gd name="connsiteX7" fmla="*/ 34076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34076" y="41219"/>
                      </a:moveTo>
                      <a:cubicBezTo>
                        <a:pt x="32266" y="41219"/>
                        <a:pt x="30456" y="40553"/>
                        <a:pt x="29027" y="3912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124" y="29027"/>
                      </a:lnTo>
                      <a:cubicBezTo>
                        <a:pt x="41886" y="31790"/>
                        <a:pt x="41886" y="36362"/>
                        <a:pt x="39124" y="39124"/>
                      </a:cubicBezTo>
                      <a:cubicBezTo>
                        <a:pt x="37790" y="40457"/>
                        <a:pt x="35885" y="41219"/>
                        <a:pt x="34076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554" name="Grafik 19">
                  <a:extLst>
                    <a:ext uri="{FF2B5EF4-FFF2-40B4-BE49-F238E27FC236}">
                      <a16:creationId xmlns:a16="http://schemas.microsoft.com/office/drawing/2014/main" id="{0D461500-8047-DA58-2B8C-E2ED8817AE09}"/>
                    </a:ext>
                  </a:extLst>
                </p:cNvPr>
                <p:cNvSpPr/>
                <p:nvPr/>
              </p:nvSpPr>
              <p:spPr bwMode="gray">
                <a:xfrm>
                  <a:off x="5892188" y="3501318"/>
                  <a:ext cx="41195" cy="41219"/>
                </a:xfrm>
                <a:custGeom>
                  <a:avLst/>
                  <a:gdLst>
                    <a:gd name="connsiteX0" fmla="*/ 7120 w 41195"/>
                    <a:gd name="connsiteY0" fmla="*/ 41219 h 41219"/>
                    <a:gd name="connsiteX1" fmla="*/ 2072 w 41195"/>
                    <a:gd name="connsiteY1" fmla="*/ 39124 h 41219"/>
                    <a:gd name="connsiteX2" fmla="*/ 2072 w 41195"/>
                    <a:gd name="connsiteY2" fmla="*/ 29027 h 41219"/>
                    <a:gd name="connsiteX3" fmla="*/ 29027 w 41195"/>
                    <a:gd name="connsiteY3" fmla="*/ 2072 h 41219"/>
                    <a:gd name="connsiteX4" fmla="*/ 39124 w 41195"/>
                    <a:gd name="connsiteY4" fmla="*/ 2072 h 41219"/>
                    <a:gd name="connsiteX5" fmla="*/ 39124 w 41195"/>
                    <a:gd name="connsiteY5" fmla="*/ 12168 h 41219"/>
                    <a:gd name="connsiteX6" fmla="*/ 12168 w 41195"/>
                    <a:gd name="connsiteY6" fmla="*/ 39124 h 41219"/>
                    <a:gd name="connsiteX7" fmla="*/ 7120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7120" y="41219"/>
                      </a:moveTo>
                      <a:cubicBezTo>
                        <a:pt x="5310" y="41219"/>
                        <a:pt x="3500" y="40553"/>
                        <a:pt x="2072" y="39124"/>
                      </a:cubicBezTo>
                      <a:cubicBezTo>
                        <a:pt x="-691" y="36362"/>
                        <a:pt x="-691" y="31790"/>
                        <a:pt x="2072" y="29027"/>
                      </a:cubicBezTo>
                      <a:lnTo>
                        <a:pt x="29027" y="2072"/>
                      </a:lnTo>
                      <a:cubicBezTo>
                        <a:pt x="31790" y="-691"/>
                        <a:pt x="36362" y="-691"/>
                        <a:pt x="39124" y="2072"/>
                      </a:cubicBezTo>
                      <a:cubicBezTo>
                        <a:pt x="41886" y="4834"/>
                        <a:pt x="41886" y="9406"/>
                        <a:pt x="39124" y="12168"/>
                      </a:cubicBezTo>
                      <a:lnTo>
                        <a:pt x="12168" y="39124"/>
                      </a:lnTo>
                      <a:cubicBezTo>
                        <a:pt x="10835" y="40457"/>
                        <a:pt x="8930" y="41219"/>
                        <a:pt x="7120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543" name="Grafik 19">
                <a:extLst>
                  <a:ext uri="{FF2B5EF4-FFF2-40B4-BE49-F238E27FC236}">
                    <a16:creationId xmlns:a16="http://schemas.microsoft.com/office/drawing/2014/main" id="{FF90450E-BB2E-1BE4-9A8D-5A8A2BD3E664}"/>
                  </a:ext>
                </a:extLst>
              </p:cNvPr>
              <p:cNvGrpSpPr/>
              <p:nvPr/>
            </p:nvGrpSpPr>
            <p:grpSpPr bwMode="gray">
              <a:xfrm>
                <a:off x="6103452" y="3451954"/>
                <a:ext cx="68151" cy="176307"/>
                <a:chOff x="6103452" y="3451954"/>
                <a:chExt cx="68151" cy="176307"/>
              </a:xfrm>
              <a:grpFill/>
            </p:grpSpPr>
            <p:sp>
              <p:nvSpPr>
                <p:cNvPr id="549" name="Grafik 19">
                  <a:extLst>
                    <a:ext uri="{FF2B5EF4-FFF2-40B4-BE49-F238E27FC236}">
                      <a16:creationId xmlns:a16="http://schemas.microsoft.com/office/drawing/2014/main" id="{2794C781-5488-7354-2ED7-C90BF4E9C536}"/>
                    </a:ext>
                  </a:extLst>
                </p:cNvPr>
                <p:cNvSpPr/>
                <p:nvPr/>
              </p:nvSpPr>
              <p:spPr bwMode="gray">
                <a:xfrm>
                  <a:off x="6130384" y="3451954"/>
                  <a:ext cx="14287" cy="176307"/>
                </a:xfrm>
                <a:custGeom>
                  <a:avLst/>
                  <a:gdLst>
                    <a:gd name="connsiteX0" fmla="*/ 7144 w 14287"/>
                    <a:gd name="connsiteY0" fmla="*/ 176308 h 176307"/>
                    <a:gd name="connsiteX1" fmla="*/ 0 w 14287"/>
                    <a:gd name="connsiteY1" fmla="*/ 169164 h 176307"/>
                    <a:gd name="connsiteX2" fmla="*/ 0 w 14287"/>
                    <a:gd name="connsiteY2" fmla="*/ 7144 h 176307"/>
                    <a:gd name="connsiteX3" fmla="*/ 7144 w 14287"/>
                    <a:gd name="connsiteY3" fmla="*/ 0 h 176307"/>
                    <a:gd name="connsiteX4" fmla="*/ 14288 w 14287"/>
                    <a:gd name="connsiteY4" fmla="*/ 7144 h 176307"/>
                    <a:gd name="connsiteX5" fmla="*/ 14288 w 14287"/>
                    <a:gd name="connsiteY5" fmla="*/ 169164 h 176307"/>
                    <a:gd name="connsiteX6" fmla="*/ 7144 w 14287"/>
                    <a:gd name="connsiteY6" fmla="*/ 176308 h 1763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76307">
                      <a:moveTo>
                        <a:pt x="7144" y="176308"/>
                      </a:moveTo>
                      <a:cubicBezTo>
                        <a:pt x="3239" y="176308"/>
                        <a:pt x="0" y="173069"/>
                        <a:pt x="0" y="16916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69164"/>
                      </a:lnTo>
                      <a:cubicBezTo>
                        <a:pt x="14288" y="173165"/>
                        <a:pt x="11144" y="176308"/>
                        <a:pt x="7144" y="17630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550" name="Grafik 19">
                  <a:extLst>
                    <a:ext uri="{FF2B5EF4-FFF2-40B4-BE49-F238E27FC236}">
                      <a16:creationId xmlns:a16="http://schemas.microsoft.com/office/drawing/2014/main" id="{4B632AB2-6927-2C0B-C20D-02EBD602771B}"/>
                    </a:ext>
                  </a:extLst>
                </p:cNvPr>
                <p:cNvSpPr/>
                <p:nvPr/>
              </p:nvSpPr>
              <p:spPr bwMode="gray">
                <a:xfrm>
                  <a:off x="6130408" y="3587043"/>
                  <a:ext cx="41195" cy="41219"/>
                </a:xfrm>
                <a:custGeom>
                  <a:avLst/>
                  <a:gdLst>
                    <a:gd name="connsiteX0" fmla="*/ 7120 w 41195"/>
                    <a:gd name="connsiteY0" fmla="*/ 41219 h 41219"/>
                    <a:gd name="connsiteX1" fmla="*/ 2072 w 41195"/>
                    <a:gd name="connsiteY1" fmla="*/ 39124 h 41219"/>
                    <a:gd name="connsiteX2" fmla="*/ 2072 w 41195"/>
                    <a:gd name="connsiteY2" fmla="*/ 29027 h 41219"/>
                    <a:gd name="connsiteX3" fmla="*/ 29027 w 41195"/>
                    <a:gd name="connsiteY3" fmla="*/ 2072 h 41219"/>
                    <a:gd name="connsiteX4" fmla="*/ 39124 w 41195"/>
                    <a:gd name="connsiteY4" fmla="*/ 2072 h 41219"/>
                    <a:gd name="connsiteX5" fmla="*/ 39124 w 41195"/>
                    <a:gd name="connsiteY5" fmla="*/ 12168 h 41219"/>
                    <a:gd name="connsiteX6" fmla="*/ 12168 w 41195"/>
                    <a:gd name="connsiteY6" fmla="*/ 39124 h 41219"/>
                    <a:gd name="connsiteX7" fmla="*/ 7120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7120" y="41219"/>
                      </a:moveTo>
                      <a:cubicBezTo>
                        <a:pt x="5310" y="41219"/>
                        <a:pt x="3500" y="40553"/>
                        <a:pt x="2072" y="39124"/>
                      </a:cubicBezTo>
                      <a:cubicBezTo>
                        <a:pt x="-691" y="36362"/>
                        <a:pt x="-691" y="31790"/>
                        <a:pt x="2072" y="29027"/>
                      </a:cubicBezTo>
                      <a:lnTo>
                        <a:pt x="29027" y="2072"/>
                      </a:lnTo>
                      <a:cubicBezTo>
                        <a:pt x="31790" y="-691"/>
                        <a:pt x="36362" y="-691"/>
                        <a:pt x="39124" y="2072"/>
                      </a:cubicBezTo>
                      <a:cubicBezTo>
                        <a:pt x="41886" y="4834"/>
                        <a:pt x="41886" y="9406"/>
                        <a:pt x="39124" y="12168"/>
                      </a:cubicBezTo>
                      <a:lnTo>
                        <a:pt x="12168" y="39124"/>
                      </a:lnTo>
                      <a:cubicBezTo>
                        <a:pt x="10835" y="40553"/>
                        <a:pt x="9025" y="41219"/>
                        <a:pt x="7120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551" name="Grafik 19">
                  <a:extLst>
                    <a:ext uri="{FF2B5EF4-FFF2-40B4-BE49-F238E27FC236}">
                      <a16:creationId xmlns:a16="http://schemas.microsoft.com/office/drawing/2014/main" id="{65F35C73-05A4-85F0-A6D9-48FD7A52E559}"/>
                    </a:ext>
                  </a:extLst>
                </p:cNvPr>
                <p:cNvSpPr/>
                <p:nvPr/>
              </p:nvSpPr>
              <p:spPr bwMode="gray">
                <a:xfrm>
                  <a:off x="6103452" y="3587043"/>
                  <a:ext cx="41195" cy="41219"/>
                </a:xfrm>
                <a:custGeom>
                  <a:avLst/>
                  <a:gdLst>
                    <a:gd name="connsiteX0" fmla="*/ 34076 w 41195"/>
                    <a:gd name="connsiteY0" fmla="*/ 41219 h 41219"/>
                    <a:gd name="connsiteX1" fmla="*/ 29027 w 41195"/>
                    <a:gd name="connsiteY1" fmla="*/ 39124 h 41219"/>
                    <a:gd name="connsiteX2" fmla="*/ 2072 w 41195"/>
                    <a:gd name="connsiteY2" fmla="*/ 12168 h 41219"/>
                    <a:gd name="connsiteX3" fmla="*/ 2072 w 41195"/>
                    <a:gd name="connsiteY3" fmla="*/ 2072 h 41219"/>
                    <a:gd name="connsiteX4" fmla="*/ 12168 w 41195"/>
                    <a:gd name="connsiteY4" fmla="*/ 2072 h 41219"/>
                    <a:gd name="connsiteX5" fmla="*/ 39124 w 41195"/>
                    <a:gd name="connsiteY5" fmla="*/ 29027 h 41219"/>
                    <a:gd name="connsiteX6" fmla="*/ 39124 w 41195"/>
                    <a:gd name="connsiteY6" fmla="*/ 39124 h 41219"/>
                    <a:gd name="connsiteX7" fmla="*/ 34076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34076" y="41219"/>
                      </a:moveTo>
                      <a:cubicBezTo>
                        <a:pt x="32266" y="41219"/>
                        <a:pt x="30456" y="40553"/>
                        <a:pt x="29027" y="3912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124" y="29027"/>
                      </a:lnTo>
                      <a:cubicBezTo>
                        <a:pt x="41886" y="31790"/>
                        <a:pt x="41886" y="36362"/>
                        <a:pt x="39124" y="39124"/>
                      </a:cubicBezTo>
                      <a:cubicBezTo>
                        <a:pt x="37790" y="40553"/>
                        <a:pt x="35981" y="41219"/>
                        <a:pt x="34076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544" name="Grafik 19">
                <a:extLst>
                  <a:ext uri="{FF2B5EF4-FFF2-40B4-BE49-F238E27FC236}">
                    <a16:creationId xmlns:a16="http://schemas.microsoft.com/office/drawing/2014/main" id="{BE2EEEF1-5079-4B91-969E-06F1FCE543F8}"/>
                  </a:ext>
                </a:extLst>
              </p:cNvPr>
              <p:cNvGrpSpPr/>
              <p:nvPr/>
            </p:nvGrpSpPr>
            <p:grpSpPr bwMode="gray">
              <a:xfrm>
                <a:off x="5951052" y="3290029"/>
                <a:ext cx="68151" cy="176212"/>
                <a:chOff x="5951052" y="3290029"/>
                <a:chExt cx="68151" cy="176212"/>
              </a:xfrm>
              <a:grpFill/>
            </p:grpSpPr>
            <p:sp>
              <p:nvSpPr>
                <p:cNvPr id="546" name="Grafik 19">
                  <a:extLst>
                    <a:ext uri="{FF2B5EF4-FFF2-40B4-BE49-F238E27FC236}">
                      <a16:creationId xmlns:a16="http://schemas.microsoft.com/office/drawing/2014/main" id="{D84C89C2-27E4-7262-F832-C9D1BEEC6FED}"/>
                    </a:ext>
                  </a:extLst>
                </p:cNvPr>
                <p:cNvSpPr/>
                <p:nvPr/>
              </p:nvSpPr>
              <p:spPr bwMode="gray">
                <a:xfrm>
                  <a:off x="5977984" y="3290029"/>
                  <a:ext cx="14287" cy="176212"/>
                </a:xfrm>
                <a:custGeom>
                  <a:avLst/>
                  <a:gdLst>
                    <a:gd name="connsiteX0" fmla="*/ 7144 w 14287"/>
                    <a:gd name="connsiteY0" fmla="*/ 176213 h 176212"/>
                    <a:gd name="connsiteX1" fmla="*/ 0 w 14287"/>
                    <a:gd name="connsiteY1" fmla="*/ 169069 h 176212"/>
                    <a:gd name="connsiteX2" fmla="*/ 0 w 14287"/>
                    <a:gd name="connsiteY2" fmla="*/ 7144 h 176212"/>
                    <a:gd name="connsiteX3" fmla="*/ 7144 w 14287"/>
                    <a:gd name="connsiteY3" fmla="*/ 0 h 176212"/>
                    <a:gd name="connsiteX4" fmla="*/ 14288 w 14287"/>
                    <a:gd name="connsiteY4" fmla="*/ 7144 h 176212"/>
                    <a:gd name="connsiteX5" fmla="*/ 14288 w 14287"/>
                    <a:gd name="connsiteY5" fmla="*/ 169164 h 176212"/>
                    <a:gd name="connsiteX6" fmla="*/ 7144 w 14287"/>
                    <a:gd name="connsiteY6" fmla="*/ 176213 h 1762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76212">
                      <a:moveTo>
                        <a:pt x="7144" y="176213"/>
                      </a:moveTo>
                      <a:cubicBezTo>
                        <a:pt x="3239" y="176213"/>
                        <a:pt x="0" y="172974"/>
                        <a:pt x="0" y="16906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69164"/>
                      </a:lnTo>
                      <a:cubicBezTo>
                        <a:pt x="14288" y="173069"/>
                        <a:pt x="11049" y="176213"/>
                        <a:pt x="7144" y="17621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547" name="Grafik 19">
                  <a:extLst>
                    <a:ext uri="{FF2B5EF4-FFF2-40B4-BE49-F238E27FC236}">
                      <a16:creationId xmlns:a16="http://schemas.microsoft.com/office/drawing/2014/main" id="{83692D3D-BF9B-6F68-BE95-D93A750A21D3}"/>
                    </a:ext>
                  </a:extLst>
                </p:cNvPr>
                <p:cNvSpPr/>
                <p:nvPr/>
              </p:nvSpPr>
              <p:spPr bwMode="gray">
                <a:xfrm>
                  <a:off x="5951052" y="3290053"/>
                  <a:ext cx="41195" cy="41219"/>
                </a:xfrm>
                <a:custGeom>
                  <a:avLst/>
                  <a:gdLst>
                    <a:gd name="connsiteX0" fmla="*/ 7120 w 41195"/>
                    <a:gd name="connsiteY0" fmla="*/ 41219 h 41219"/>
                    <a:gd name="connsiteX1" fmla="*/ 2072 w 41195"/>
                    <a:gd name="connsiteY1" fmla="*/ 39124 h 41219"/>
                    <a:gd name="connsiteX2" fmla="*/ 2072 w 41195"/>
                    <a:gd name="connsiteY2" fmla="*/ 29027 h 41219"/>
                    <a:gd name="connsiteX3" fmla="*/ 29027 w 41195"/>
                    <a:gd name="connsiteY3" fmla="*/ 2072 h 41219"/>
                    <a:gd name="connsiteX4" fmla="*/ 39124 w 41195"/>
                    <a:gd name="connsiteY4" fmla="*/ 2072 h 41219"/>
                    <a:gd name="connsiteX5" fmla="*/ 39124 w 41195"/>
                    <a:gd name="connsiteY5" fmla="*/ 12168 h 41219"/>
                    <a:gd name="connsiteX6" fmla="*/ 12168 w 41195"/>
                    <a:gd name="connsiteY6" fmla="*/ 39124 h 41219"/>
                    <a:gd name="connsiteX7" fmla="*/ 7120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7120" y="41219"/>
                      </a:moveTo>
                      <a:cubicBezTo>
                        <a:pt x="5310" y="41219"/>
                        <a:pt x="3500" y="40553"/>
                        <a:pt x="2072" y="39124"/>
                      </a:cubicBezTo>
                      <a:cubicBezTo>
                        <a:pt x="-691" y="36362"/>
                        <a:pt x="-691" y="31790"/>
                        <a:pt x="2072" y="29027"/>
                      </a:cubicBezTo>
                      <a:lnTo>
                        <a:pt x="29027" y="2072"/>
                      </a:lnTo>
                      <a:cubicBezTo>
                        <a:pt x="31790" y="-691"/>
                        <a:pt x="36362" y="-691"/>
                        <a:pt x="39124" y="2072"/>
                      </a:cubicBezTo>
                      <a:cubicBezTo>
                        <a:pt x="41886" y="4834"/>
                        <a:pt x="41886" y="9406"/>
                        <a:pt x="39124" y="12168"/>
                      </a:cubicBezTo>
                      <a:lnTo>
                        <a:pt x="12168" y="39124"/>
                      </a:lnTo>
                      <a:cubicBezTo>
                        <a:pt x="10739" y="40457"/>
                        <a:pt x="8930" y="41219"/>
                        <a:pt x="7120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548" name="Grafik 19">
                  <a:extLst>
                    <a:ext uri="{FF2B5EF4-FFF2-40B4-BE49-F238E27FC236}">
                      <a16:creationId xmlns:a16="http://schemas.microsoft.com/office/drawing/2014/main" id="{294401A4-1638-969B-F039-A69CE60CB4E7}"/>
                    </a:ext>
                  </a:extLst>
                </p:cNvPr>
                <p:cNvSpPr/>
                <p:nvPr/>
              </p:nvSpPr>
              <p:spPr bwMode="gray">
                <a:xfrm>
                  <a:off x="5978008" y="3290053"/>
                  <a:ext cx="41195" cy="41219"/>
                </a:xfrm>
                <a:custGeom>
                  <a:avLst/>
                  <a:gdLst>
                    <a:gd name="connsiteX0" fmla="*/ 34076 w 41195"/>
                    <a:gd name="connsiteY0" fmla="*/ 41219 h 41219"/>
                    <a:gd name="connsiteX1" fmla="*/ 29027 w 41195"/>
                    <a:gd name="connsiteY1" fmla="*/ 39124 h 41219"/>
                    <a:gd name="connsiteX2" fmla="*/ 2072 w 41195"/>
                    <a:gd name="connsiteY2" fmla="*/ 12168 h 41219"/>
                    <a:gd name="connsiteX3" fmla="*/ 2072 w 41195"/>
                    <a:gd name="connsiteY3" fmla="*/ 2072 h 41219"/>
                    <a:gd name="connsiteX4" fmla="*/ 12168 w 41195"/>
                    <a:gd name="connsiteY4" fmla="*/ 2072 h 41219"/>
                    <a:gd name="connsiteX5" fmla="*/ 39124 w 41195"/>
                    <a:gd name="connsiteY5" fmla="*/ 29027 h 41219"/>
                    <a:gd name="connsiteX6" fmla="*/ 39124 w 41195"/>
                    <a:gd name="connsiteY6" fmla="*/ 39124 h 41219"/>
                    <a:gd name="connsiteX7" fmla="*/ 34076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34076" y="41219"/>
                      </a:moveTo>
                      <a:cubicBezTo>
                        <a:pt x="32266" y="41219"/>
                        <a:pt x="30456" y="40553"/>
                        <a:pt x="29027" y="3912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124" y="29027"/>
                      </a:lnTo>
                      <a:cubicBezTo>
                        <a:pt x="41886" y="31790"/>
                        <a:pt x="41886" y="36362"/>
                        <a:pt x="39124" y="39124"/>
                      </a:cubicBezTo>
                      <a:cubicBezTo>
                        <a:pt x="37695" y="40457"/>
                        <a:pt x="35885" y="41219"/>
                        <a:pt x="34076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545" name="Grafik 19">
                <a:extLst>
                  <a:ext uri="{FF2B5EF4-FFF2-40B4-BE49-F238E27FC236}">
                    <a16:creationId xmlns:a16="http://schemas.microsoft.com/office/drawing/2014/main" id="{0420D9EF-AA73-7455-879D-2C12E49C70DB}"/>
                  </a:ext>
                </a:extLst>
              </p:cNvPr>
              <p:cNvSpPr/>
              <p:nvPr/>
            </p:nvSpPr>
            <p:spPr bwMode="gray">
              <a:xfrm>
                <a:off x="5977984" y="3375850"/>
                <a:ext cx="166687" cy="166687"/>
              </a:xfrm>
              <a:custGeom>
                <a:avLst/>
                <a:gdLst>
                  <a:gd name="connsiteX0" fmla="*/ 83344 w 166687"/>
                  <a:gd name="connsiteY0" fmla="*/ 166687 h 166687"/>
                  <a:gd name="connsiteX1" fmla="*/ 0 w 166687"/>
                  <a:gd name="connsiteY1" fmla="*/ 83344 h 166687"/>
                  <a:gd name="connsiteX2" fmla="*/ 83344 w 166687"/>
                  <a:gd name="connsiteY2" fmla="*/ 0 h 166687"/>
                  <a:gd name="connsiteX3" fmla="*/ 166688 w 166687"/>
                  <a:gd name="connsiteY3" fmla="*/ 83344 h 166687"/>
                  <a:gd name="connsiteX4" fmla="*/ 83344 w 166687"/>
                  <a:gd name="connsiteY4" fmla="*/ 166687 h 166687"/>
                  <a:gd name="connsiteX5" fmla="*/ 83344 w 166687"/>
                  <a:gd name="connsiteY5" fmla="*/ 14192 h 166687"/>
                  <a:gd name="connsiteX6" fmla="*/ 14288 w 166687"/>
                  <a:gd name="connsiteY6" fmla="*/ 83249 h 166687"/>
                  <a:gd name="connsiteX7" fmla="*/ 83344 w 166687"/>
                  <a:gd name="connsiteY7" fmla="*/ 152305 h 166687"/>
                  <a:gd name="connsiteX8" fmla="*/ 152400 w 166687"/>
                  <a:gd name="connsiteY8" fmla="*/ 83249 h 166687"/>
                  <a:gd name="connsiteX9" fmla="*/ 83344 w 166687"/>
                  <a:gd name="connsiteY9" fmla="*/ 14192 h 166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6687" h="166687">
                    <a:moveTo>
                      <a:pt x="83344" y="166687"/>
                    </a:moveTo>
                    <a:cubicBezTo>
                      <a:pt x="37338" y="166687"/>
                      <a:pt x="0" y="129254"/>
                      <a:pt x="0" y="83344"/>
                    </a:cubicBezTo>
                    <a:cubicBezTo>
                      <a:pt x="0" y="37433"/>
                      <a:pt x="37433" y="0"/>
                      <a:pt x="83344" y="0"/>
                    </a:cubicBezTo>
                    <a:cubicBezTo>
                      <a:pt x="129254" y="0"/>
                      <a:pt x="166688" y="37433"/>
                      <a:pt x="166688" y="83344"/>
                    </a:cubicBezTo>
                    <a:cubicBezTo>
                      <a:pt x="166688" y="129254"/>
                      <a:pt x="129350" y="166687"/>
                      <a:pt x="83344" y="166687"/>
                    </a:cubicBezTo>
                    <a:close/>
                    <a:moveTo>
                      <a:pt x="83344" y="14192"/>
                    </a:moveTo>
                    <a:cubicBezTo>
                      <a:pt x="45244" y="14192"/>
                      <a:pt x="14288" y="45148"/>
                      <a:pt x="14288" y="83249"/>
                    </a:cubicBezTo>
                    <a:cubicBezTo>
                      <a:pt x="14288" y="121349"/>
                      <a:pt x="45244" y="152305"/>
                      <a:pt x="83344" y="152305"/>
                    </a:cubicBezTo>
                    <a:cubicBezTo>
                      <a:pt x="121444" y="152305"/>
                      <a:pt x="152400" y="121349"/>
                      <a:pt x="152400" y="83249"/>
                    </a:cubicBezTo>
                    <a:cubicBezTo>
                      <a:pt x="152400" y="45148"/>
                      <a:pt x="121444" y="14192"/>
                      <a:pt x="83344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536" name="Grafik 19">
              <a:extLst>
                <a:ext uri="{FF2B5EF4-FFF2-40B4-BE49-F238E27FC236}">
                  <a16:creationId xmlns:a16="http://schemas.microsoft.com/office/drawing/2014/main" id="{F31B6624-329B-3CFF-236C-FDA8B206040F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537" name="Grafik 19">
              <a:extLst>
                <a:ext uri="{FF2B5EF4-FFF2-40B4-BE49-F238E27FC236}">
                  <a16:creationId xmlns:a16="http://schemas.microsoft.com/office/drawing/2014/main" id="{B0222483-CF44-4D37-8FEC-4E0C72562CEC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538" name="Grafik 19">
              <a:extLst>
                <a:ext uri="{FF2B5EF4-FFF2-40B4-BE49-F238E27FC236}">
                  <a16:creationId xmlns:a16="http://schemas.microsoft.com/office/drawing/2014/main" id="{0CC16E11-078E-0692-216F-2371E997D3CB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539" name="Grafik 19">
              <a:extLst>
                <a:ext uri="{FF2B5EF4-FFF2-40B4-BE49-F238E27FC236}">
                  <a16:creationId xmlns:a16="http://schemas.microsoft.com/office/drawing/2014/main" id="{4C489215-47C4-CB71-250C-70F369039BAD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540" name="Grafik 19">
              <a:extLst>
                <a:ext uri="{FF2B5EF4-FFF2-40B4-BE49-F238E27FC236}">
                  <a16:creationId xmlns:a16="http://schemas.microsoft.com/office/drawing/2014/main" id="{8658BFC4-F7CE-B52A-3B19-6F1F4CC385A4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</p:grpSp>
      <p:grpSp>
        <p:nvGrpSpPr>
          <p:cNvPr id="558" name="Grafik 23">
            <a:extLst>
              <a:ext uri="{FF2B5EF4-FFF2-40B4-BE49-F238E27FC236}">
                <a16:creationId xmlns:a16="http://schemas.microsoft.com/office/drawing/2014/main" id="{205424C1-B82C-1036-2CF3-B8FF59CFA91C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942167" y="2373628"/>
            <a:ext cx="374400" cy="464640"/>
            <a:chOff x="5895975" y="3176587"/>
            <a:chExt cx="403097" cy="500253"/>
          </a:xfrm>
          <a:solidFill>
            <a:schemeClr val="tx1"/>
          </a:solidFill>
        </p:grpSpPr>
        <p:sp>
          <p:nvSpPr>
            <p:cNvPr id="559" name="Grafik 23">
              <a:extLst>
                <a:ext uri="{FF2B5EF4-FFF2-40B4-BE49-F238E27FC236}">
                  <a16:creationId xmlns:a16="http://schemas.microsoft.com/office/drawing/2014/main" id="{1F8A8722-AF8E-9486-0F31-9308E8C49914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560" name="Grafik 23">
              <a:extLst>
                <a:ext uri="{FF2B5EF4-FFF2-40B4-BE49-F238E27FC236}">
                  <a16:creationId xmlns:a16="http://schemas.microsoft.com/office/drawing/2014/main" id="{5DC4B0F8-A7DE-1458-8399-2EEBC039453C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561" name="Grafik 23">
              <a:extLst>
                <a:ext uri="{FF2B5EF4-FFF2-40B4-BE49-F238E27FC236}">
                  <a16:creationId xmlns:a16="http://schemas.microsoft.com/office/drawing/2014/main" id="{519AB59A-A830-79C8-A6A4-BD7F0DEBEC3C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562" name="Grafik 23">
              <a:extLst>
                <a:ext uri="{FF2B5EF4-FFF2-40B4-BE49-F238E27FC236}">
                  <a16:creationId xmlns:a16="http://schemas.microsoft.com/office/drawing/2014/main" id="{B5221720-FB35-FF0B-5520-0C22D7122CA4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563" name="Grafik 23">
              <a:extLst>
                <a:ext uri="{FF2B5EF4-FFF2-40B4-BE49-F238E27FC236}">
                  <a16:creationId xmlns:a16="http://schemas.microsoft.com/office/drawing/2014/main" id="{ABF26017-F339-D9DD-B71C-2FBEC974C585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564" name="Grafik 23">
              <a:extLst>
                <a:ext uri="{FF2B5EF4-FFF2-40B4-BE49-F238E27FC236}">
                  <a16:creationId xmlns:a16="http://schemas.microsoft.com/office/drawing/2014/main" id="{9D3479A5-00EC-CE8E-4D93-F1A547AEA6DB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565" name="Grafik 23">
                <a:extLst>
                  <a:ext uri="{FF2B5EF4-FFF2-40B4-BE49-F238E27FC236}">
                    <a16:creationId xmlns:a16="http://schemas.microsoft.com/office/drawing/2014/main" id="{E2252A90-9D64-239F-928A-86CBDF7E523F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566" name="Grafik 23">
                <a:extLst>
                  <a:ext uri="{FF2B5EF4-FFF2-40B4-BE49-F238E27FC236}">
                    <a16:creationId xmlns:a16="http://schemas.microsoft.com/office/drawing/2014/main" id="{2F578FD6-098D-C6E7-4124-8A39D8BAC8B7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567" name="Grafik 23">
                <a:extLst>
                  <a:ext uri="{FF2B5EF4-FFF2-40B4-BE49-F238E27FC236}">
                    <a16:creationId xmlns:a16="http://schemas.microsoft.com/office/drawing/2014/main" id="{B8C1204B-4409-4F6F-072C-5276795E5D5B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568" name="Grafik 23">
                <a:extLst>
                  <a:ext uri="{FF2B5EF4-FFF2-40B4-BE49-F238E27FC236}">
                    <a16:creationId xmlns:a16="http://schemas.microsoft.com/office/drawing/2014/main" id="{A066C839-B5BE-EC53-8D2C-381A48619ABC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sp>
        <p:nvSpPr>
          <p:cNvPr id="569" name="Grafik 230">
            <a:extLst>
              <a:ext uri="{FF2B5EF4-FFF2-40B4-BE49-F238E27FC236}">
                <a16:creationId xmlns:a16="http://schemas.microsoft.com/office/drawing/2014/main" id="{D1C0305C-47E9-843F-B715-0565C1873C6B}"/>
              </a:ext>
            </a:extLst>
          </p:cNvPr>
          <p:cNvSpPr/>
          <p:nvPr/>
        </p:nvSpPr>
        <p:spPr bwMode="gray">
          <a:xfrm>
            <a:off x="9942167" y="2941085"/>
            <a:ext cx="374400" cy="374400"/>
          </a:xfrm>
          <a:custGeom>
            <a:avLst/>
            <a:gdLst>
              <a:gd name="connsiteX0" fmla="*/ 493139 w 500279"/>
              <a:gd name="connsiteY0" fmla="*/ 499991 h 499991"/>
              <a:gd name="connsiteX1" fmla="*/ 7173 w 500279"/>
              <a:gd name="connsiteY1" fmla="*/ 499991 h 499991"/>
              <a:gd name="connsiteX2" fmla="*/ 1077 w 500279"/>
              <a:gd name="connsiteY2" fmla="*/ 496562 h 499991"/>
              <a:gd name="connsiteX3" fmla="*/ 791 w 500279"/>
              <a:gd name="connsiteY3" fmla="*/ 489609 h 499991"/>
              <a:gd name="connsiteX4" fmla="*/ 243774 w 500279"/>
              <a:gd name="connsiteY4" fmla="*/ 3643 h 499991"/>
              <a:gd name="connsiteX5" fmla="*/ 256538 w 500279"/>
              <a:gd name="connsiteY5" fmla="*/ 3643 h 499991"/>
              <a:gd name="connsiteX6" fmla="*/ 499520 w 500279"/>
              <a:gd name="connsiteY6" fmla="*/ 489609 h 499991"/>
              <a:gd name="connsiteX7" fmla="*/ 499235 w 500279"/>
              <a:gd name="connsiteY7" fmla="*/ 496562 h 499991"/>
              <a:gd name="connsiteX8" fmla="*/ 493139 w 500279"/>
              <a:gd name="connsiteY8" fmla="*/ 499991 h 499991"/>
              <a:gd name="connsiteX9" fmla="*/ 18698 w 500279"/>
              <a:gd name="connsiteY9" fmla="*/ 485704 h 499991"/>
              <a:gd name="connsiteX10" fmla="*/ 481613 w 500279"/>
              <a:gd name="connsiteY10" fmla="*/ 485704 h 499991"/>
              <a:gd name="connsiteX11" fmla="*/ 250156 w 500279"/>
              <a:gd name="connsiteY11" fmla="*/ 22789 h 499991"/>
              <a:gd name="connsiteX12" fmla="*/ 18698 w 500279"/>
              <a:gd name="connsiteY12" fmla="*/ 485704 h 499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00279" h="499991">
                <a:moveTo>
                  <a:pt x="493139" y="499991"/>
                </a:moveTo>
                <a:lnTo>
                  <a:pt x="7173" y="499991"/>
                </a:lnTo>
                <a:cubicBezTo>
                  <a:pt x="4697" y="499991"/>
                  <a:pt x="2411" y="498753"/>
                  <a:pt x="1077" y="496562"/>
                </a:cubicBezTo>
                <a:cubicBezTo>
                  <a:pt x="-256" y="494467"/>
                  <a:pt x="-352" y="491800"/>
                  <a:pt x="791" y="489609"/>
                </a:cubicBezTo>
                <a:lnTo>
                  <a:pt x="243774" y="3643"/>
                </a:lnTo>
                <a:cubicBezTo>
                  <a:pt x="246155" y="-1214"/>
                  <a:pt x="254156" y="-1214"/>
                  <a:pt x="256538" y="3643"/>
                </a:cubicBezTo>
                <a:lnTo>
                  <a:pt x="499520" y="489609"/>
                </a:lnTo>
                <a:cubicBezTo>
                  <a:pt x="500663" y="491800"/>
                  <a:pt x="500473" y="494467"/>
                  <a:pt x="499235" y="496562"/>
                </a:cubicBezTo>
                <a:cubicBezTo>
                  <a:pt x="497901" y="498753"/>
                  <a:pt x="495615" y="499991"/>
                  <a:pt x="493139" y="499991"/>
                </a:cubicBezTo>
                <a:close/>
                <a:moveTo>
                  <a:pt x="18698" y="485704"/>
                </a:moveTo>
                <a:lnTo>
                  <a:pt x="481613" y="485704"/>
                </a:lnTo>
                <a:lnTo>
                  <a:pt x="250156" y="22789"/>
                </a:lnTo>
                <a:lnTo>
                  <a:pt x="18698" y="485704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570" name="Grafik 232">
            <a:extLst>
              <a:ext uri="{FF2B5EF4-FFF2-40B4-BE49-F238E27FC236}">
                <a16:creationId xmlns:a16="http://schemas.microsoft.com/office/drawing/2014/main" id="{6537E97B-4AB9-EE04-565F-786AA057A451}"/>
              </a:ext>
            </a:extLst>
          </p:cNvPr>
          <p:cNvGrpSpPr/>
          <p:nvPr/>
        </p:nvGrpSpPr>
        <p:grpSpPr bwMode="gray">
          <a:xfrm>
            <a:off x="9942167" y="3471642"/>
            <a:ext cx="374400" cy="374400"/>
            <a:chOff x="5843587" y="3176587"/>
            <a:chExt cx="500348" cy="500253"/>
          </a:xfrm>
          <a:solidFill>
            <a:schemeClr val="tx1"/>
          </a:solidFill>
        </p:grpSpPr>
        <p:sp>
          <p:nvSpPr>
            <p:cNvPr id="571" name="Grafik 232">
              <a:extLst>
                <a:ext uri="{FF2B5EF4-FFF2-40B4-BE49-F238E27FC236}">
                  <a16:creationId xmlns:a16="http://schemas.microsoft.com/office/drawing/2014/main" id="{363A89C3-C114-321A-3674-489BA2C203C8}"/>
                </a:ext>
              </a:extLst>
            </p:cNvPr>
            <p:cNvSpPr/>
            <p:nvPr/>
          </p:nvSpPr>
          <p:spPr bwMode="gray">
            <a:xfrm>
              <a:off x="5843587" y="3176587"/>
              <a:ext cx="403097" cy="500253"/>
            </a:xfrm>
            <a:custGeom>
              <a:avLst/>
              <a:gdLst>
                <a:gd name="connsiteX0" fmla="*/ 201549 w 403097"/>
                <a:gd name="connsiteY0" fmla="*/ 500253 h 500253"/>
                <a:gd name="connsiteX1" fmla="*/ 0 w 403097"/>
                <a:gd name="connsiteY1" fmla="*/ 250127 h 500253"/>
                <a:gd name="connsiteX2" fmla="*/ 201549 w 403097"/>
                <a:gd name="connsiteY2" fmla="*/ 0 h 500253"/>
                <a:gd name="connsiteX3" fmla="*/ 403098 w 403097"/>
                <a:gd name="connsiteY3" fmla="*/ 250127 h 500253"/>
                <a:gd name="connsiteX4" fmla="*/ 201549 w 403097"/>
                <a:gd name="connsiteY4" fmla="*/ 500253 h 500253"/>
                <a:gd name="connsiteX5" fmla="*/ 201549 w 403097"/>
                <a:gd name="connsiteY5" fmla="*/ 14288 h 500253"/>
                <a:gd name="connsiteX6" fmla="*/ 14288 w 403097"/>
                <a:gd name="connsiteY6" fmla="*/ 250127 h 500253"/>
                <a:gd name="connsiteX7" fmla="*/ 201549 w 403097"/>
                <a:gd name="connsiteY7" fmla="*/ 485966 h 500253"/>
                <a:gd name="connsiteX8" fmla="*/ 388811 w 403097"/>
                <a:gd name="connsiteY8" fmla="*/ 250127 h 500253"/>
                <a:gd name="connsiteX9" fmla="*/ 201549 w 403097"/>
                <a:gd name="connsiteY9" fmla="*/ 14288 h 500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3097" h="500253">
                  <a:moveTo>
                    <a:pt x="201549" y="500253"/>
                  </a:moveTo>
                  <a:cubicBezTo>
                    <a:pt x="90392" y="500253"/>
                    <a:pt x="0" y="388049"/>
                    <a:pt x="0" y="250127"/>
                  </a:cubicBezTo>
                  <a:cubicBezTo>
                    <a:pt x="0" y="112205"/>
                    <a:pt x="90392" y="0"/>
                    <a:pt x="201549" y="0"/>
                  </a:cubicBezTo>
                  <a:cubicBezTo>
                    <a:pt x="312706" y="0"/>
                    <a:pt x="403098" y="112205"/>
                    <a:pt x="403098" y="250127"/>
                  </a:cubicBezTo>
                  <a:cubicBezTo>
                    <a:pt x="403098" y="388049"/>
                    <a:pt x="312706" y="500253"/>
                    <a:pt x="201549" y="500253"/>
                  </a:cubicBezTo>
                  <a:close/>
                  <a:moveTo>
                    <a:pt x="201549" y="14288"/>
                  </a:moveTo>
                  <a:cubicBezTo>
                    <a:pt x="98298" y="14288"/>
                    <a:pt x="14288" y="120110"/>
                    <a:pt x="14288" y="250127"/>
                  </a:cubicBezTo>
                  <a:cubicBezTo>
                    <a:pt x="14288" y="380143"/>
                    <a:pt x="98298" y="485966"/>
                    <a:pt x="201549" y="485966"/>
                  </a:cubicBezTo>
                  <a:cubicBezTo>
                    <a:pt x="304800" y="485966"/>
                    <a:pt x="388811" y="380143"/>
                    <a:pt x="388811" y="250127"/>
                  </a:cubicBezTo>
                  <a:cubicBezTo>
                    <a:pt x="388811" y="120110"/>
                    <a:pt x="304800" y="14288"/>
                    <a:pt x="201549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2" name="Grafik 232">
              <a:extLst>
                <a:ext uri="{FF2B5EF4-FFF2-40B4-BE49-F238E27FC236}">
                  <a16:creationId xmlns:a16="http://schemas.microsoft.com/office/drawing/2014/main" id="{91B25E35-3557-76EE-AFAE-3525C1810F6A}"/>
                </a:ext>
              </a:extLst>
            </p:cNvPr>
            <p:cNvSpPr/>
            <p:nvPr/>
          </p:nvSpPr>
          <p:spPr bwMode="gray">
            <a:xfrm>
              <a:off x="6037992" y="3176587"/>
              <a:ext cx="305942" cy="500253"/>
            </a:xfrm>
            <a:custGeom>
              <a:avLst/>
              <a:gdLst>
                <a:gd name="connsiteX0" fmla="*/ 104299 w 305942"/>
                <a:gd name="connsiteY0" fmla="*/ 500253 h 500253"/>
                <a:gd name="connsiteX1" fmla="*/ 7144 w 305942"/>
                <a:gd name="connsiteY1" fmla="*/ 500253 h 500253"/>
                <a:gd name="connsiteX2" fmla="*/ 0 w 305942"/>
                <a:gd name="connsiteY2" fmla="*/ 493109 h 500253"/>
                <a:gd name="connsiteX3" fmla="*/ 7144 w 305942"/>
                <a:gd name="connsiteY3" fmla="*/ 485966 h 500253"/>
                <a:gd name="connsiteX4" fmla="*/ 104394 w 305942"/>
                <a:gd name="connsiteY4" fmla="*/ 485966 h 500253"/>
                <a:gd name="connsiteX5" fmla="*/ 291656 w 305942"/>
                <a:gd name="connsiteY5" fmla="*/ 250127 h 500253"/>
                <a:gd name="connsiteX6" fmla="*/ 104299 w 305942"/>
                <a:gd name="connsiteY6" fmla="*/ 14288 h 500253"/>
                <a:gd name="connsiteX7" fmla="*/ 7144 w 305942"/>
                <a:gd name="connsiteY7" fmla="*/ 14288 h 500253"/>
                <a:gd name="connsiteX8" fmla="*/ 0 w 305942"/>
                <a:gd name="connsiteY8" fmla="*/ 7144 h 500253"/>
                <a:gd name="connsiteX9" fmla="*/ 7144 w 305942"/>
                <a:gd name="connsiteY9" fmla="*/ 0 h 500253"/>
                <a:gd name="connsiteX10" fmla="*/ 104394 w 305942"/>
                <a:gd name="connsiteY10" fmla="*/ 0 h 500253"/>
                <a:gd name="connsiteX11" fmla="*/ 305943 w 305942"/>
                <a:gd name="connsiteY11" fmla="*/ 250127 h 500253"/>
                <a:gd name="connsiteX12" fmla="*/ 104299 w 305942"/>
                <a:gd name="connsiteY12" fmla="*/ 500253 h 500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5942" h="500253">
                  <a:moveTo>
                    <a:pt x="104299" y="500253"/>
                  </a:moveTo>
                  <a:lnTo>
                    <a:pt x="7144" y="500253"/>
                  </a:lnTo>
                  <a:cubicBezTo>
                    <a:pt x="3239" y="500253"/>
                    <a:pt x="0" y="497015"/>
                    <a:pt x="0" y="493109"/>
                  </a:cubicBezTo>
                  <a:cubicBezTo>
                    <a:pt x="0" y="489204"/>
                    <a:pt x="3239" y="485966"/>
                    <a:pt x="7144" y="485966"/>
                  </a:cubicBezTo>
                  <a:lnTo>
                    <a:pt x="104394" y="485966"/>
                  </a:lnTo>
                  <a:cubicBezTo>
                    <a:pt x="207645" y="485966"/>
                    <a:pt x="291656" y="380143"/>
                    <a:pt x="291656" y="250127"/>
                  </a:cubicBezTo>
                  <a:cubicBezTo>
                    <a:pt x="291656" y="120110"/>
                    <a:pt x="207550" y="14288"/>
                    <a:pt x="104299" y="14288"/>
                  </a:cubicBez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239" y="0"/>
                    <a:pt x="7144" y="0"/>
                  </a:cubicBezTo>
                  <a:lnTo>
                    <a:pt x="104394" y="0"/>
                  </a:lnTo>
                  <a:cubicBezTo>
                    <a:pt x="215551" y="0"/>
                    <a:pt x="305943" y="112205"/>
                    <a:pt x="305943" y="250127"/>
                  </a:cubicBezTo>
                  <a:cubicBezTo>
                    <a:pt x="305943" y="388049"/>
                    <a:pt x="215455" y="500253"/>
                    <a:pt x="104299" y="50025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573" name="Grafik 234">
            <a:extLst>
              <a:ext uri="{FF2B5EF4-FFF2-40B4-BE49-F238E27FC236}">
                <a16:creationId xmlns:a16="http://schemas.microsoft.com/office/drawing/2014/main" id="{E07204B6-71A1-8590-F333-026540753C32}"/>
              </a:ext>
            </a:extLst>
          </p:cNvPr>
          <p:cNvGrpSpPr/>
          <p:nvPr/>
        </p:nvGrpSpPr>
        <p:grpSpPr bwMode="gray">
          <a:xfrm>
            <a:off x="9942167" y="3994579"/>
            <a:ext cx="374400" cy="374400"/>
            <a:chOff x="5843578" y="3209925"/>
            <a:chExt cx="500356" cy="435578"/>
          </a:xfrm>
          <a:solidFill>
            <a:schemeClr val="tx1"/>
          </a:solidFill>
        </p:grpSpPr>
        <p:sp>
          <p:nvSpPr>
            <p:cNvPr id="574" name="Grafik 234">
              <a:extLst>
                <a:ext uri="{FF2B5EF4-FFF2-40B4-BE49-F238E27FC236}">
                  <a16:creationId xmlns:a16="http://schemas.microsoft.com/office/drawing/2014/main" id="{E320B3F8-BA77-0ECF-67C4-1584BE3B8637}"/>
                </a:ext>
              </a:extLst>
            </p:cNvPr>
            <p:cNvSpPr/>
            <p:nvPr/>
          </p:nvSpPr>
          <p:spPr bwMode="gray">
            <a:xfrm>
              <a:off x="5843578" y="3209925"/>
              <a:ext cx="500356" cy="170306"/>
            </a:xfrm>
            <a:custGeom>
              <a:avLst/>
              <a:gdLst>
                <a:gd name="connsiteX0" fmla="*/ 122500 w 500356"/>
                <a:gd name="connsiteY0" fmla="*/ 170307 h 170306"/>
                <a:gd name="connsiteX1" fmla="*/ 30298 w 500356"/>
                <a:gd name="connsiteY1" fmla="*/ 170307 h 170306"/>
                <a:gd name="connsiteX2" fmla="*/ 8486 w 500356"/>
                <a:gd name="connsiteY2" fmla="*/ 161258 h 170306"/>
                <a:gd name="connsiteX3" fmla="*/ 8 w 500356"/>
                <a:gd name="connsiteY3" fmla="*/ 139827 h 170306"/>
                <a:gd name="connsiteX4" fmla="*/ 294 w 500356"/>
                <a:gd name="connsiteY4" fmla="*/ 85249 h 170306"/>
                <a:gd name="connsiteX5" fmla="*/ 22392 w 500356"/>
                <a:gd name="connsiteY5" fmla="*/ 50292 h 170306"/>
                <a:gd name="connsiteX6" fmla="*/ 478354 w 500356"/>
                <a:gd name="connsiteY6" fmla="*/ 50292 h 170306"/>
                <a:gd name="connsiteX7" fmla="*/ 500357 w 500356"/>
                <a:gd name="connsiteY7" fmla="*/ 85249 h 170306"/>
                <a:gd name="connsiteX8" fmla="*/ 500357 w 500356"/>
                <a:gd name="connsiteY8" fmla="*/ 139637 h 170306"/>
                <a:gd name="connsiteX9" fmla="*/ 470067 w 500356"/>
                <a:gd name="connsiteY9" fmla="*/ 169926 h 170306"/>
                <a:gd name="connsiteX10" fmla="*/ 377865 w 500356"/>
                <a:gd name="connsiteY10" fmla="*/ 169926 h 170306"/>
                <a:gd name="connsiteX11" fmla="*/ 347576 w 500356"/>
                <a:gd name="connsiteY11" fmla="*/ 139637 h 170306"/>
                <a:gd name="connsiteX12" fmla="*/ 347576 w 500356"/>
                <a:gd name="connsiteY12" fmla="*/ 93345 h 170306"/>
                <a:gd name="connsiteX13" fmla="*/ 333955 w 500356"/>
                <a:gd name="connsiteY13" fmla="*/ 76105 h 170306"/>
                <a:gd name="connsiteX14" fmla="*/ 166791 w 500356"/>
                <a:gd name="connsiteY14" fmla="*/ 76105 h 170306"/>
                <a:gd name="connsiteX15" fmla="*/ 152980 w 500356"/>
                <a:gd name="connsiteY15" fmla="*/ 93536 h 170306"/>
                <a:gd name="connsiteX16" fmla="*/ 152980 w 500356"/>
                <a:gd name="connsiteY16" fmla="*/ 139922 h 170306"/>
                <a:gd name="connsiteX17" fmla="*/ 122500 w 500356"/>
                <a:gd name="connsiteY17" fmla="*/ 170307 h 170306"/>
                <a:gd name="connsiteX18" fmla="*/ 250325 w 500356"/>
                <a:gd name="connsiteY18" fmla="*/ 14287 h 170306"/>
                <a:gd name="connsiteX19" fmla="*/ 28298 w 500356"/>
                <a:gd name="connsiteY19" fmla="*/ 63246 h 170306"/>
                <a:gd name="connsiteX20" fmla="*/ 14582 w 500356"/>
                <a:gd name="connsiteY20" fmla="*/ 85058 h 170306"/>
                <a:gd name="connsiteX21" fmla="*/ 14296 w 500356"/>
                <a:gd name="connsiteY21" fmla="*/ 140018 h 170306"/>
                <a:gd name="connsiteX22" fmla="*/ 18677 w 500356"/>
                <a:gd name="connsiteY22" fmla="*/ 151257 h 170306"/>
                <a:gd name="connsiteX23" fmla="*/ 30298 w 500356"/>
                <a:gd name="connsiteY23" fmla="*/ 156019 h 170306"/>
                <a:gd name="connsiteX24" fmla="*/ 122500 w 500356"/>
                <a:gd name="connsiteY24" fmla="*/ 156019 h 170306"/>
                <a:gd name="connsiteX25" fmla="*/ 138502 w 500356"/>
                <a:gd name="connsiteY25" fmla="*/ 140018 h 170306"/>
                <a:gd name="connsiteX26" fmla="*/ 138502 w 500356"/>
                <a:gd name="connsiteY26" fmla="*/ 93536 h 170306"/>
                <a:gd name="connsiteX27" fmla="*/ 163362 w 500356"/>
                <a:gd name="connsiteY27" fmla="*/ 62198 h 170306"/>
                <a:gd name="connsiteX28" fmla="*/ 337003 w 500356"/>
                <a:gd name="connsiteY28" fmla="*/ 62198 h 170306"/>
                <a:gd name="connsiteX29" fmla="*/ 361673 w 500356"/>
                <a:gd name="connsiteY29" fmla="*/ 93345 h 170306"/>
                <a:gd name="connsiteX30" fmla="*/ 361673 w 500356"/>
                <a:gd name="connsiteY30" fmla="*/ 139732 h 170306"/>
                <a:gd name="connsiteX31" fmla="*/ 377675 w 500356"/>
                <a:gd name="connsiteY31" fmla="*/ 155734 h 170306"/>
                <a:gd name="connsiteX32" fmla="*/ 469877 w 500356"/>
                <a:gd name="connsiteY32" fmla="*/ 155734 h 170306"/>
                <a:gd name="connsiteX33" fmla="*/ 485879 w 500356"/>
                <a:gd name="connsiteY33" fmla="*/ 139732 h 170306"/>
                <a:gd name="connsiteX34" fmla="*/ 485879 w 500356"/>
                <a:gd name="connsiteY34" fmla="*/ 85249 h 170306"/>
                <a:gd name="connsiteX35" fmla="*/ 471972 w 500356"/>
                <a:gd name="connsiteY35" fmla="*/ 63246 h 170306"/>
                <a:gd name="connsiteX36" fmla="*/ 250325 w 500356"/>
                <a:gd name="connsiteY36" fmla="*/ 14287 h 170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00356" h="170306">
                  <a:moveTo>
                    <a:pt x="122500" y="170307"/>
                  </a:moveTo>
                  <a:lnTo>
                    <a:pt x="30298" y="170307"/>
                  </a:lnTo>
                  <a:cubicBezTo>
                    <a:pt x="21916" y="170307"/>
                    <a:pt x="14201" y="167069"/>
                    <a:pt x="8486" y="161258"/>
                  </a:cubicBezTo>
                  <a:cubicBezTo>
                    <a:pt x="2866" y="155543"/>
                    <a:pt x="-182" y="147923"/>
                    <a:pt x="8" y="139827"/>
                  </a:cubicBezTo>
                  <a:lnTo>
                    <a:pt x="294" y="85249"/>
                  </a:lnTo>
                  <a:cubicBezTo>
                    <a:pt x="-87" y="70295"/>
                    <a:pt x="8581" y="56483"/>
                    <a:pt x="22392" y="50292"/>
                  </a:cubicBezTo>
                  <a:cubicBezTo>
                    <a:pt x="167267" y="-16764"/>
                    <a:pt x="333383" y="-16764"/>
                    <a:pt x="478354" y="50292"/>
                  </a:cubicBezTo>
                  <a:cubicBezTo>
                    <a:pt x="491784" y="56864"/>
                    <a:pt x="500357" y="70485"/>
                    <a:pt x="500357" y="85249"/>
                  </a:cubicBezTo>
                  <a:lnTo>
                    <a:pt x="500357" y="139637"/>
                  </a:lnTo>
                  <a:cubicBezTo>
                    <a:pt x="500357" y="156115"/>
                    <a:pt x="486450" y="169926"/>
                    <a:pt x="470067" y="169926"/>
                  </a:cubicBezTo>
                  <a:lnTo>
                    <a:pt x="377865" y="169926"/>
                  </a:lnTo>
                  <a:cubicBezTo>
                    <a:pt x="361387" y="169926"/>
                    <a:pt x="347576" y="156019"/>
                    <a:pt x="347576" y="139637"/>
                  </a:cubicBezTo>
                  <a:lnTo>
                    <a:pt x="347576" y="93345"/>
                  </a:lnTo>
                  <a:cubicBezTo>
                    <a:pt x="347576" y="85153"/>
                    <a:pt x="341861" y="77915"/>
                    <a:pt x="333955" y="76105"/>
                  </a:cubicBezTo>
                  <a:cubicBezTo>
                    <a:pt x="280234" y="63722"/>
                    <a:pt x="222417" y="63722"/>
                    <a:pt x="166791" y="76105"/>
                  </a:cubicBezTo>
                  <a:cubicBezTo>
                    <a:pt x="158695" y="78105"/>
                    <a:pt x="152980" y="85249"/>
                    <a:pt x="152980" y="93536"/>
                  </a:cubicBezTo>
                  <a:lnTo>
                    <a:pt x="152980" y="139922"/>
                  </a:lnTo>
                  <a:cubicBezTo>
                    <a:pt x="152885" y="156401"/>
                    <a:pt x="138978" y="170307"/>
                    <a:pt x="122500" y="170307"/>
                  </a:cubicBezTo>
                  <a:close/>
                  <a:moveTo>
                    <a:pt x="250325" y="14287"/>
                  </a:moveTo>
                  <a:cubicBezTo>
                    <a:pt x="174602" y="14287"/>
                    <a:pt x="98878" y="30575"/>
                    <a:pt x="28298" y="63246"/>
                  </a:cubicBezTo>
                  <a:cubicBezTo>
                    <a:pt x="19725" y="67151"/>
                    <a:pt x="14391" y="75724"/>
                    <a:pt x="14582" y="85058"/>
                  </a:cubicBezTo>
                  <a:lnTo>
                    <a:pt x="14296" y="140018"/>
                  </a:lnTo>
                  <a:cubicBezTo>
                    <a:pt x="14201" y="144304"/>
                    <a:pt x="15725" y="148304"/>
                    <a:pt x="18677" y="151257"/>
                  </a:cubicBezTo>
                  <a:cubicBezTo>
                    <a:pt x="21725" y="154305"/>
                    <a:pt x="25821" y="156019"/>
                    <a:pt x="30298" y="156019"/>
                  </a:cubicBezTo>
                  <a:lnTo>
                    <a:pt x="122500" y="156019"/>
                  </a:lnTo>
                  <a:cubicBezTo>
                    <a:pt x="131168" y="156019"/>
                    <a:pt x="138502" y="148685"/>
                    <a:pt x="138502" y="140018"/>
                  </a:cubicBezTo>
                  <a:lnTo>
                    <a:pt x="138502" y="93536"/>
                  </a:lnTo>
                  <a:cubicBezTo>
                    <a:pt x="138502" y="78677"/>
                    <a:pt x="148694" y="65723"/>
                    <a:pt x="163362" y="62198"/>
                  </a:cubicBezTo>
                  <a:cubicBezTo>
                    <a:pt x="221179" y="49244"/>
                    <a:pt x="281186" y="49244"/>
                    <a:pt x="337003" y="62198"/>
                  </a:cubicBezTo>
                  <a:cubicBezTo>
                    <a:pt x="351290" y="65437"/>
                    <a:pt x="361673" y="78581"/>
                    <a:pt x="361673" y="93345"/>
                  </a:cubicBezTo>
                  <a:lnTo>
                    <a:pt x="361673" y="139732"/>
                  </a:lnTo>
                  <a:cubicBezTo>
                    <a:pt x="361673" y="148400"/>
                    <a:pt x="369007" y="155734"/>
                    <a:pt x="377675" y="155734"/>
                  </a:cubicBezTo>
                  <a:lnTo>
                    <a:pt x="469877" y="155734"/>
                  </a:lnTo>
                  <a:cubicBezTo>
                    <a:pt x="478544" y="155734"/>
                    <a:pt x="485879" y="148400"/>
                    <a:pt x="485879" y="139732"/>
                  </a:cubicBezTo>
                  <a:lnTo>
                    <a:pt x="485879" y="85249"/>
                  </a:lnTo>
                  <a:cubicBezTo>
                    <a:pt x="485879" y="76010"/>
                    <a:pt x="480449" y="67342"/>
                    <a:pt x="471972" y="63246"/>
                  </a:cubicBezTo>
                  <a:cubicBezTo>
                    <a:pt x="401678" y="30575"/>
                    <a:pt x="326049" y="14287"/>
                    <a:pt x="250325" y="1428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5" name="Grafik 234">
              <a:extLst>
                <a:ext uri="{FF2B5EF4-FFF2-40B4-BE49-F238E27FC236}">
                  <a16:creationId xmlns:a16="http://schemas.microsoft.com/office/drawing/2014/main" id="{2C3A7F15-A73C-F240-49C6-0E412D213C48}"/>
                </a:ext>
              </a:extLst>
            </p:cNvPr>
            <p:cNvSpPr/>
            <p:nvPr/>
          </p:nvSpPr>
          <p:spPr bwMode="gray">
            <a:xfrm>
              <a:off x="5875781" y="3401011"/>
              <a:ext cx="435482" cy="244491"/>
            </a:xfrm>
            <a:custGeom>
              <a:avLst/>
              <a:gdLst>
                <a:gd name="connsiteX0" fmla="*/ 428339 w 435482"/>
                <a:gd name="connsiteY0" fmla="*/ 244492 h 244491"/>
                <a:gd name="connsiteX1" fmla="*/ 7144 w 435482"/>
                <a:gd name="connsiteY1" fmla="*/ 244492 h 244491"/>
                <a:gd name="connsiteX2" fmla="*/ 0 w 435482"/>
                <a:gd name="connsiteY2" fmla="*/ 237348 h 244491"/>
                <a:gd name="connsiteX3" fmla="*/ 0 w 435482"/>
                <a:gd name="connsiteY3" fmla="*/ 75423 h 244491"/>
                <a:gd name="connsiteX4" fmla="*/ 4381 w 435482"/>
                <a:gd name="connsiteY4" fmla="*/ 68851 h 244491"/>
                <a:gd name="connsiteX5" fmla="*/ 166402 w 435482"/>
                <a:gd name="connsiteY5" fmla="*/ 557 h 244491"/>
                <a:gd name="connsiteX6" fmla="*/ 175736 w 435482"/>
                <a:gd name="connsiteY6" fmla="*/ 4367 h 244491"/>
                <a:gd name="connsiteX7" fmla="*/ 171926 w 435482"/>
                <a:gd name="connsiteY7" fmla="*/ 13701 h 244491"/>
                <a:gd name="connsiteX8" fmla="*/ 14288 w 435482"/>
                <a:gd name="connsiteY8" fmla="*/ 80090 h 244491"/>
                <a:gd name="connsiteX9" fmla="*/ 14288 w 435482"/>
                <a:gd name="connsiteY9" fmla="*/ 230204 h 244491"/>
                <a:gd name="connsiteX10" fmla="*/ 421196 w 435482"/>
                <a:gd name="connsiteY10" fmla="*/ 230204 h 244491"/>
                <a:gd name="connsiteX11" fmla="*/ 421196 w 435482"/>
                <a:gd name="connsiteY11" fmla="*/ 80090 h 244491"/>
                <a:gd name="connsiteX12" fmla="*/ 263557 w 435482"/>
                <a:gd name="connsiteY12" fmla="*/ 13701 h 244491"/>
                <a:gd name="connsiteX13" fmla="*/ 259747 w 435482"/>
                <a:gd name="connsiteY13" fmla="*/ 4367 h 244491"/>
                <a:gd name="connsiteX14" fmla="*/ 269081 w 435482"/>
                <a:gd name="connsiteY14" fmla="*/ 557 h 244491"/>
                <a:gd name="connsiteX15" fmla="*/ 431102 w 435482"/>
                <a:gd name="connsiteY15" fmla="*/ 68851 h 244491"/>
                <a:gd name="connsiteX16" fmla="*/ 435483 w 435482"/>
                <a:gd name="connsiteY16" fmla="*/ 75423 h 244491"/>
                <a:gd name="connsiteX17" fmla="*/ 435483 w 435482"/>
                <a:gd name="connsiteY17" fmla="*/ 237443 h 244491"/>
                <a:gd name="connsiteX18" fmla="*/ 428339 w 435482"/>
                <a:gd name="connsiteY18" fmla="*/ 244492 h 244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35482" h="244491">
                  <a:moveTo>
                    <a:pt x="428339" y="244492"/>
                  </a:moveTo>
                  <a:lnTo>
                    <a:pt x="7144" y="244492"/>
                  </a:lnTo>
                  <a:cubicBezTo>
                    <a:pt x="3238" y="244492"/>
                    <a:pt x="0" y="241253"/>
                    <a:pt x="0" y="237348"/>
                  </a:cubicBezTo>
                  <a:lnTo>
                    <a:pt x="0" y="75423"/>
                  </a:lnTo>
                  <a:cubicBezTo>
                    <a:pt x="0" y="72566"/>
                    <a:pt x="1714" y="69994"/>
                    <a:pt x="4381" y="68851"/>
                  </a:cubicBezTo>
                  <a:lnTo>
                    <a:pt x="166402" y="557"/>
                  </a:lnTo>
                  <a:cubicBezTo>
                    <a:pt x="170021" y="-967"/>
                    <a:pt x="174212" y="747"/>
                    <a:pt x="175736" y="4367"/>
                  </a:cubicBezTo>
                  <a:cubicBezTo>
                    <a:pt x="177260" y="7986"/>
                    <a:pt x="175546" y="12177"/>
                    <a:pt x="171926" y="13701"/>
                  </a:cubicBezTo>
                  <a:lnTo>
                    <a:pt x="14288" y="80090"/>
                  </a:lnTo>
                  <a:lnTo>
                    <a:pt x="14288" y="230204"/>
                  </a:lnTo>
                  <a:lnTo>
                    <a:pt x="421196" y="230204"/>
                  </a:lnTo>
                  <a:lnTo>
                    <a:pt x="421196" y="80090"/>
                  </a:lnTo>
                  <a:lnTo>
                    <a:pt x="263557" y="13701"/>
                  </a:lnTo>
                  <a:cubicBezTo>
                    <a:pt x="259937" y="12177"/>
                    <a:pt x="258223" y="7986"/>
                    <a:pt x="259747" y="4367"/>
                  </a:cubicBezTo>
                  <a:cubicBezTo>
                    <a:pt x="261271" y="747"/>
                    <a:pt x="265462" y="-967"/>
                    <a:pt x="269081" y="557"/>
                  </a:cubicBezTo>
                  <a:lnTo>
                    <a:pt x="431102" y="68851"/>
                  </a:lnTo>
                  <a:cubicBezTo>
                    <a:pt x="433768" y="69994"/>
                    <a:pt x="435483" y="72566"/>
                    <a:pt x="435483" y="75423"/>
                  </a:cubicBezTo>
                  <a:lnTo>
                    <a:pt x="435483" y="237443"/>
                  </a:lnTo>
                  <a:cubicBezTo>
                    <a:pt x="435483" y="241349"/>
                    <a:pt x="432244" y="244492"/>
                    <a:pt x="428339" y="2444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6" name="Grafik 234">
              <a:extLst>
                <a:ext uri="{FF2B5EF4-FFF2-40B4-BE49-F238E27FC236}">
                  <a16:creationId xmlns:a16="http://schemas.microsoft.com/office/drawing/2014/main" id="{E926137C-402B-44D2-3FD1-4541D04FC14F}"/>
                </a:ext>
              </a:extLst>
            </p:cNvPr>
            <p:cNvSpPr/>
            <p:nvPr/>
          </p:nvSpPr>
          <p:spPr bwMode="gray">
            <a:xfrm>
              <a:off x="6037801" y="3303746"/>
              <a:ext cx="111442" cy="111537"/>
            </a:xfrm>
            <a:custGeom>
              <a:avLst/>
              <a:gdLst>
                <a:gd name="connsiteX0" fmla="*/ 104299 w 111442"/>
                <a:gd name="connsiteY0" fmla="*/ 111538 h 111537"/>
                <a:gd name="connsiteX1" fmla="*/ 97155 w 111442"/>
                <a:gd name="connsiteY1" fmla="*/ 104394 h 111537"/>
                <a:gd name="connsiteX2" fmla="*/ 97155 w 111442"/>
                <a:gd name="connsiteY2" fmla="*/ 14288 h 111537"/>
                <a:gd name="connsiteX3" fmla="*/ 14288 w 111442"/>
                <a:gd name="connsiteY3" fmla="*/ 14288 h 111537"/>
                <a:gd name="connsiteX4" fmla="*/ 14288 w 111442"/>
                <a:gd name="connsiteY4" fmla="*/ 104394 h 111537"/>
                <a:gd name="connsiteX5" fmla="*/ 7144 w 111442"/>
                <a:gd name="connsiteY5" fmla="*/ 111538 h 111537"/>
                <a:gd name="connsiteX6" fmla="*/ 0 w 111442"/>
                <a:gd name="connsiteY6" fmla="*/ 104394 h 111537"/>
                <a:gd name="connsiteX7" fmla="*/ 0 w 111442"/>
                <a:gd name="connsiteY7" fmla="*/ 7144 h 111537"/>
                <a:gd name="connsiteX8" fmla="*/ 7144 w 111442"/>
                <a:gd name="connsiteY8" fmla="*/ 0 h 111537"/>
                <a:gd name="connsiteX9" fmla="*/ 104299 w 111442"/>
                <a:gd name="connsiteY9" fmla="*/ 0 h 111537"/>
                <a:gd name="connsiteX10" fmla="*/ 111443 w 111442"/>
                <a:gd name="connsiteY10" fmla="*/ 7144 h 111537"/>
                <a:gd name="connsiteX11" fmla="*/ 111443 w 111442"/>
                <a:gd name="connsiteY11" fmla="*/ 104394 h 111537"/>
                <a:gd name="connsiteX12" fmla="*/ 104299 w 111442"/>
                <a:gd name="connsiteY12" fmla="*/ 111538 h 111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1442" h="111537">
                  <a:moveTo>
                    <a:pt x="104299" y="111538"/>
                  </a:moveTo>
                  <a:cubicBezTo>
                    <a:pt x="100394" y="111538"/>
                    <a:pt x="97155" y="108299"/>
                    <a:pt x="97155" y="104394"/>
                  </a:cubicBezTo>
                  <a:lnTo>
                    <a:pt x="97155" y="14288"/>
                  </a:lnTo>
                  <a:lnTo>
                    <a:pt x="14288" y="14288"/>
                  </a:lnTo>
                  <a:lnTo>
                    <a:pt x="14288" y="104394"/>
                  </a:lnTo>
                  <a:cubicBezTo>
                    <a:pt x="14288" y="108299"/>
                    <a:pt x="11049" y="111538"/>
                    <a:pt x="7144" y="111538"/>
                  </a:cubicBezTo>
                  <a:cubicBezTo>
                    <a:pt x="3239" y="111538"/>
                    <a:pt x="0" y="108299"/>
                    <a:pt x="0" y="104394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104299" y="0"/>
                  </a:lnTo>
                  <a:cubicBezTo>
                    <a:pt x="108204" y="0"/>
                    <a:pt x="111443" y="3238"/>
                    <a:pt x="111443" y="7144"/>
                  </a:cubicBezTo>
                  <a:lnTo>
                    <a:pt x="111443" y="104394"/>
                  </a:lnTo>
                  <a:cubicBezTo>
                    <a:pt x="111443" y="108299"/>
                    <a:pt x="108299" y="111538"/>
                    <a:pt x="104299" y="111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577" name="Grafik 236">
            <a:extLst>
              <a:ext uri="{FF2B5EF4-FFF2-40B4-BE49-F238E27FC236}">
                <a16:creationId xmlns:a16="http://schemas.microsoft.com/office/drawing/2014/main" id="{0523B747-F7FE-4010-38B7-A4F5763BE263}"/>
              </a:ext>
            </a:extLst>
          </p:cNvPr>
          <p:cNvGrpSpPr/>
          <p:nvPr/>
        </p:nvGrpSpPr>
        <p:grpSpPr bwMode="gray">
          <a:xfrm>
            <a:off x="9942167" y="4509896"/>
            <a:ext cx="374400" cy="374400"/>
            <a:chOff x="5843578" y="3209925"/>
            <a:chExt cx="500356" cy="435578"/>
          </a:xfrm>
          <a:solidFill>
            <a:schemeClr val="tx1"/>
          </a:solidFill>
        </p:grpSpPr>
        <p:sp>
          <p:nvSpPr>
            <p:cNvPr id="578" name="Grafik 236">
              <a:extLst>
                <a:ext uri="{FF2B5EF4-FFF2-40B4-BE49-F238E27FC236}">
                  <a16:creationId xmlns:a16="http://schemas.microsoft.com/office/drawing/2014/main" id="{F5738683-7B02-B42D-B693-1BA9DD1A162A}"/>
                </a:ext>
              </a:extLst>
            </p:cNvPr>
            <p:cNvSpPr/>
            <p:nvPr/>
          </p:nvSpPr>
          <p:spPr bwMode="gray">
            <a:xfrm>
              <a:off x="5843578" y="3209925"/>
              <a:ext cx="500356" cy="170306"/>
            </a:xfrm>
            <a:custGeom>
              <a:avLst/>
              <a:gdLst>
                <a:gd name="connsiteX0" fmla="*/ 122500 w 500356"/>
                <a:gd name="connsiteY0" fmla="*/ 170307 h 170306"/>
                <a:gd name="connsiteX1" fmla="*/ 30298 w 500356"/>
                <a:gd name="connsiteY1" fmla="*/ 170307 h 170306"/>
                <a:gd name="connsiteX2" fmla="*/ 8486 w 500356"/>
                <a:gd name="connsiteY2" fmla="*/ 161258 h 170306"/>
                <a:gd name="connsiteX3" fmla="*/ 8 w 500356"/>
                <a:gd name="connsiteY3" fmla="*/ 139827 h 170306"/>
                <a:gd name="connsiteX4" fmla="*/ 294 w 500356"/>
                <a:gd name="connsiteY4" fmla="*/ 85249 h 170306"/>
                <a:gd name="connsiteX5" fmla="*/ 22392 w 500356"/>
                <a:gd name="connsiteY5" fmla="*/ 50292 h 170306"/>
                <a:gd name="connsiteX6" fmla="*/ 478354 w 500356"/>
                <a:gd name="connsiteY6" fmla="*/ 50292 h 170306"/>
                <a:gd name="connsiteX7" fmla="*/ 500357 w 500356"/>
                <a:gd name="connsiteY7" fmla="*/ 85249 h 170306"/>
                <a:gd name="connsiteX8" fmla="*/ 500357 w 500356"/>
                <a:gd name="connsiteY8" fmla="*/ 139637 h 170306"/>
                <a:gd name="connsiteX9" fmla="*/ 470067 w 500356"/>
                <a:gd name="connsiteY9" fmla="*/ 169926 h 170306"/>
                <a:gd name="connsiteX10" fmla="*/ 377865 w 500356"/>
                <a:gd name="connsiteY10" fmla="*/ 169926 h 170306"/>
                <a:gd name="connsiteX11" fmla="*/ 347576 w 500356"/>
                <a:gd name="connsiteY11" fmla="*/ 139637 h 170306"/>
                <a:gd name="connsiteX12" fmla="*/ 347576 w 500356"/>
                <a:gd name="connsiteY12" fmla="*/ 93345 h 170306"/>
                <a:gd name="connsiteX13" fmla="*/ 333955 w 500356"/>
                <a:gd name="connsiteY13" fmla="*/ 76105 h 170306"/>
                <a:gd name="connsiteX14" fmla="*/ 166791 w 500356"/>
                <a:gd name="connsiteY14" fmla="*/ 76105 h 170306"/>
                <a:gd name="connsiteX15" fmla="*/ 152980 w 500356"/>
                <a:gd name="connsiteY15" fmla="*/ 93536 h 170306"/>
                <a:gd name="connsiteX16" fmla="*/ 152980 w 500356"/>
                <a:gd name="connsiteY16" fmla="*/ 139922 h 170306"/>
                <a:gd name="connsiteX17" fmla="*/ 122500 w 500356"/>
                <a:gd name="connsiteY17" fmla="*/ 170307 h 170306"/>
                <a:gd name="connsiteX18" fmla="*/ 250325 w 500356"/>
                <a:gd name="connsiteY18" fmla="*/ 14287 h 170306"/>
                <a:gd name="connsiteX19" fmla="*/ 28298 w 500356"/>
                <a:gd name="connsiteY19" fmla="*/ 63246 h 170306"/>
                <a:gd name="connsiteX20" fmla="*/ 14582 w 500356"/>
                <a:gd name="connsiteY20" fmla="*/ 85058 h 170306"/>
                <a:gd name="connsiteX21" fmla="*/ 14296 w 500356"/>
                <a:gd name="connsiteY21" fmla="*/ 140018 h 170306"/>
                <a:gd name="connsiteX22" fmla="*/ 18677 w 500356"/>
                <a:gd name="connsiteY22" fmla="*/ 151257 h 170306"/>
                <a:gd name="connsiteX23" fmla="*/ 30298 w 500356"/>
                <a:gd name="connsiteY23" fmla="*/ 156019 h 170306"/>
                <a:gd name="connsiteX24" fmla="*/ 122500 w 500356"/>
                <a:gd name="connsiteY24" fmla="*/ 156019 h 170306"/>
                <a:gd name="connsiteX25" fmla="*/ 138502 w 500356"/>
                <a:gd name="connsiteY25" fmla="*/ 140018 h 170306"/>
                <a:gd name="connsiteX26" fmla="*/ 138502 w 500356"/>
                <a:gd name="connsiteY26" fmla="*/ 93536 h 170306"/>
                <a:gd name="connsiteX27" fmla="*/ 163362 w 500356"/>
                <a:gd name="connsiteY27" fmla="*/ 62198 h 170306"/>
                <a:gd name="connsiteX28" fmla="*/ 337003 w 500356"/>
                <a:gd name="connsiteY28" fmla="*/ 62198 h 170306"/>
                <a:gd name="connsiteX29" fmla="*/ 361673 w 500356"/>
                <a:gd name="connsiteY29" fmla="*/ 93345 h 170306"/>
                <a:gd name="connsiteX30" fmla="*/ 361673 w 500356"/>
                <a:gd name="connsiteY30" fmla="*/ 139732 h 170306"/>
                <a:gd name="connsiteX31" fmla="*/ 377675 w 500356"/>
                <a:gd name="connsiteY31" fmla="*/ 155734 h 170306"/>
                <a:gd name="connsiteX32" fmla="*/ 469877 w 500356"/>
                <a:gd name="connsiteY32" fmla="*/ 155734 h 170306"/>
                <a:gd name="connsiteX33" fmla="*/ 485879 w 500356"/>
                <a:gd name="connsiteY33" fmla="*/ 139732 h 170306"/>
                <a:gd name="connsiteX34" fmla="*/ 485879 w 500356"/>
                <a:gd name="connsiteY34" fmla="*/ 85249 h 170306"/>
                <a:gd name="connsiteX35" fmla="*/ 471972 w 500356"/>
                <a:gd name="connsiteY35" fmla="*/ 63246 h 170306"/>
                <a:gd name="connsiteX36" fmla="*/ 250325 w 500356"/>
                <a:gd name="connsiteY36" fmla="*/ 14287 h 170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00356" h="170306">
                  <a:moveTo>
                    <a:pt x="122500" y="170307"/>
                  </a:moveTo>
                  <a:lnTo>
                    <a:pt x="30298" y="170307"/>
                  </a:lnTo>
                  <a:cubicBezTo>
                    <a:pt x="21916" y="170307"/>
                    <a:pt x="14201" y="167069"/>
                    <a:pt x="8486" y="161258"/>
                  </a:cubicBezTo>
                  <a:cubicBezTo>
                    <a:pt x="2866" y="155543"/>
                    <a:pt x="-182" y="147923"/>
                    <a:pt x="8" y="139827"/>
                  </a:cubicBezTo>
                  <a:lnTo>
                    <a:pt x="294" y="85249"/>
                  </a:lnTo>
                  <a:cubicBezTo>
                    <a:pt x="-87" y="70295"/>
                    <a:pt x="8581" y="56483"/>
                    <a:pt x="22392" y="50292"/>
                  </a:cubicBezTo>
                  <a:cubicBezTo>
                    <a:pt x="167267" y="-16764"/>
                    <a:pt x="333383" y="-16764"/>
                    <a:pt x="478354" y="50292"/>
                  </a:cubicBezTo>
                  <a:cubicBezTo>
                    <a:pt x="491784" y="56864"/>
                    <a:pt x="500357" y="70485"/>
                    <a:pt x="500357" y="85249"/>
                  </a:cubicBezTo>
                  <a:lnTo>
                    <a:pt x="500357" y="139637"/>
                  </a:lnTo>
                  <a:cubicBezTo>
                    <a:pt x="500357" y="156115"/>
                    <a:pt x="486450" y="169926"/>
                    <a:pt x="470067" y="169926"/>
                  </a:cubicBezTo>
                  <a:lnTo>
                    <a:pt x="377865" y="169926"/>
                  </a:lnTo>
                  <a:cubicBezTo>
                    <a:pt x="361387" y="169926"/>
                    <a:pt x="347576" y="156019"/>
                    <a:pt x="347576" y="139637"/>
                  </a:cubicBezTo>
                  <a:lnTo>
                    <a:pt x="347576" y="93345"/>
                  </a:lnTo>
                  <a:cubicBezTo>
                    <a:pt x="347576" y="85153"/>
                    <a:pt x="341861" y="77915"/>
                    <a:pt x="333955" y="76105"/>
                  </a:cubicBezTo>
                  <a:cubicBezTo>
                    <a:pt x="280234" y="63722"/>
                    <a:pt x="222417" y="63722"/>
                    <a:pt x="166791" y="76105"/>
                  </a:cubicBezTo>
                  <a:cubicBezTo>
                    <a:pt x="158695" y="78105"/>
                    <a:pt x="152980" y="85249"/>
                    <a:pt x="152980" y="93536"/>
                  </a:cubicBezTo>
                  <a:lnTo>
                    <a:pt x="152980" y="139922"/>
                  </a:lnTo>
                  <a:cubicBezTo>
                    <a:pt x="152885" y="156401"/>
                    <a:pt x="138978" y="170307"/>
                    <a:pt x="122500" y="170307"/>
                  </a:cubicBezTo>
                  <a:close/>
                  <a:moveTo>
                    <a:pt x="250325" y="14287"/>
                  </a:moveTo>
                  <a:cubicBezTo>
                    <a:pt x="174602" y="14287"/>
                    <a:pt x="98878" y="30575"/>
                    <a:pt x="28298" y="63246"/>
                  </a:cubicBezTo>
                  <a:cubicBezTo>
                    <a:pt x="19725" y="67151"/>
                    <a:pt x="14391" y="75724"/>
                    <a:pt x="14582" y="85058"/>
                  </a:cubicBezTo>
                  <a:lnTo>
                    <a:pt x="14296" y="140018"/>
                  </a:lnTo>
                  <a:cubicBezTo>
                    <a:pt x="14201" y="144304"/>
                    <a:pt x="15725" y="148304"/>
                    <a:pt x="18677" y="151257"/>
                  </a:cubicBezTo>
                  <a:cubicBezTo>
                    <a:pt x="21725" y="154305"/>
                    <a:pt x="25821" y="156019"/>
                    <a:pt x="30298" y="156019"/>
                  </a:cubicBezTo>
                  <a:lnTo>
                    <a:pt x="122500" y="156019"/>
                  </a:lnTo>
                  <a:cubicBezTo>
                    <a:pt x="131168" y="156019"/>
                    <a:pt x="138502" y="148685"/>
                    <a:pt x="138502" y="140018"/>
                  </a:cubicBezTo>
                  <a:lnTo>
                    <a:pt x="138502" y="93536"/>
                  </a:lnTo>
                  <a:cubicBezTo>
                    <a:pt x="138502" y="78677"/>
                    <a:pt x="148694" y="65723"/>
                    <a:pt x="163362" y="62198"/>
                  </a:cubicBezTo>
                  <a:cubicBezTo>
                    <a:pt x="221179" y="49244"/>
                    <a:pt x="281186" y="49244"/>
                    <a:pt x="337003" y="62198"/>
                  </a:cubicBezTo>
                  <a:cubicBezTo>
                    <a:pt x="351290" y="65437"/>
                    <a:pt x="361673" y="78581"/>
                    <a:pt x="361673" y="93345"/>
                  </a:cubicBezTo>
                  <a:lnTo>
                    <a:pt x="361673" y="139732"/>
                  </a:lnTo>
                  <a:cubicBezTo>
                    <a:pt x="361673" y="148400"/>
                    <a:pt x="369007" y="155734"/>
                    <a:pt x="377675" y="155734"/>
                  </a:cubicBezTo>
                  <a:lnTo>
                    <a:pt x="469877" y="155734"/>
                  </a:lnTo>
                  <a:cubicBezTo>
                    <a:pt x="478544" y="155734"/>
                    <a:pt x="485879" y="148400"/>
                    <a:pt x="485879" y="139732"/>
                  </a:cubicBezTo>
                  <a:lnTo>
                    <a:pt x="485879" y="85249"/>
                  </a:lnTo>
                  <a:cubicBezTo>
                    <a:pt x="485879" y="76010"/>
                    <a:pt x="480449" y="67342"/>
                    <a:pt x="471972" y="63246"/>
                  </a:cubicBezTo>
                  <a:cubicBezTo>
                    <a:pt x="401678" y="30575"/>
                    <a:pt x="326049" y="14287"/>
                    <a:pt x="250325" y="1428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9" name="Grafik 236">
              <a:extLst>
                <a:ext uri="{FF2B5EF4-FFF2-40B4-BE49-F238E27FC236}">
                  <a16:creationId xmlns:a16="http://schemas.microsoft.com/office/drawing/2014/main" id="{64013FA8-6161-3515-7636-29E014E4DC82}"/>
                </a:ext>
              </a:extLst>
            </p:cNvPr>
            <p:cNvSpPr/>
            <p:nvPr/>
          </p:nvSpPr>
          <p:spPr bwMode="gray">
            <a:xfrm>
              <a:off x="5875781" y="3401011"/>
              <a:ext cx="435482" cy="244491"/>
            </a:xfrm>
            <a:custGeom>
              <a:avLst/>
              <a:gdLst>
                <a:gd name="connsiteX0" fmla="*/ 428339 w 435482"/>
                <a:gd name="connsiteY0" fmla="*/ 244492 h 244491"/>
                <a:gd name="connsiteX1" fmla="*/ 7144 w 435482"/>
                <a:gd name="connsiteY1" fmla="*/ 244492 h 244491"/>
                <a:gd name="connsiteX2" fmla="*/ 0 w 435482"/>
                <a:gd name="connsiteY2" fmla="*/ 237348 h 244491"/>
                <a:gd name="connsiteX3" fmla="*/ 0 w 435482"/>
                <a:gd name="connsiteY3" fmla="*/ 75423 h 244491"/>
                <a:gd name="connsiteX4" fmla="*/ 4381 w 435482"/>
                <a:gd name="connsiteY4" fmla="*/ 68851 h 244491"/>
                <a:gd name="connsiteX5" fmla="*/ 166402 w 435482"/>
                <a:gd name="connsiteY5" fmla="*/ 557 h 244491"/>
                <a:gd name="connsiteX6" fmla="*/ 175736 w 435482"/>
                <a:gd name="connsiteY6" fmla="*/ 4367 h 244491"/>
                <a:gd name="connsiteX7" fmla="*/ 171926 w 435482"/>
                <a:gd name="connsiteY7" fmla="*/ 13701 h 244491"/>
                <a:gd name="connsiteX8" fmla="*/ 14288 w 435482"/>
                <a:gd name="connsiteY8" fmla="*/ 80090 h 244491"/>
                <a:gd name="connsiteX9" fmla="*/ 14288 w 435482"/>
                <a:gd name="connsiteY9" fmla="*/ 230204 h 244491"/>
                <a:gd name="connsiteX10" fmla="*/ 421196 w 435482"/>
                <a:gd name="connsiteY10" fmla="*/ 230204 h 244491"/>
                <a:gd name="connsiteX11" fmla="*/ 421196 w 435482"/>
                <a:gd name="connsiteY11" fmla="*/ 80090 h 244491"/>
                <a:gd name="connsiteX12" fmla="*/ 263557 w 435482"/>
                <a:gd name="connsiteY12" fmla="*/ 13701 h 244491"/>
                <a:gd name="connsiteX13" fmla="*/ 259747 w 435482"/>
                <a:gd name="connsiteY13" fmla="*/ 4367 h 244491"/>
                <a:gd name="connsiteX14" fmla="*/ 269081 w 435482"/>
                <a:gd name="connsiteY14" fmla="*/ 557 h 244491"/>
                <a:gd name="connsiteX15" fmla="*/ 431102 w 435482"/>
                <a:gd name="connsiteY15" fmla="*/ 68851 h 244491"/>
                <a:gd name="connsiteX16" fmla="*/ 435483 w 435482"/>
                <a:gd name="connsiteY16" fmla="*/ 75423 h 244491"/>
                <a:gd name="connsiteX17" fmla="*/ 435483 w 435482"/>
                <a:gd name="connsiteY17" fmla="*/ 237443 h 244491"/>
                <a:gd name="connsiteX18" fmla="*/ 428339 w 435482"/>
                <a:gd name="connsiteY18" fmla="*/ 244492 h 244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35482" h="244491">
                  <a:moveTo>
                    <a:pt x="428339" y="244492"/>
                  </a:moveTo>
                  <a:lnTo>
                    <a:pt x="7144" y="244492"/>
                  </a:lnTo>
                  <a:cubicBezTo>
                    <a:pt x="3238" y="244492"/>
                    <a:pt x="0" y="241253"/>
                    <a:pt x="0" y="237348"/>
                  </a:cubicBezTo>
                  <a:lnTo>
                    <a:pt x="0" y="75423"/>
                  </a:lnTo>
                  <a:cubicBezTo>
                    <a:pt x="0" y="72566"/>
                    <a:pt x="1714" y="69994"/>
                    <a:pt x="4381" y="68851"/>
                  </a:cubicBezTo>
                  <a:lnTo>
                    <a:pt x="166402" y="557"/>
                  </a:lnTo>
                  <a:cubicBezTo>
                    <a:pt x="170021" y="-967"/>
                    <a:pt x="174212" y="747"/>
                    <a:pt x="175736" y="4367"/>
                  </a:cubicBezTo>
                  <a:cubicBezTo>
                    <a:pt x="177260" y="7986"/>
                    <a:pt x="175546" y="12177"/>
                    <a:pt x="171926" y="13701"/>
                  </a:cubicBezTo>
                  <a:lnTo>
                    <a:pt x="14288" y="80090"/>
                  </a:lnTo>
                  <a:lnTo>
                    <a:pt x="14288" y="230204"/>
                  </a:lnTo>
                  <a:lnTo>
                    <a:pt x="421196" y="230204"/>
                  </a:lnTo>
                  <a:lnTo>
                    <a:pt x="421196" y="80090"/>
                  </a:lnTo>
                  <a:lnTo>
                    <a:pt x="263557" y="13701"/>
                  </a:lnTo>
                  <a:cubicBezTo>
                    <a:pt x="259937" y="12177"/>
                    <a:pt x="258223" y="7986"/>
                    <a:pt x="259747" y="4367"/>
                  </a:cubicBezTo>
                  <a:cubicBezTo>
                    <a:pt x="261271" y="747"/>
                    <a:pt x="265462" y="-967"/>
                    <a:pt x="269081" y="557"/>
                  </a:cubicBezTo>
                  <a:lnTo>
                    <a:pt x="431102" y="68851"/>
                  </a:lnTo>
                  <a:cubicBezTo>
                    <a:pt x="433768" y="69994"/>
                    <a:pt x="435483" y="72566"/>
                    <a:pt x="435483" y="75423"/>
                  </a:cubicBezTo>
                  <a:lnTo>
                    <a:pt x="435483" y="237443"/>
                  </a:lnTo>
                  <a:cubicBezTo>
                    <a:pt x="435483" y="241349"/>
                    <a:pt x="432244" y="244492"/>
                    <a:pt x="428339" y="2444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0" name="Grafik 236">
              <a:extLst>
                <a:ext uri="{FF2B5EF4-FFF2-40B4-BE49-F238E27FC236}">
                  <a16:creationId xmlns:a16="http://schemas.microsoft.com/office/drawing/2014/main" id="{92CE0396-D2DB-DAAD-1A5D-31D43096C010}"/>
                </a:ext>
              </a:extLst>
            </p:cNvPr>
            <p:cNvSpPr/>
            <p:nvPr/>
          </p:nvSpPr>
          <p:spPr bwMode="gray">
            <a:xfrm>
              <a:off x="6037801" y="3303746"/>
              <a:ext cx="111442" cy="111537"/>
            </a:xfrm>
            <a:custGeom>
              <a:avLst/>
              <a:gdLst>
                <a:gd name="connsiteX0" fmla="*/ 104299 w 111442"/>
                <a:gd name="connsiteY0" fmla="*/ 111538 h 111537"/>
                <a:gd name="connsiteX1" fmla="*/ 97155 w 111442"/>
                <a:gd name="connsiteY1" fmla="*/ 104394 h 111537"/>
                <a:gd name="connsiteX2" fmla="*/ 97155 w 111442"/>
                <a:gd name="connsiteY2" fmla="*/ 14288 h 111537"/>
                <a:gd name="connsiteX3" fmla="*/ 14288 w 111442"/>
                <a:gd name="connsiteY3" fmla="*/ 14288 h 111537"/>
                <a:gd name="connsiteX4" fmla="*/ 14288 w 111442"/>
                <a:gd name="connsiteY4" fmla="*/ 104394 h 111537"/>
                <a:gd name="connsiteX5" fmla="*/ 7144 w 111442"/>
                <a:gd name="connsiteY5" fmla="*/ 111538 h 111537"/>
                <a:gd name="connsiteX6" fmla="*/ 0 w 111442"/>
                <a:gd name="connsiteY6" fmla="*/ 104394 h 111537"/>
                <a:gd name="connsiteX7" fmla="*/ 0 w 111442"/>
                <a:gd name="connsiteY7" fmla="*/ 7144 h 111537"/>
                <a:gd name="connsiteX8" fmla="*/ 7144 w 111442"/>
                <a:gd name="connsiteY8" fmla="*/ 0 h 111537"/>
                <a:gd name="connsiteX9" fmla="*/ 104299 w 111442"/>
                <a:gd name="connsiteY9" fmla="*/ 0 h 111537"/>
                <a:gd name="connsiteX10" fmla="*/ 111443 w 111442"/>
                <a:gd name="connsiteY10" fmla="*/ 7144 h 111537"/>
                <a:gd name="connsiteX11" fmla="*/ 111443 w 111442"/>
                <a:gd name="connsiteY11" fmla="*/ 104394 h 111537"/>
                <a:gd name="connsiteX12" fmla="*/ 104299 w 111442"/>
                <a:gd name="connsiteY12" fmla="*/ 111538 h 111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1442" h="111537">
                  <a:moveTo>
                    <a:pt x="104299" y="111538"/>
                  </a:moveTo>
                  <a:cubicBezTo>
                    <a:pt x="100394" y="111538"/>
                    <a:pt x="97155" y="108299"/>
                    <a:pt x="97155" y="104394"/>
                  </a:cubicBezTo>
                  <a:lnTo>
                    <a:pt x="97155" y="14288"/>
                  </a:lnTo>
                  <a:lnTo>
                    <a:pt x="14288" y="14288"/>
                  </a:lnTo>
                  <a:lnTo>
                    <a:pt x="14288" y="104394"/>
                  </a:lnTo>
                  <a:cubicBezTo>
                    <a:pt x="14288" y="108299"/>
                    <a:pt x="11049" y="111538"/>
                    <a:pt x="7144" y="111538"/>
                  </a:cubicBezTo>
                  <a:cubicBezTo>
                    <a:pt x="3239" y="111538"/>
                    <a:pt x="0" y="108299"/>
                    <a:pt x="0" y="104394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104299" y="0"/>
                  </a:lnTo>
                  <a:cubicBezTo>
                    <a:pt x="108204" y="0"/>
                    <a:pt x="111443" y="3238"/>
                    <a:pt x="111443" y="7144"/>
                  </a:cubicBezTo>
                  <a:lnTo>
                    <a:pt x="111443" y="104394"/>
                  </a:lnTo>
                  <a:cubicBezTo>
                    <a:pt x="111443" y="108299"/>
                    <a:pt x="108299" y="111538"/>
                    <a:pt x="104299" y="111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581" name="Grafik 236">
              <a:extLst>
                <a:ext uri="{FF2B5EF4-FFF2-40B4-BE49-F238E27FC236}">
                  <a16:creationId xmlns:a16="http://schemas.microsoft.com/office/drawing/2014/main" id="{47C93D99-886F-CB01-1AA7-8C4E63FEC1CC}"/>
                </a:ext>
              </a:extLst>
            </p:cNvPr>
            <p:cNvGrpSpPr/>
            <p:nvPr/>
          </p:nvGrpSpPr>
          <p:grpSpPr bwMode="gray">
            <a:xfrm>
              <a:off x="6021632" y="3454241"/>
              <a:ext cx="143833" cy="142684"/>
              <a:chOff x="6021632" y="3454241"/>
              <a:chExt cx="143833" cy="142684"/>
            </a:xfrm>
            <a:grpFill/>
          </p:grpSpPr>
          <p:sp>
            <p:nvSpPr>
              <p:cNvPr id="582" name="Grafik 236">
                <a:extLst>
                  <a:ext uri="{FF2B5EF4-FFF2-40B4-BE49-F238E27FC236}">
                    <a16:creationId xmlns:a16="http://schemas.microsoft.com/office/drawing/2014/main" id="{F8CA0825-9C68-F062-E972-2916EB0EEECB}"/>
                  </a:ext>
                </a:extLst>
              </p:cNvPr>
              <p:cNvSpPr/>
              <p:nvPr/>
            </p:nvSpPr>
            <p:spPr bwMode="gray">
              <a:xfrm>
                <a:off x="6056519" y="3489197"/>
                <a:ext cx="67457" cy="72675"/>
              </a:xfrm>
              <a:custGeom>
                <a:avLst/>
                <a:gdLst>
                  <a:gd name="connsiteX0" fmla="*/ 30622 w 67457"/>
                  <a:gd name="connsiteY0" fmla="*/ 72676 h 72675"/>
                  <a:gd name="connsiteX1" fmla="*/ 8714 w 67457"/>
                  <a:gd name="connsiteY1" fmla="*/ 63151 h 72675"/>
                  <a:gd name="connsiteX2" fmla="*/ 142 w 67457"/>
                  <a:gd name="connsiteY2" fmla="*/ 35719 h 72675"/>
                  <a:gd name="connsiteX3" fmla="*/ 35765 w 67457"/>
                  <a:gd name="connsiteY3" fmla="*/ 0 h 72675"/>
                  <a:gd name="connsiteX4" fmla="*/ 58625 w 67457"/>
                  <a:gd name="connsiteY4" fmla="*/ 10001 h 72675"/>
                  <a:gd name="connsiteX5" fmla="*/ 67293 w 67457"/>
                  <a:gd name="connsiteY5" fmla="*/ 36957 h 72675"/>
                  <a:gd name="connsiteX6" fmla="*/ 67293 w 67457"/>
                  <a:gd name="connsiteY6" fmla="*/ 36957 h 72675"/>
                  <a:gd name="connsiteX7" fmla="*/ 30622 w 67457"/>
                  <a:gd name="connsiteY7" fmla="*/ 72676 h 72675"/>
                  <a:gd name="connsiteX8" fmla="*/ 35861 w 67457"/>
                  <a:gd name="connsiteY8" fmla="*/ 14383 h 72675"/>
                  <a:gd name="connsiteX9" fmla="*/ 14525 w 67457"/>
                  <a:gd name="connsiteY9" fmla="*/ 37052 h 72675"/>
                  <a:gd name="connsiteX10" fmla="*/ 19382 w 67457"/>
                  <a:gd name="connsiteY10" fmla="*/ 53626 h 72675"/>
                  <a:gd name="connsiteX11" fmla="*/ 30717 w 67457"/>
                  <a:gd name="connsiteY11" fmla="*/ 58483 h 72675"/>
                  <a:gd name="connsiteX12" fmla="*/ 53196 w 67457"/>
                  <a:gd name="connsiteY12" fmla="*/ 35814 h 72675"/>
                  <a:gd name="connsiteX13" fmla="*/ 53196 w 67457"/>
                  <a:gd name="connsiteY13" fmla="*/ 35814 h 72675"/>
                  <a:gd name="connsiteX14" fmla="*/ 48243 w 67457"/>
                  <a:gd name="connsiteY14" fmla="*/ 19812 h 72675"/>
                  <a:gd name="connsiteX15" fmla="*/ 35861 w 67457"/>
                  <a:gd name="connsiteY15" fmla="*/ 14383 h 72675"/>
                  <a:gd name="connsiteX16" fmla="*/ 60245 w 67457"/>
                  <a:gd name="connsiteY16" fmla="*/ 36385 h 72675"/>
                  <a:gd name="connsiteX17" fmla="*/ 60245 w 67457"/>
                  <a:gd name="connsiteY17" fmla="*/ 36385 h 72675"/>
                  <a:gd name="connsiteX18" fmla="*/ 60245 w 67457"/>
                  <a:gd name="connsiteY18" fmla="*/ 36385 h 72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67457" h="72675">
                    <a:moveTo>
                      <a:pt x="30622" y="72676"/>
                    </a:moveTo>
                    <a:cubicBezTo>
                      <a:pt x="22145" y="72676"/>
                      <a:pt x="14334" y="69342"/>
                      <a:pt x="8714" y="63151"/>
                    </a:cubicBezTo>
                    <a:cubicBezTo>
                      <a:pt x="2333" y="56198"/>
                      <a:pt x="-715" y="46196"/>
                      <a:pt x="142" y="35719"/>
                    </a:cubicBezTo>
                    <a:cubicBezTo>
                      <a:pt x="1952" y="15716"/>
                      <a:pt x="17573" y="0"/>
                      <a:pt x="35765" y="0"/>
                    </a:cubicBezTo>
                    <a:cubicBezTo>
                      <a:pt x="44528" y="0"/>
                      <a:pt x="52625" y="3620"/>
                      <a:pt x="58625" y="10001"/>
                    </a:cubicBezTo>
                    <a:cubicBezTo>
                      <a:pt x="65007" y="17050"/>
                      <a:pt x="68246" y="26860"/>
                      <a:pt x="67293" y="36957"/>
                    </a:cubicBezTo>
                    <a:lnTo>
                      <a:pt x="67293" y="36957"/>
                    </a:lnTo>
                    <a:cubicBezTo>
                      <a:pt x="65483" y="58007"/>
                      <a:pt x="50434" y="72676"/>
                      <a:pt x="30622" y="72676"/>
                    </a:cubicBezTo>
                    <a:close/>
                    <a:moveTo>
                      <a:pt x="35861" y="14383"/>
                    </a:moveTo>
                    <a:cubicBezTo>
                      <a:pt x="25002" y="14383"/>
                      <a:pt x="15668" y="24384"/>
                      <a:pt x="14525" y="37052"/>
                    </a:cubicBezTo>
                    <a:cubicBezTo>
                      <a:pt x="13953" y="43529"/>
                      <a:pt x="15668" y="49625"/>
                      <a:pt x="19382" y="53626"/>
                    </a:cubicBezTo>
                    <a:cubicBezTo>
                      <a:pt x="22335" y="56769"/>
                      <a:pt x="26240" y="58483"/>
                      <a:pt x="30717" y="58483"/>
                    </a:cubicBezTo>
                    <a:cubicBezTo>
                      <a:pt x="40909" y="58483"/>
                      <a:pt x="51767" y="51435"/>
                      <a:pt x="53196" y="35814"/>
                    </a:cubicBezTo>
                    <a:lnTo>
                      <a:pt x="53196" y="35814"/>
                    </a:lnTo>
                    <a:cubicBezTo>
                      <a:pt x="53768" y="29718"/>
                      <a:pt x="51958" y="23908"/>
                      <a:pt x="48243" y="19812"/>
                    </a:cubicBezTo>
                    <a:cubicBezTo>
                      <a:pt x="44909" y="16288"/>
                      <a:pt x="40528" y="14383"/>
                      <a:pt x="35861" y="14383"/>
                    </a:cubicBezTo>
                    <a:close/>
                    <a:moveTo>
                      <a:pt x="60245" y="36385"/>
                    </a:moveTo>
                    <a:lnTo>
                      <a:pt x="60245" y="36385"/>
                    </a:lnTo>
                    <a:lnTo>
                      <a:pt x="60245" y="3638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83" name="Grafik 236">
                <a:extLst>
                  <a:ext uri="{FF2B5EF4-FFF2-40B4-BE49-F238E27FC236}">
                    <a16:creationId xmlns:a16="http://schemas.microsoft.com/office/drawing/2014/main" id="{3839D46C-D300-47CB-D857-9CE213EFF4F7}"/>
                  </a:ext>
                </a:extLst>
              </p:cNvPr>
              <p:cNvSpPr/>
              <p:nvPr/>
            </p:nvSpPr>
            <p:spPr bwMode="gray">
              <a:xfrm>
                <a:off x="6021632" y="3454241"/>
                <a:ext cx="143833" cy="142684"/>
              </a:xfrm>
              <a:custGeom>
                <a:avLst/>
                <a:gdLst>
                  <a:gd name="connsiteX0" fmla="*/ 66080 w 143833"/>
                  <a:gd name="connsiteY0" fmla="*/ 142685 h 142684"/>
                  <a:gd name="connsiteX1" fmla="*/ 17027 w 143833"/>
                  <a:gd name="connsiteY1" fmla="*/ 121634 h 142684"/>
                  <a:gd name="connsiteX2" fmla="*/ 263 w 143833"/>
                  <a:gd name="connsiteY2" fmla="*/ 70771 h 142684"/>
                  <a:gd name="connsiteX3" fmla="*/ 77415 w 143833"/>
                  <a:gd name="connsiteY3" fmla="*/ 0 h 142684"/>
                  <a:gd name="connsiteX4" fmla="*/ 128564 w 143833"/>
                  <a:gd name="connsiteY4" fmla="*/ 20003 h 142684"/>
                  <a:gd name="connsiteX5" fmla="*/ 143519 w 143833"/>
                  <a:gd name="connsiteY5" fmla="*/ 68961 h 142684"/>
                  <a:gd name="connsiteX6" fmla="*/ 127802 w 143833"/>
                  <a:gd name="connsiteY6" fmla="*/ 101727 h 142684"/>
                  <a:gd name="connsiteX7" fmla="*/ 107324 w 143833"/>
                  <a:gd name="connsiteY7" fmla="*/ 107537 h 142684"/>
                  <a:gd name="connsiteX8" fmla="*/ 87607 w 143833"/>
                  <a:gd name="connsiteY8" fmla="*/ 76676 h 142684"/>
                  <a:gd name="connsiteX9" fmla="*/ 90750 w 143833"/>
                  <a:gd name="connsiteY9" fmla="*/ 41529 h 142684"/>
                  <a:gd name="connsiteX10" fmla="*/ 98465 w 143833"/>
                  <a:gd name="connsiteY10" fmla="*/ 35052 h 142684"/>
                  <a:gd name="connsiteX11" fmla="*/ 104942 w 143833"/>
                  <a:gd name="connsiteY11" fmla="*/ 42767 h 142684"/>
                  <a:gd name="connsiteX12" fmla="*/ 101799 w 143833"/>
                  <a:gd name="connsiteY12" fmla="*/ 77915 h 142684"/>
                  <a:gd name="connsiteX13" fmla="*/ 109705 w 143833"/>
                  <a:gd name="connsiteY13" fmla="*/ 93440 h 142684"/>
                  <a:gd name="connsiteX14" fmla="*/ 118944 w 143833"/>
                  <a:gd name="connsiteY14" fmla="*/ 90297 h 142684"/>
                  <a:gd name="connsiteX15" fmla="*/ 129136 w 143833"/>
                  <a:gd name="connsiteY15" fmla="*/ 67628 h 142684"/>
                  <a:gd name="connsiteX16" fmla="*/ 117896 w 143833"/>
                  <a:gd name="connsiteY16" fmla="*/ 29528 h 142684"/>
                  <a:gd name="connsiteX17" fmla="*/ 77320 w 143833"/>
                  <a:gd name="connsiteY17" fmla="*/ 14192 h 142684"/>
                  <a:gd name="connsiteX18" fmla="*/ 14360 w 143833"/>
                  <a:gd name="connsiteY18" fmla="*/ 71914 h 142684"/>
                  <a:gd name="connsiteX19" fmla="*/ 27409 w 143833"/>
                  <a:gd name="connsiteY19" fmla="*/ 111919 h 142684"/>
                  <a:gd name="connsiteX20" fmla="*/ 65985 w 143833"/>
                  <a:gd name="connsiteY20" fmla="*/ 128397 h 142684"/>
                  <a:gd name="connsiteX21" fmla="*/ 92274 w 143833"/>
                  <a:gd name="connsiteY21" fmla="*/ 123635 h 142684"/>
                  <a:gd name="connsiteX22" fmla="*/ 101609 w 143833"/>
                  <a:gd name="connsiteY22" fmla="*/ 127444 h 142684"/>
                  <a:gd name="connsiteX23" fmla="*/ 97799 w 143833"/>
                  <a:gd name="connsiteY23" fmla="*/ 136779 h 142684"/>
                  <a:gd name="connsiteX24" fmla="*/ 66080 w 143833"/>
                  <a:gd name="connsiteY24" fmla="*/ 142685 h 1426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43833" h="142684">
                    <a:moveTo>
                      <a:pt x="66080" y="142685"/>
                    </a:moveTo>
                    <a:cubicBezTo>
                      <a:pt x="46840" y="142685"/>
                      <a:pt x="29409" y="135160"/>
                      <a:pt x="17027" y="121634"/>
                    </a:cubicBezTo>
                    <a:cubicBezTo>
                      <a:pt x="4549" y="108014"/>
                      <a:pt x="-1357" y="89916"/>
                      <a:pt x="263" y="70771"/>
                    </a:cubicBezTo>
                    <a:cubicBezTo>
                      <a:pt x="3692" y="31814"/>
                      <a:pt x="38267" y="0"/>
                      <a:pt x="77415" y="0"/>
                    </a:cubicBezTo>
                    <a:cubicBezTo>
                      <a:pt x="98942" y="0"/>
                      <a:pt x="116563" y="6953"/>
                      <a:pt x="128564" y="20003"/>
                    </a:cubicBezTo>
                    <a:cubicBezTo>
                      <a:pt x="139899" y="32385"/>
                      <a:pt x="145233" y="49816"/>
                      <a:pt x="143519" y="68961"/>
                    </a:cubicBezTo>
                    <a:cubicBezTo>
                      <a:pt x="141899" y="87249"/>
                      <a:pt x="134089" y="96869"/>
                      <a:pt x="127802" y="101727"/>
                    </a:cubicBezTo>
                    <a:cubicBezTo>
                      <a:pt x="121516" y="106490"/>
                      <a:pt x="113896" y="108680"/>
                      <a:pt x="107324" y="107537"/>
                    </a:cubicBezTo>
                    <a:cubicBezTo>
                      <a:pt x="97132" y="105728"/>
                      <a:pt x="85892" y="96584"/>
                      <a:pt x="87607" y="76676"/>
                    </a:cubicBezTo>
                    <a:lnTo>
                      <a:pt x="90750" y="41529"/>
                    </a:lnTo>
                    <a:cubicBezTo>
                      <a:pt x="91131" y="37624"/>
                      <a:pt x="94655" y="34766"/>
                      <a:pt x="98465" y="35052"/>
                    </a:cubicBezTo>
                    <a:cubicBezTo>
                      <a:pt x="102371" y="35433"/>
                      <a:pt x="105323" y="38862"/>
                      <a:pt x="104942" y="42767"/>
                    </a:cubicBezTo>
                    <a:lnTo>
                      <a:pt x="101799" y="77915"/>
                    </a:lnTo>
                    <a:cubicBezTo>
                      <a:pt x="101037" y="86773"/>
                      <a:pt x="103895" y="92392"/>
                      <a:pt x="109705" y="93440"/>
                    </a:cubicBezTo>
                    <a:cubicBezTo>
                      <a:pt x="111800" y="93821"/>
                      <a:pt x="115515" y="92964"/>
                      <a:pt x="118944" y="90297"/>
                    </a:cubicBezTo>
                    <a:cubicBezTo>
                      <a:pt x="122945" y="87249"/>
                      <a:pt x="127993" y="80772"/>
                      <a:pt x="129136" y="67628"/>
                    </a:cubicBezTo>
                    <a:cubicBezTo>
                      <a:pt x="130469" y="52292"/>
                      <a:pt x="126564" y="39148"/>
                      <a:pt x="117896" y="29528"/>
                    </a:cubicBezTo>
                    <a:cubicBezTo>
                      <a:pt x="108657" y="19431"/>
                      <a:pt x="94655" y="14192"/>
                      <a:pt x="77320" y="14192"/>
                    </a:cubicBezTo>
                    <a:cubicBezTo>
                      <a:pt x="45411" y="14192"/>
                      <a:pt x="17122" y="40100"/>
                      <a:pt x="14360" y="71914"/>
                    </a:cubicBezTo>
                    <a:cubicBezTo>
                      <a:pt x="13026" y="87059"/>
                      <a:pt x="17693" y="101251"/>
                      <a:pt x="27409" y="111919"/>
                    </a:cubicBezTo>
                    <a:cubicBezTo>
                      <a:pt x="37124" y="122491"/>
                      <a:pt x="50840" y="128397"/>
                      <a:pt x="65985" y="128397"/>
                    </a:cubicBezTo>
                    <a:cubicBezTo>
                      <a:pt x="76558" y="128397"/>
                      <a:pt x="82463" y="127730"/>
                      <a:pt x="92274" y="123635"/>
                    </a:cubicBezTo>
                    <a:cubicBezTo>
                      <a:pt x="95894" y="122111"/>
                      <a:pt x="100085" y="123825"/>
                      <a:pt x="101609" y="127444"/>
                    </a:cubicBezTo>
                    <a:cubicBezTo>
                      <a:pt x="103133" y="131064"/>
                      <a:pt x="101418" y="135255"/>
                      <a:pt x="97799" y="136779"/>
                    </a:cubicBezTo>
                    <a:cubicBezTo>
                      <a:pt x="85988" y="141827"/>
                      <a:pt x="78177" y="142685"/>
                      <a:pt x="66080" y="14268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584" name="Grafik 238">
            <a:extLst>
              <a:ext uri="{FF2B5EF4-FFF2-40B4-BE49-F238E27FC236}">
                <a16:creationId xmlns:a16="http://schemas.microsoft.com/office/drawing/2014/main" id="{07940AA6-20BE-C7AF-0478-1F2559BB4B76}"/>
              </a:ext>
            </a:extLst>
          </p:cNvPr>
          <p:cNvGrpSpPr/>
          <p:nvPr/>
        </p:nvGrpSpPr>
        <p:grpSpPr bwMode="gray">
          <a:xfrm>
            <a:off x="9942167" y="5086173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585" name="Grafik 238">
              <a:extLst>
                <a:ext uri="{FF2B5EF4-FFF2-40B4-BE49-F238E27FC236}">
                  <a16:creationId xmlns:a16="http://schemas.microsoft.com/office/drawing/2014/main" id="{585B32FB-6027-DCCF-F8EB-4A5407874029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6" name="Grafik 238">
              <a:extLst>
                <a:ext uri="{FF2B5EF4-FFF2-40B4-BE49-F238E27FC236}">
                  <a16:creationId xmlns:a16="http://schemas.microsoft.com/office/drawing/2014/main" id="{3CB51F9B-B8C5-B65D-0451-8B1DF7159C27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7" name="Grafik 238">
              <a:extLst>
                <a:ext uri="{FF2B5EF4-FFF2-40B4-BE49-F238E27FC236}">
                  <a16:creationId xmlns:a16="http://schemas.microsoft.com/office/drawing/2014/main" id="{5BBA2861-5CFB-47AC-B7F6-34EDAFDF36FD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8" name="Grafik 238">
              <a:extLst>
                <a:ext uri="{FF2B5EF4-FFF2-40B4-BE49-F238E27FC236}">
                  <a16:creationId xmlns:a16="http://schemas.microsoft.com/office/drawing/2014/main" id="{BC581B1C-9699-2CB3-1670-DE04421232E9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9" name="Grafik 238">
              <a:extLst>
                <a:ext uri="{FF2B5EF4-FFF2-40B4-BE49-F238E27FC236}">
                  <a16:creationId xmlns:a16="http://schemas.microsoft.com/office/drawing/2014/main" id="{33D889C4-3B62-04C5-AD27-7FB0E904BB34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590" name="Grafik 238">
              <a:extLst>
                <a:ext uri="{FF2B5EF4-FFF2-40B4-BE49-F238E27FC236}">
                  <a16:creationId xmlns:a16="http://schemas.microsoft.com/office/drawing/2014/main" id="{FCFD72BE-A114-6973-DE7C-179AD32176AB}"/>
                </a:ext>
              </a:extLst>
            </p:cNvPr>
            <p:cNvGrpSpPr/>
            <p:nvPr/>
          </p:nvGrpSpPr>
          <p:grpSpPr bwMode="gray">
            <a:xfrm>
              <a:off x="5973222" y="3516748"/>
              <a:ext cx="199167" cy="95321"/>
              <a:chOff x="5973222" y="3516748"/>
              <a:chExt cx="199167" cy="95321"/>
            </a:xfrm>
            <a:grpFill/>
          </p:grpSpPr>
          <p:sp>
            <p:nvSpPr>
              <p:cNvPr id="597" name="Grafik 238">
                <a:extLst>
                  <a:ext uri="{FF2B5EF4-FFF2-40B4-BE49-F238E27FC236}">
                    <a16:creationId xmlns:a16="http://schemas.microsoft.com/office/drawing/2014/main" id="{3B046852-EED5-50ED-8C2F-6358FF718096}"/>
                  </a:ext>
                </a:extLst>
              </p:cNvPr>
              <p:cNvSpPr/>
              <p:nvPr/>
            </p:nvSpPr>
            <p:spPr bwMode="gray">
              <a:xfrm>
                <a:off x="6112215" y="3516748"/>
                <a:ext cx="60174" cy="37218"/>
              </a:xfrm>
              <a:custGeom>
                <a:avLst/>
                <a:gdLst>
                  <a:gd name="connsiteX0" fmla="*/ 53030 w 60174"/>
                  <a:gd name="connsiteY0" fmla="*/ 37219 h 37218"/>
                  <a:gd name="connsiteX1" fmla="*/ 47982 w 60174"/>
                  <a:gd name="connsiteY1" fmla="*/ 35123 h 37218"/>
                  <a:gd name="connsiteX2" fmla="*/ 30075 w 60174"/>
                  <a:gd name="connsiteY2" fmla="*/ 17216 h 37218"/>
                  <a:gd name="connsiteX3" fmla="*/ 12168 w 60174"/>
                  <a:gd name="connsiteY3" fmla="*/ 35123 h 37218"/>
                  <a:gd name="connsiteX4" fmla="*/ 2072 w 60174"/>
                  <a:gd name="connsiteY4" fmla="*/ 35123 h 37218"/>
                  <a:gd name="connsiteX5" fmla="*/ 2072 w 60174"/>
                  <a:gd name="connsiteY5" fmla="*/ 25027 h 37218"/>
                  <a:gd name="connsiteX6" fmla="*/ 25027 w 60174"/>
                  <a:gd name="connsiteY6" fmla="*/ 2072 h 37218"/>
                  <a:gd name="connsiteX7" fmla="*/ 35123 w 60174"/>
                  <a:gd name="connsiteY7" fmla="*/ 2072 h 37218"/>
                  <a:gd name="connsiteX8" fmla="*/ 58079 w 60174"/>
                  <a:gd name="connsiteY8" fmla="*/ 25027 h 37218"/>
                  <a:gd name="connsiteX9" fmla="*/ 60174 w 60174"/>
                  <a:gd name="connsiteY9" fmla="*/ 30075 h 37218"/>
                  <a:gd name="connsiteX10" fmla="*/ 58079 w 60174"/>
                  <a:gd name="connsiteY10" fmla="*/ 35123 h 37218"/>
                  <a:gd name="connsiteX11" fmla="*/ 53030 w 60174"/>
                  <a:gd name="connsiteY11" fmla="*/ 37219 h 37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0174" h="37218">
                    <a:moveTo>
                      <a:pt x="53030" y="37219"/>
                    </a:moveTo>
                    <a:cubicBezTo>
                      <a:pt x="51221" y="37219"/>
                      <a:pt x="49411" y="36552"/>
                      <a:pt x="47982" y="35123"/>
                    </a:cubicBezTo>
                    <a:lnTo>
                      <a:pt x="30075" y="17216"/>
                    </a:lnTo>
                    <a:lnTo>
                      <a:pt x="12168" y="35123"/>
                    </a:lnTo>
                    <a:cubicBezTo>
                      <a:pt x="9406" y="37886"/>
                      <a:pt x="4834" y="37886"/>
                      <a:pt x="2072" y="35123"/>
                    </a:cubicBezTo>
                    <a:cubicBezTo>
                      <a:pt x="-691" y="32361"/>
                      <a:pt x="-691" y="27789"/>
                      <a:pt x="2072" y="25027"/>
                    </a:cubicBezTo>
                    <a:lnTo>
                      <a:pt x="25027" y="2072"/>
                    </a:lnTo>
                    <a:cubicBezTo>
                      <a:pt x="27789" y="-691"/>
                      <a:pt x="32361" y="-691"/>
                      <a:pt x="35123" y="2072"/>
                    </a:cubicBezTo>
                    <a:lnTo>
                      <a:pt x="58079" y="25027"/>
                    </a:lnTo>
                    <a:cubicBezTo>
                      <a:pt x="59507" y="26456"/>
                      <a:pt x="60174" y="28265"/>
                      <a:pt x="60174" y="30075"/>
                    </a:cubicBezTo>
                    <a:cubicBezTo>
                      <a:pt x="60174" y="31885"/>
                      <a:pt x="59507" y="33695"/>
                      <a:pt x="58079" y="35123"/>
                    </a:cubicBezTo>
                    <a:cubicBezTo>
                      <a:pt x="56650" y="36552"/>
                      <a:pt x="54840" y="37219"/>
                      <a:pt x="53030" y="372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8" name="Grafik 238">
                <a:extLst>
                  <a:ext uri="{FF2B5EF4-FFF2-40B4-BE49-F238E27FC236}">
                    <a16:creationId xmlns:a16="http://schemas.microsoft.com/office/drawing/2014/main" id="{714E826A-1F07-26A8-05B0-B2DDFA7236BF}"/>
                  </a:ext>
                </a:extLst>
              </p:cNvPr>
              <p:cNvSpPr/>
              <p:nvPr/>
            </p:nvSpPr>
            <p:spPr bwMode="gray">
              <a:xfrm>
                <a:off x="5973222" y="3516820"/>
                <a:ext cx="176212" cy="95250"/>
              </a:xfrm>
              <a:custGeom>
                <a:avLst/>
                <a:gdLst>
                  <a:gd name="connsiteX0" fmla="*/ 88106 w 176212"/>
                  <a:gd name="connsiteY0" fmla="*/ 95250 h 95250"/>
                  <a:gd name="connsiteX1" fmla="*/ 0 w 176212"/>
                  <a:gd name="connsiteY1" fmla="*/ 7144 h 95250"/>
                  <a:gd name="connsiteX2" fmla="*/ 7144 w 176212"/>
                  <a:gd name="connsiteY2" fmla="*/ 0 h 95250"/>
                  <a:gd name="connsiteX3" fmla="*/ 14288 w 176212"/>
                  <a:gd name="connsiteY3" fmla="*/ 7144 h 95250"/>
                  <a:gd name="connsiteX4" fmla="*/ 88106 w 176212"/>
                  <a:gd name="connsiteY4" fmla="*/ 80963 h 95250"/>
                  <a:gd name="connsiteX5" fmla="*/ 161925 w 176212"/>
                  <a:gd name="connsiteY5" fmla="*/ 7144 h 95250"/>
                  <a:gd name="connsiteX6" fmla="*/ 169069 w 176212"/>
                  <a:gd name="connsiteY6" fmla="*/ 0 h 95250"/>
                  <a:gd name="connsiteX7" fmla="*/ 176213 w 176212"/>
                  <a:gd name="connsiteY7" fmla="*/ 7144 h 95250"/>
                  <a:gd name="connsiteX8" fmla="*/ 88106 w 176212"/>
                  <a:gd name="connsiteY8" fmla="*/ 95250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6212" h="95250">
                    <a:moveTo>
                      <a:pt x="88106" y="95250"/>
                    </a:moveTo>
                    <a:cubicBezTo>
                      <a:pt x="39529" y="95250"/>
                      <a:pt x="0" y="55721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cubicBezTo>
                      <a:pt x="14288" y="47911"/>
                      <a:pt x="47435" y="80963"/>
                      <a:pt x="88106" y="80963"/>
                    </a:cubicBezTo>
                    <a:cubicBezTo>
                      <a:pt x="128778" y="80963"/>
                      <a:pt x="161925" y="47816"/>
                      <a:pt x="161925" y="7144"/>
                    </a:cubicBezTo>
                    <a:cubicBezTo>
                      <a:pt x="161925" y="3239"/>
                      <a:pt x="165164" y="0"/>
                      <a:pt x="169069" y="0"/>
                    </a:cubicBezTo>
                    <a:cubicBezTo>
                      <a:pt x="172974" y="0"/>
                      <a:pt x="176213" y="3239"/>
                      <a:pt x="176213" y="7144"/>
                    </a:cubicBezTo>
                    <a:cubicBezTo>
                      <a:pt x="176213" y="55721"/>
                      <a:pt x="136684" y="95250"/>
                      <a:pt x="88106" y="952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91" name="Grafik 238">
              <a:extLst>
                <a:ext uri="{FF2B5EF4-FFF2-40B4-BE49-F238E27FC236}">
                  <a16:creationId xmlns:a16="http://schemas.microsoft.com/office/drawing/2014/main" id="{69A5F121-2C70-D88E-AE96-73CE6AA16C0C}"/>
                </a:ext>
              </a:extLst>
            </p:cNvPr>
            <p:cNvGrpSpPr/>
            <p:nvPr/>
          </p:nvGrpSpPr>
          <p:grpSpPr bwMode="gray">
            <a:xfrm>
              <a:off x="6112215" y="3306150"/>
              <a:ext cx="60150" cy="176283"/>
              <a:chOff x="6112215" y="3306150"/>
              <a:chExt cx="60150" cy="176283"/>
            </a:xfrm>
            <a:grpFill/>
          </p:grpSpPr>
          <p:sp>
            <p:nvSpPr>
              <p:cNvPr id="595" name="Grafik 238">
                <a:extLst>
                  <a:ext uri="{FF2B5EF4-FFF2-40B4-BE49-F238E27FC236}">
                    <a16:creationId xmlns:a16="http://schemas.microsoft.com/office/drawing/2014/main" id="{50A9FCF8-890E-BC48-048A-32D699551618}"/>
                  </a:ext>
                </a:extLst>
              </p:cNvPr>
              <p:cNvSpPr/>
              <p:nvPr/>
            </p:nvSpPr>
            <p:spPr bwMode="gray">
              <a:xfrm>
                <a:off x="6112215" y="3306150"/>
                <a:ext cx="60150" cy="37218"/>
              </a:xfrm>
              <a:custGeom>
                <a:avLst/>
                <a:gdLst>
                  <a:gd name="connsiteX0" fmla="*/ 53030 w 60150"/>
                  <a:gd name="connsiteY0" fmla="*/ 37219 h 37218"/>
                  <a:gd name="connsiteX1" fmla="*/ 47982 w 60150"/>
                  <a:gd name="connsiteY1" fmla="*/ 35123 h 37218"/>
                  <a:gd name="connsiteX2" fmla="*/ 30075 w 60150"/>
                  <a:gd name="connsiteY2" fmla="*/ 17216 h 37218"/>
                  <a:gd name="connsiteX3" fmla="*/ 12168 w 60150"/>
                  <a:gd name="connsiteY3" fmla="*/ 35123 h 37218"/>
                  <a:gd name="connsiteX4" fmla="*/ 2072 w 60150"/>
                  <a:gd name="connsiteY4" fmla="*/ 35123 h 37218"/>
                  <a:gd name="connsiteX5" fmla="*/ 2072 w 60150"/>
                  <a:gd name="connsiteY5" fmla="*/ 25027 h 37218"/>
                  <a:gd name="connsiteX6" fmla="*/ 25027 w 60150"/>
                  <a:gd name="connsiteY6" fmla="*/ 2072 h 37218"/>
                  <a:gd name="connsiteX7" fmla="*/ 35123 w 60150"/>
                  <a:gd name="connsiteY7" fmla="*/ 2072 h 37218"/>
                  <a:gd name="connsiteX8" fmla="*/ 58079 w 60150"/>
                  <a:gd name="connsiteY8" fmla="*/ 25027 h 37218"/>
                  <a:gd name="connsiteX9" fmla="*/ 58079 w 60150"/>
                  <a:gd name="connsiteY9" fmla="*/ 35123 h 37218"/>
                  <a:gd name="connsiteX10" fmla="*/ 53030 w 60150"/>
                  <a:gd name="connsiteY10" fmla="*/ 37219 h 37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150" h="37218">
                    <a:moveTo>
                      <a:pt x="53030" y="37219"/>
                    </a:moveTo>
                    <a:cubicBezTo>
                      <a:pt x="51221" y="37219"/>
                      <a:pt x="49411" y="36552"/>
                      <a:pt x="47982" y="35123"/>
                    </a:cubicBezTo>
                    <a:lnTo>
                      <a:pt x="30075" y="17216"/>
                    </a:lnTo>
                    <a:lnTo>
                      <a:pt x="12168" y="35123"/>
                    </a:lnTo>
                    <a:cubicBezTo>
                      <a:pt x="9406" y="37886"/>
                      <a:pt x="4834" y="37886"/>
                      <a:pt x="2072" y="35123"/>
                    </a:cubicBezTo>
                    <a:cubicBezTo>
                      <a:pt x="-691" y="32361"/>
                      <a:pt x="-691" y="27789"/>
                      <a:pt x="2072" y="25027"/>
                    </a:cubicBezTo>
                    <a:lnTo>
                      <a:pt x="25027" y="2072"/>
                    </a:lnTo>
                    <a:cubicBezTo>
                      <a:pt x="27789" y="-691"/>
                      <a:pt x="32361" y="-691"/>
                      <a:pt x="35123" y="2072"/>
                    </a:cubicBezTo>
                    <a:lnTo>
                      <a:pt x="58079" y="25027"/>
                    </a:lnTo>
                    <a:cubicBezTo>
                      <a:pt x="60841" y="27789"/>
                      <a:pt x="60841" y="32361"/>
                      <a:pt x="58079" y="35123"/>
                    </a:cubicBezTo>
                    <a:cubicBezTo>
                      <a:pt x="56650" y="36552"/>
                      <a:pt x="54840" y="37219"/>
                      <a:pt x="53030" y="372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6" name="Grafik 238">
                <a:extLst>
                  <a:ext uri="{FF2B5EF4-FFF2-40B4-BE49-F238E27FC236}">
                    <a16:creationId xmlns:a16="http://schemas.microsoft.com/office/drawing/2014/main" id="{BBEBE3AE-A028-A0D4-FB79-4F2A17E60176}"/>
                  </a:ext>
                </a:extLst>
              </p:cNvPr>
              <p:cNvSpPr/>
              <p:nvPr/>
            </p:nvSpPr>
            <p:spPr bwMode="gray">
              <a:xfrm>
                <a:off x="6135147" y="3306222"/>
                <a:ext cx="14287" cy="176212"/>
              </a:xfrm>
              <a:custGeom>
                <a:avLst/>
                <a:gdLst>
                  <a:gd name="connsiteX0" fmla="*/ 7144 w 14287"/>
                  <a:gd name="connsiteY0" fmla="*/ 176213 h 176212"/>
                  <a:gd name="connsiteX1" fmla="*/ 0 w 14287"/>
                  <a:gd name="connsiteY1" fmla="*/ 169069 h 176212"/>
                  <a:gd name="connsiteX2" fmla="*/ 0 w 14287"/>
                  <a:gd name="connsiteY2" fmla="*/ 7144 h 176212"/>
                  <a:gd name="connsiteX3" fmla="*/ 7144 w 14287"/>
                  <a:gd name="connsiteY3" fmla="*/ 0 h 176212"/>
                  <a:gd name="connsiteX4" fmla="*/ 14288 w 14287"/>
                  <a:gd name="connsiteY4" fmla="*/ 7144 h 176212"/>
                  <a:gd name="connsiteX5" fmla="*/ 14288 w 14287"/>
                  <a:gd name="connsiteY5" fmla="*/ 169164 h 176212"/>
                  <a:gd name="connsiteX6" fmla="*/ 7144 w 14287"/>
                  <a:gd name="connsiteY6" fmla="*/ 176213 h 1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76212">
                    <a:moveTo>
                      <a:pt x="7144" y="176213"/>
                    </a:moveTo>
                    <a:cubicBezTo>
                      <a:pt x="3239" y="176213"/>
                      <a:pt x="0" y="172974"/>
                      <a:pt x="0" y="16906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69164"/>
                    </a:lnTo>
                    <a:cubicBezTo>
                      <a:pt x="14288" y="173069"/>
                      <a:pt x="11144" y="176213"/>
                      <a:pt x="7144" y="17621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92" name="Grafik 238">
              <a:extLst>
                <a:ext uri="{FF2B5EF4-FFF2-40B4-BE49-F238E27FC236}">
                  <a16:creationId xmlns:a16="http://schemas.microsoft.com/office/drawing/2014/main" id="{E94C643F-AA2A-FEBB-6CF4-04E8D7D00039}"/>
                </a:ext>
              </a:extLst>
            </p:cNvPr>
            <p:cNvGrpSpPr/>
            <p:nvPr/>
          </p:nvGrpSpPr>
          <p:grpSpPr bwMode="gray">
            <a:xfrm>
              <a:off x="5950290" y="3306222"/>
              <a:ext cx="60150" cy="176212"/>
              <a:chOff x="5950290" y="3306222"/>
              <a:chExt cx="60150" cy="176212"/>
            </a:xfrm>
            <a:grpFill/>
          </p:grpSpPr>
          <p:sp>
            <p:nvSpPr>
              <p:cNvPr id="593" name="Grafik 238">
                <a:extLst>
                  <a:ext uri="{FF2B5EF4-FFF2-40B4-BE49-F238E27FC236}">
                    <a16:creationId xmlns:a16="http://schemas.microsoft.com/office/drawing/2014/main" id="{921BE45F-D737-E33E-1CD8-D6C0F5C0AD0D}"/>
                  </a:ext>
                </a:extLst>
              </p:cNvPr>
              <p:cNvSpPr/>
              <p:nvPr/>
            </p:nvSpPr>
            <p:spPr bwMode="gray">
              <a:xfrm>
                <a:off x="5950290" y="3445215"/>
                <a:ext cx="60150" cy="37218"/>
              </a:xfrm>
              <a:custGeom>
                <a:avLst/>
                <a:gdLst>
                  <a:gd name="connsiteX0" fmla="*/ 30075 w 60150"/>
                  <a:gd name="connsiteY0" fmla="*/ 37219 h 37218"/>
                  <a:gd name="connsiteX1" fmla="*/ 25027 w 60150"/>
                  <a:gd name="connsiteY1" fmla="*/ 35123 h 37218"/>
                  <a:gd name="connsiteX2" fmla="*/ 2072 w 60150"/>
                  <a:gd name="connsiteY2" fmla="*/ 12168 h 37218"/>
                  <a:gd name="connsiteX3" fmla="*/ 2072 w 60150"/>
                  <a:gd name="connsiteY3" fmla="*/ 2072 h 37218"/>
                  <a:gd name="connsiteX4" fmla="*/ 12168 w 60150"/>
                  <a:gd name="connsiteY4" fmla="*/ 2072 h 37218"/>
                  <a:gd name="connsiteX5" fmla="*/ 30075 w 60150"/>
                  <a:gd name="connsiteY5" fmla="*/ 19979 h 37218"/>
                  <a:gd name="connsiteX6" fmla="*/ 47982 w 60150"/>
                  <a:gd name="connsiteY6" fmla="*/ 2072 h 37218"/>
                  <a:gd name="connsiteX7" fmla="*/ 58079 w 60150"/>
                  <a:gd name="connsiteY7" fmla="*/ 2072 h 37218"/>
                  <a:gd name="connsiteX8" fmla="*/ 58079 w 60150"/>
                  <a:gd name="connsiteY8" fmla="*/ 12168 h 37218"/>
                  <a:gd name="connsiteX9" fmla="*/ 35123 w 60150"/>
                  <a:gd name="connsiteY9" fmla="*/ 35123 h 37218"/>
                  <a:gd name="connsiteX10" fmla="*/ 30075 w 60150"/>
                  <a:gd name="connsiteY10" fmla="*/ 37219 h 37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150" h="37218">
                    <a:moveTo>
                      <a:pt x="30075" y="37219"/>
                    </a:moveTo>
                    <a:cubicBezTo>
                      <a:pt x="28265" y="37219"/>
                      <a:pt x="26456" y="36552"/>
                      <a:pt x="25027" y="351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0075" y="19979"/>
                    </a:lnTo>
                    <a:lnTo>
                      <a:pt x="47982" y="2072"/>
                    </a:lnTo>
                    <a:cubicBezTo>
                      <a:pt x="50744" y="-691"/>
                      <a:pt x="55316" y="-691"/>
                      <a:pt x="58079" y="2072"/>
                    </a:cubicBezTo>
                    <a:cubicBezTo>
                      <a:pt x="60841" y="4834"/>
                      <a:pt x="60841" y="9406"/>
                      <a:pt x="58079" y="12168"/>
                    </a:cubicBezTo>
                    <a:lnTo>
                      <a:pt x="35123" y="35123"/>
                    </a:lnTo>
                    <a:cubicBezTo>
                      <a:pt x="33695" y="36552"/>
                      <a:pt x="31885" y="37219"/>
                      <a:pt x="30075" y="372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4" name="Grafik 238">
                <a:extLst>
                  <a:ext uri="{FF2B5EF4-FFF2-40B4-BE49-F238E27FC236}">
                    <a16:creationId xmlns:a16="http://schemas.microsoft.com/office/drawing/2014/main" id="{75361895-3F2E-0C0D-FBCD-3140A26F6FB3}"/>
                  </a:ext>
                </a:extLst>
              </p:cNvPr>
              <p:cNvSpPr/>
              <p:nvPr/>
            </p:nvSpPr>
            <p:spPr bwMode="gray">
              <a:xfrm>
                <a:off x="5973222" y="3306222"/>
                <a:ext cx="14287" cy="176212"/>
              </a:xfrm>
              <a:custGeom>
                <a:avLst/>
                <a:gdLst>
                  <a:gd name="connsiteX0" fmla="*/ 7144 w 14287"/>
                  <a:gd name="connsiteY0" fmla="*/ 176213 h 176212"/>
                  <a:gd name="connsiteX1" fmla="*/ 0 w 14287"/>
                  <a:gd name="connsiteY1" fmla="*/ 169069 h 176212"/>
                  <a:gd name="connsiteX2" fmla="*/ 0 w 14287"/>
                  <a:gd name="connsiteY2" fmla="*/ 7144 h 176212"/>
                  <a:gd name="connsiteX3" fmla="*/ 7144 w 14287"/>
                  <a:gd name="connsiteY3" fmla="*/ 0 h 176212"/>
                  <a:gd name="connsiteX4" fmla="*/ 14288 w 14287"/>
                  <a:gd name="connsiteY4" fmla="*/ 7144 h 176212"/>
                  <a:gd name="connsiteX5" fmla="*/ 14288 w 14287"/>
                  <a:gd name="connsiteY5" fmla="*/ 169164 h 176212"/>
                  <a:gd name="connsiteX6" fmla="*/ 7144 w 14287"/>
                  <a:gd name="connsiteY6" fmla="*/ 176213 h 1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76212">
                    <a:moveTo>
                      <a:pt x="7144" y="176213"/>
                    </a:moveTo>
                    <a:cubicBezTo>
                      <a:pt x="3239" y="176213"/>
                      <a:pt x="0" y="172974"/>
                      <a:pt x="0" y="16906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69164"/>
                    </a:lnTo>
                    <a:cubicBezTo>
                      <a:pt x="14288" y="173069"/>
                      <a:pt x="11049" y="176213"/>
                      <a:pt x="7144" y="17621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599" name="Grafik 240">
            <a:extLst>
              <a:ext uri="{FF2B5EF4-FFF2-40B4-BE49-F238E27FC236}">
                <a16:creationId xmlns:a16="http://schemas.microsoft.com/office/drawing/2014/main" id="{06DE33AC-3C97-E618-EBEE-6D6F855C6F19}"/>
              </a:ext>
            </a:extLst>
          </p:cNvPr>
          <p:cNvGrpSpPr/>
          <p:nvPr/>
        </p:nvGrpSpPr>
        <p:grpSpPr bwMode="gray">
          <a:xfrm>
            <a:off x="9942167" y="5601488"/>
            <a:ext cx="374400" cy="374400"/>
            <a:chOff x="5843587" y="3176587"/>
            <a:chExt cx="500348" cy="500253"/>
          </a:xfrm>
          <a:solidFill>
            <a:schemeClr val="tx1"/>
          </a:solidFill>
        </p:grpSpPr>
        <p:grpSp>
          <p:nvGrpSpPr>
            <p:cNvPr id="600" name="Grafik 240">
              <a:extLst>
                <a:ext uri="{FF2B5EF4-FFF2-40B4-BE49-F238E27FC236}">
                  <a16:creationId xmlns:a16="http://schemas.microsoft.com/office/drawing/2014/main" id="{36C538F4-8931-92B2-54CF-5F45A6222B23}"/>
                </a:ext>
              </a:extLst>
            </p:cNvPr>
            <p:cNvGrpSpPr/>
            <p:nvPr/>
          </p:nvGrpSpPr>
          <p:grpSpPr bwMode="gray">
            <a:xfrm>
              <a:off x="5937598" y="3244690"/>
              <a:ext cx="312324" cy="121062"/>
              <a:chOff x="5937598" y="3244690"/>
              <a:chExt cx="312324" cy="121062"/>
            </a:xfrm>
            <a:grpFill/>
          </p:grpSpPr>
          <p:sp>
            <p:nvSpPr>
              <p:cNvPr id="608" name="Grafik 240">
                <a:extLst>
                  <a:ext uri="{FF2B5EF4-FFF2-40B4-BE49-F238E27FC236}">
                    <a16:creationId xmlns:a16="http://schemas.microsoft.com/office/drawing/2014/main" id="{F46742B1-FB01-81C2-3B75-B2BCB026FA67}"/>
                  </a:ext>
                </a:extLst>
              </p:cNvPr>
              <p:cNvSpPr/>
              <p:nvPr/>
            </p:nvSpPr>
            <p:spPr bwMode="gray">
              <a:xfrm>
                <a:off x="5985642" y="3247300"/>
                <a:ext cx="222618" cy="118453"/>
              </a:xfrm>
              <a:custGeom>
                <a:avLst/>
                <a:gdLst>
                  <a:gd name="connsiteX0" fmla="*/ 215418 w 222618"/>
                  <a:gd name="connsiteY0" fmla="*/ 118453 h 118453"/>
                  <a:gd name="connsiteX1" fmla="*/ 212275 w 222618"/>
                  <a:gd name="connsiteY1" fmla="*/ 117691 h 118453"/>
                  <a:gd name="connsiteX2" fmla="*/ 3963 w 222618"/>
                  <a:gd name="connsiteY2" fmla="*/ 13583 h 118453"/>
                  <a:gd name="connsiteX3" fmla="*/ 724 w 222618"/>
                  <a:gd name="connsiteY3" fmla="*/ 3963 h 118453"/>
                  <a:gd name="connsiteX4" fmla="*/ 10344 w 222618"/>
                  <a:gd name="connsiteY4" fmla="*/ 724 h 118453"/>
                  <a:gd name="connsiteX5" fmla="*/ 218656 w 222618"/>
                  <a:gd name="connsiteY5" fmla="*/ 104832 h 118453"/>
                  <a:gd name="connsiteX6" fmla="*/ 221895 w 222618"/>
                  <a:gd name="connsiteY6" fmla="*/ 114453 h 118453"/>
                  <a:gd name="connsiteX7" fmla="*/ 215418 w 222618"/>
                  <a:gd name="connsiteY7" fmla="*/ 118453 h 1184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22618" h="118453">
                    <a:moveTo>
                      <a:pt x="215418" y="118453"/>
                    </a:moveTo>
                    <a:cubicBezTo>
                      <a:pt x="214370" y="118453"/>
                      <a:pt x="213227" y="118167"/>
                      <a:pt x="212275" y="117691"/>
                    </a:cubicBezTo>
                    <a:lnTo>
                      <a:pt x="3963" y="13583"/>
                    </a:lnTo>
                    <a:cubicBezTo>
                      <a:pt x="438" y="11773"/>
                      <a:pt x="-990" y="7487"/>
                      <a:pt x="724" y="3963"/>
                    </a:cubicBezTo>
                    <a:cubicBezTo>
                      <a:pt x="2534" y="438"/>
                      <a:pt x="6820" y="-990"/>
                      <a:pt x="10344" y="724"/>
                    </a:cubicBezTo>
                    <a:lnTo>
                      <a:pt x="218656" y="104832"/>
                    </a:lnTo>
                    <a:cubicBezTo>
                      <a:pt x="222181" y="106642"/>
                      <a:pt x="223609" y="110928"/>
                      <a:pt x="221895" y="114453"/>
                    </a:cubicBezTo>
                    <a:cubicBezTo>
                      <a:pt x="220561" y="117024"/>
                      <a:pt x="218085" y="118453"/>
                      <a:pt x="215418" y="11845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9" name="Grafik 240">
                <a:extLst>
                  <a:ext uri="{FF2B5EF4-FFF2-40B4-BE49-F238E27FC236}">
                    <a16:creationId xmlns:a16="http://schemas.microsoft.com/office/drawing/2014/main" id="{2BD9937C-C996-48CE-ADD3-2991D3F13688}"/>
                  </a:ext>
                </a:extLst>
              </p:cNvPr>
              <p:cNvSpPr/>
              <p:nvPr/>
            </p:nvSpPr>
            <p:spPr bwMode="gray">
              <a:xfrm>
                <a:off x="5985678" y="3247336"/>
                <a:ext cx="222641" cy="118416"/>
              </a:xfrm>
              <a:custGeom>
                <a:avLst/>
                <a:gdLst>
                  <a:gd name="connsiteX0" fmla="*/ 7165 w 222641"/>
                  <a:gd name="connsiteY0" fmla="*/ 118417 h 118416"/>
                  <a:gd name="connsiteX1" fmla="*/ 783 w 222641"/>
                  <a:gd name="connsiteY1" fmla="*/ 114416 h 118416"/>
                  <a:gd name="connsiteX2" fmla="*/ 4022 w 222641"/>
                  <a:gd name="connsiteY2" fmla="*/ 104796 h 118416"/>
                  <a:gd name="connsiteX3" fmla="*/ 212238 w 222641"/>
                  <a:gd name="connsiteY3" fmla="*/ 783 h 118416"/>
                  <a:gd name="connsiteX4" fmla="*/ 221858 w 222641"/>
                  <a:gd name="connsiteY4" fmla="*/ 4022 h 118416"/>
                  <a:gd name="connsiteX5" fmla="*/ 218620 w 222641"/>
                  <a:gd name="connsiteY5" fmla="*/ 13642 h 118416"/>
                  <a:gd name="connsiteX6" fmla="*/ 10308 w 222641"/>
                  <a:gd name="connsiteY6" fmla="*/ 117655 h 118416"/>
                  <a:gd name="connsiteX7" fmla="*/ 7165 w 222641"/>
                  <a:gd name="connsiteY7" fmla="*/ 118417 h 1184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22641" h="118416">
                    <a:moveTo>
                      <a:pt x="7165" y="118417"/>
                    </a:moveTo>
                    <a:cubicBezTo>
                      <a:pt x="4498" y="118417"/>
                      <a:pt x="2021" y="116988"/>
                      <a:pt x="783" y="114416"/>
                    </a:cubicBezTo>
                    <a:cubicBezTo>
                      <a:pt x="-1027" y="110892"/>
                      <a:pt x="402" y="106606"/>
                      <a:pt x="4022" y="104796"/>
                    </a:cubicBezTo>
                    <a:lnTo>
                      <a:pt x="212238" y="783"/>
                    </a:lnTo>
                    <a:cubicBezTo>
                      <a:pt x="215762" y="-1027"/>
                      <a:pt x="220049" y="402"/>
                      <a:pt x="221858" y="4022"/>
                    </a:cubicBezTo>
                    <a:cubicBezTo>
                      <a:pt x="223668" y="7546"/>
                      <a:pt x="222239" y="11832"/>
                      <a:pt x="218620" y="13642"/>
                    </a:cubicBezTo>
                    <a:lnTo>
                      <a:pt x="10308" y="117655"/>
                    </a:lnTo>
                    <a:cubicBezTo>
                      <a:pt x="9260" y="118226"/>
                      <a:pt x="8213" y="118417"/>
                      <a:pt x="7165" y="11841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0" name="Grafik 240">
                <a:extLst>
                  <a:ext uri="{FF2B5EF4-FFF2-40B4-BE49-F238E27FC236}">
                    <a16:creationId xmlns:a16="http://schemas.microsoft.com/office/drawing/2014/main" id="{6F321126-F02E-6CC9-1144-1C91F1BF15BB}"/>
                  </a:ext>
                </a:extLst>
              </p:cNvPr>
              <p:cNvSpPr/>
              <p:nvPr/>
            </p:nvSpPr>
            <p:spPr bwMode="gray">
              <a:xfrm>
                <a:off x="6194011" y="3247357"/>
                <a:ext cx="55911" cy="14287"/>
              </a:xfrm>
              <a:custGeom>
                <a:avLst/>
                <a:gdLst>
                  <a:gd name="connsiteX0" fmla="*/ 48768 w 55911"/>
                  <a:gd name="connsiteY0" fmla="*/ 14288 h 14287"/>
                  <a:gd name="connsiteX1" fmla="*/ 7144 w 55911"/>
                  <a:gd name="connsiteY1" fmla="*/ 14288 h 14287"/>
                  <a:gd name="connsiteX2" fmla="*/ 0 w 55911"/>
                  <a:gd name="connsiteY2" fmla="*/ 7144 h 14287"/>
                  <a:gd name="connsiteX3" fmla="*/ 7144 w 55911"/>
                  <a:gd name="connsiteY3" fmla="*/ 0 h 14287"/>
                  <a:gd name="connsiteX4" fmla="*/ 48768 w 55911"/>
                  <a:gd name="connsiteY4" fmla="*/ 0 h 14287"/>
                  <a:gd name="connsiteX5" fmla="*/ 55912 w 55911"/>
                  <a:gd name="connsiteY5" fmla="*/ 7144 h 14287"/>
                  <a:gd name="connsiteX6" fmla="*/ 48768 w 55911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5911" h="14287">
                    <a:moveTo>
                      <a:pt x="48768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48768" y="0"/>
                    </a:lnTo>
                    <a:cubicBezTo>
                      <a:pt x="52673" y="0"/>
                      <a:pt x="55912" y="3239"/>
                      <a:pt x="55912" y="7144"/>
                    </a:cubicBezTo>
                    <a:cubicBezTo>
                      <a:pt x="55912" y="11049"/>
                      <a:pt x="52673" y="14288"/>
                      <a:pt x="48768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1" name="Grafik 240">
                <a:extLst>
                  <a:ext uri="{FF2B5EF4-FFF2-40B4-BE49-F238E27FC236}">
                    <a16:creationId xmlns:a16="http://schemas.microsoft.com/office/drawing/2014/main" id="{F5BB4BF0-3A7D-2BA0-EB06-70EB5F881346}"/>
                  </a:ext>
                </a:extLst>
              </p:cNvPr>
              <p:cNvSpPr/>
              <p:nvPr/>
            </p:nvSpPr>
            <p:spPr bwMode="gray">
              <a:xfrm>
                <a:off x="5943980" y="3247357"/>
                <a:ext cx="55911" cy="14287"/>
              </a:xfrm>
              <a:custGeom>
                <a:avLst/>
                <a:gdLst>
                  <a:gd name="connsiteX0" fmla="*/ 48768 w 55911"/>
                  <a:gd name="connsiteY0" fmla="*/ 14288 h 14287"/>
                  <a:gd name="connsiteX1" fmla="*/ 7144 w 55911"/>
                  <a:gd name="connsiteY1" fmla="*/ 14288 h 14287"/>
                  <a:gd name="connsiteX2" fmla="*/ 0 w 55911"/>
                  <a:gd name="connsiteY2" fmla="*/ 7144 h 14287"/>
                  <a:gd name="connsiteX3" fmla="*/ 7144 w 55911"/>
                  <a:gd name="connsiteY3" fmla="*/ 0 h 14287"/>
                  <a:gd name="connsiteX4" fmla="*/ 48768 w 55911"/>
                  <a:gd name="connsiteY4" fmla="*/ 0 h 14287"/>
                  <a:gd name="connsiteX5" fmla="*/ 55912 w 55911"/>
                  <a:gd name="connsiteY5" fmla="*/ 7144 h 14287"/>
                  <a:gd name="connsiteX6" fmla="*/ 48768 w 55911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5911" h="14287">
                    <a:moveTo>
                      <a:pt x="48768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48768" y="0"/>
                    </a:lnTo>
                    <a:cubicBezTo>
                      <a:pt x="52673" y="0"/>
                      <a:pt x="55912" y="3239"/>
                      <a:pt x="55912" y="7144"/>
                    </a:cubicBezTo>
                    <a:cubicBezTo>
                      <a:pt x="55912" y="11049"/>
                      <a:pt x="52769" y="14288"/>
                      <a:pt x="48768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2" name="Grafik 240">
                <a:extLst>
                  <a:ext uri="{FF2B5EF4-FFF2-40B4-BE49-F238E27FC236}">
                    <a16:creationId xmlns:a16="http://schemas.microsoft.com/office/drawing/2014/main" id="{3B42F961-30D3-8957-B8FF-B6724D7B0684}"/>
                  </a:ext>
                </a:extLst>
              </p:cNvPr>
              <p:cNvSpPr/>
              <p:nvPr/>
            </p:nvSpPr>
            <p:spPr bwMode="gray">
              <a:xfrm>
                <a:off x="6194011" y="3351466"/>
                <a:ext cx="55911" cy="14287"/>
              </a:xfrm>
              <a:custGeom>
                <a:avLst/>
                <a:gdLst>
                  <a:gd name="connsiteX0" fmla="*/ 48768 w 55911"/>
                  <a:gd name="connsiteY0" fmla="*/ 14288 h 14287"/>
                  <a:gd name="connsiteX1" fmla="*/ 7144 w 55911"/>
                  <a:gd name="connsiteY1" fmla="*/ 14288 h 14287"/>
                  <a:gd name="connsiteX2" fmla="*/ 0 w 55911"/>
                  <a:gd name="connsiteY2" fmla="*/ 7144 h 14287"/>
                  <a:gd name="connsiteX3" fmla="*/ 7144 w 55911"/>
                  <a:gd name="connsiteY3" fmla="*/ 0 h 14287"/>
                  <a:gd name="connsiteX4" fmla="*/ 48768 w 55911"/>
                  <a:gd name="connsiteY4" fmla="*/ 0 h 14287"/>
                  <a:gd name="connsiteX5" fmla="*/ 55912 w 55911"/>
                  <a:gd name="connsiteY5" fmla="*/ 7144 h 14287"/>
                  <a:gd name="connsiteX6" fmla="*/ 48768 w 55911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5911" h="14287">
                    <a:moveTo>
                      <a:pt x="48768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48768" y="0"/>
                    </a:lnTo>
                    <a:cubicBezTo>
                      <a:pt x="52673" y="0"/>
                      <a:pt x="55912" y="3239"/>
                      <a:pt x="55912" y="7144"/>
                    </a:cubicBezTo>
                    <a:cubicBezTo>
                      <a:pt x="55912" y="11049"/>
                      <a:pt x="52673" y="14288"/>
                      <a:pt x="48768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3" name="Grafik 240">
                <a:extLst>
                  <a:ext uri="{FF2B5EF4-FFF2-40B4-BE49-F238E27FC236}">
                    <a16:creationId xmlns:a16="http://schemas.microsoft.com/office/drawing/2014/main" id="{C39EA9E3-C8FE-EE36-6EA3-85153C22E88E}"/>
                  </a:ext>
                </a:extLst>
              </p:cNvPr>
              <p:cNvSpPr/>
              <p:nvPr/>
            </p:nvSpPr>
            <p:spPr bwMode="gray">
              <a:xfrm>
                <a:off x="5943980" y="3351466"/>
                <a:ext cx="55911" cy="14287"/>
              </a:xfrm>
              <a:custGeom>
                <a:avLst/>
                <a:gdLst>
                  <a:gd name="connsiteX0" fmla="*/ 48768 w 55911"/>
                  <a:gd name="connsiteY0" fmla="*/ 14288 h 14287"/>
                  <a:gd name="connsiteX1" fmla="*/ 7144 w 55911"/>
                  <a:gd name="connsiteY1" fmla="*/ 14288 h 14287"/>
                  <a:gd name="connsiteX2" fmla="*/ 0 w 55911"/>
                  <a:gd name="connsiteY2" fmla="*/ 7144 h 14287"/>
                  <a:gd name="connsiteX3" fmla="*/ 7144 w 55911"/>
                  <a:gd name="connsiteY3" fmla="*/ 0 h 14287"/>
                  <a:gd name="connsiteX4" fmla="*/ 48768 w 55911"/>
                  <a:gd name="connsiteY4" fmla="*/ 0 h 14287"/>
                  <a:gd name="connsiteX5" fmla="*/ 55912 w 55911"/>
                  <a:gd name="connsiteY5" fmla="*/ 7144 h 14287"/>
                  <a:gd name="connsiteX6" fmla="*/ 48768 w 55911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5911" h="14287">
                    <a:moveTo>
                      <a:pt x="48768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48768" y="0"/>
                    </a:lnTo>
                    <a:cubicBezTo>
                      <a:pt x="52673" y="0"/>
                      <a:pt x="55912" y="3239"/>
                      <a:pt x="55912" y="7144"/>
                    </a:cubicBezTo>
                    <a:cubicBezTo>
                      <a:pt x="55912" y="11049"/>
                      <a:pt x="52769" y="14288"/>
                      <a:pt x="48768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4" name="Grafik 240">
                <a:extLst>
                  <a:ext uri="{FF2B5EF4-FFF2-40B4-BE49-F238E27FC236}">
                    <a16:creationId xmlns:a16="http://schemas.microsoft.com/office/drawing/2014/main" id="{CF19D0F3-4B25-81B5-054E-E22FB6B6410F}"/>
                  </a:ext>
                </a:extLst>
              </p:cNvPr>
              <p:cNvSpPr/>
              <p:nvPr/>
            </p:nvSpPr>
            <p:spPr bwMode="gray">
              <a:xfrm>
                <a:off x="6089808" y="3244690"/>
                <a:ext cx="14287" cy="121062"/>
              </a:xfrm>
              <a:custGeom>
                <a:avLst/>
                <a:gdLst>
                  <a:gd name="connsiteX0" fmla="*/ 7144 w 14287"/>
                  <a:gd name="connsiteY0" fmla="*/ 121063 h 121062"/>
                  <a:gd name="connsiteX1" fmla="*/ 0 w 14287"/>
                  <a:gd name="connsiteY1" fmla="*/ 113919 h 121062"/>
                  <a:gd name="connsiteX2" fmla="*/ 0 w 14287"/>
                  <a:gd name="connsiteY2" fmla="*/ 7144 h 121062"/>
                  <a:gd name="connsiteX3" fmla="*/ 7144 w 14287"/>
                  <a:gd name="connsiteY3" fmla="*/ 0 h 121062"/>
                  <a:gd name="connsiteX4" fmla="*/ 14288 w 14287"/>
                  <a:gd name="connsiteY4" fmla="*/ 7144 h 121062"/>
                  <a:gd name="connsiteX5" fmla="*/ 14288 w 14287"/>
                  <a:gd name="connsiteY5" fmla="*/ 113919 h 121062"/>
                  <a:gd name="connsiteX6" fmla="*/ 7144 w 14287"/>
                  <a:gd name="connsiteY6" fmla="*/ 121063 h 1210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21062">
                    <a:moveTo>
                      <a:pt x="7144" y="121063"/>
                    </a:moveTo>
                    <a:cubicBezTo>
                      <a:pt x="3239" y="121063"/>
                      <a:pt x="0" y="117824"/>
                      <a:pt x="0" y="11391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cubicBezTo>
                      <a:pt x="11049" y="0"/>
                      <a:pt x="14288" y="3238"/>
                      <a:pt x="14288" y="7144"/>
                    </a:cubicBezTo>
                    <a:lnTo>
                      <a:pt x="14288" y="113919"/>
                    </a:lnTo>
                    <a:cubicBezTo>
                      <a:pt x="14288" y="117920"/>
                      <a:pt x="11049" y="121063"/>
                      <a:pt x="7144" y="12106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5" name="Grafik 240">
                <a:extLst>
                  <a:ext uri="{FF2B5EF4-FFF2-40B4-BE49-F238E27FC236}">
                    <a16:creationId xmlns:a16="http://schemas.microsoft.com/office/drawing/2014/main" id="{BD45B01A-1263-B38B-AA5E-09E9E07C4FD2}"/>
                  </a:ext>
                </a:extLst>
              </p:cNvPr>
              <p:cNvSpPr/>
              <p:nvPr/>
            </p:nvSpPr>
            <p:spPr bwMode="gray">
              <a:xfrm>
                <a:off x="5937598" y="3298126"/>
                <a:ext cx="312324" cy="14287"/>
              </a:xfrm>
              <a:custGeom>
                <a:avLst/>
                <a:gdLst>
                  <a:gd name="connsiteX0" fmla="*/ 305181 w 312324"/>
                  <a:gd name="connsiteY0" fmla="*/ 14288 h 14287"/>
                  <a:gd name="connsiteX1" fmla="*/ 7144 w 312324"/>
                  <a:gd name="connsiteY1" fmla="*/ 14288 h 14287"/>
                  <a:gd name="connsiteX2" fmla="*/ 0 w 312324"/>
                  <a:gd name="connsiteY2" fmla="*/ 7144 h 14287"/>
                  <a:gd name="connsiteX3" fmla="*/ 7144 w 312324"/>
                  <a:gd name="connsiteY3" fmla="*/ 0 h 14287"/>
                  <a:gd name="connsiteX4" fmla="*/ 305181 w 312324"/>
                  <a:gd name="connsiteY4" fmla="*/ 0 h 14287"/>
                  <a:gd name="connsiteX5" fmla="*/ 312325 w 312324"/>
                  <a:gd name="connsiteY5" fmla="*/ 7144 h 14287"/>
                  <a:gd name="connsiteX6" fmla="*/ 305181 w 31232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2324" h="14287">
                    <a:moveTo>
                      <a:pt x="30518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05181" y="0"/>
                    </a:lnTo>
                    <a:cubicBezTo>
                      <a:pt x="309086" y="0"/>
                      <a:pt x="312325" y="3239"/>
                      <a:pt x="312325" y="7144"/>
                    </a:cubicBezTo>
                    <a:cubicBezTo>
                      <a:pt x="312325" y="11049"/>
                      <a:pt x="309086" y="14288"/>
                      <a:pt x="305181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601" name="Grafik 240">
              <a:extLst>
                <a:ext uri="{FF2B5EF4-FFF2-40B4-BE49-F238E27FC236}">
                  <a16:creationId xmlns:a16="http://schemas.microsoft.com/office/drawing/2014/main" id="{32079F4C-6155-7349-90C2-2D2C5F6DE986}"/>
                </a:ext>
              </a:extLst>
            </p:cNvPr>
            <p:cNvSpPr/>
            <p:nvPr/>
          </p:nvSpPr>
          <p:spPr bwMode="gray">
            <a:xfrm>
              <a:off x="5843610" y="3176587"/>
              <a:ext cx="500205" cy="257270"/>
            </a:xfrm>
            <a:custGeom>
              <a:avLst/>
              <a:gdLst>
                <a:gd name="connsiteX0" fmla="*/ 371642 w 500205"/>
                <a:gd name="connsiteY0" fmla="*/ 257270 h 257270"/>
                <a:gd name="connsiteX1" fmla="*/ 128659 w 500205"/>
                <a:gd name="connsiteY1" fmla="*/ 257270 h 257270"/>
                <a:gd name="connsiteX2" fmla="*/ 123611 w 500205"/>
                <a:gd name="connsiteY2" fmla="*/ 255175 h 257270"/>
                <a:gd name="connsiteX3" fmla="*/ 2072 w 500205"/>
                <a:gd name="connsiteY3" fmla="*/ 133731 h 257270"/>
                <a:gd name="connsiteX4" fmla="*/ 2072 w 500205"/>
                <a:gd name="connsiteY4" fmla="*/ 123634 h 257270"/>
                <a:gd name="connsiteX5" fmla="*/ 123611 w 500205"/>
                <a:gd name="connsiteY5" fmla="*/ 2096 h 257270"/>
                <a:gd name="connsiteX6" fmla="*/ 128659 w 500205"/>
                <a:gd name="connsiteY6" fmla="*/ 0 h 257270"/>
                <a:gd name="connsiteX7" fmla="*/ 371642 w 500205"/>
                <a:gd name="connsiteY7" fmla="*/ 0 h 257270"/>
                <a:gd name="connsiteX8" fmla="*/ 376690 w 500205"/>
                <a:gd name="connsiteY8" fmla="*/ 2096 h 257270"/>
                <a:gd name="connsiteX9" fmla="*/ 498134 w 500205"/>
                <a:gd name="connsiteY9" fmla="*/ 123634 h 257270"/>
                <a:gd name="connsiteX10" fmla="*/ 498134 w 500205"/>
                <a:gd name="connsiteY10" fmla="*/ 133731 h 257270"/>
                <a:gd name="connsiteX11" fmla="*/ 376690 w 500205"/>
                <a:gd name="connsiteY11" fmla="*/ 255175 h 257270"/>
                <a:gd name="connsiteX12" fmla="*/ 371642 w 500205"/>
                <a:gd name="connsiteY12" fmla="*/ 257270 h 257270"/>
                <a:gd name="connsiteX13" fmla="*/ 131612 w 500205"/>
                <a:gd name="connsiteY13" fmla="*/ 242983 h 257270"/>
                <a:gd name="connsiteX14" fmla="*/ 368689 w 500205"/>
                <a:gd name="connsiteY14" fmla="*/ 242983 h 257270"/>
                <a:gd name="connsiteX15" fmla="*/ 483084 w 500205"/>
                <a:gd name="connsiteY15" fmla="*/ 128588 h 257270"/>
                <a:gd name="connsiteX16" fmla="*/ 368689 w 500205"/>
                <a:gd name="connsiteY16" fmla="*/ 14288 h 257270"/>
                <a:gd name="connsiteX17" fmla="*/ 131612 w 500205"/>
                <a:gd name="connsiteY17" fmla="*/ 14288 h 257270"/>
                <a:gd name="connsiteX18" fmla="*/ 17216 w 500205"/>
                <a:gd name="connsiteY18" fmla="*/ 128683 h 257270"/>
                <a:gd name="connsiteX19" fmla="*/ 131612 w 500205"/>
                <a:gd name="connsiteY19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00205" h="257270">
                  <a:moveTo>
                    <a:pt x="371642" y="257270"/>
                  </a:moveTo>
                  <a:lnTo>
                    <a:pt x="128659" y="257270"/>
                  </a:lnTo>
                  <a:cubicBezTo>
                    <a:pt x="126754" y="257270"/>
                    <a:pt x="124944" y="256508"/>
                    <a:pt x="123611" y="255175"/>
                  </a:cubicBezTo>
                  <a:lnTo>
                    <a:pt x="2072" y="133731"/>
                  </a:lnTo>
                  <a:cubicBezTo>
                    <a:pt x="-691" y="130969"/>
                    <a:pt x="-691" y="126397"/>
                    <a:pt x="2072" y="123634"/>
                  </a:cubicBezTo>
                  <a:lnTo>
                    <a:pt x="123611" y="2096"/>
                  </a:lnTo>
                  <a:cubicBezTo>
                    <a:pt x="124944" y="762"/>
                    <a:pt x="126754" y="0"/>
                    <a:pt x="128659" y="0"/>
                  </a:cubicBezTo>
                  <a:lnTo>
                    <a:pt x="371642" y="0"/>
                  </a:lnTo>
                  <a:cubicBezTo>
                    <a:pt x="373547" y="0"/>
                    <a:pt x="375356" y="762"/>
                    <a:pt x="376690" y="2096"/>
                  </a:cubicBezTo>
                  <a:lnTo>
                    <a:pt x="498134" y="123634"/>
                  </a:lnTo>
                  <a:cubicBezTo>
                    <a:pt x="500896" y="126397"/>
                    <a:pt x="500896" y="130969"/>
                    <a:pt x="498134" y="133731"/>
                  </a:cubicBezTo>
                  <a:lnTo>
                    <a:pt x="376690" y="255175"/>
                  </a:lnTo>
                  <a:cubicBezTo>
                    <a:pt x="375356" y="256508"/>
                    <a:pt x="373547" y="257270"/>
                    <a:pt x="371642" y="257270"/>
                  </a:cubicBezTo>
                  <a:close/>
                  <a:moveTo>
                    <a:pt x="131612" y="242983"/>
                  </a:moveTo>
                  <a:lnTo>
                    <a:pt x="368689" y="242983"/>
                  </a:lnTo>
                  <a:lnTo>
                    <a:pt x="483084" y="128588"/>
                  </a:lnTo>
                  <a:lnTo>
                    <a:pt x="368689" y="14288"/>
                  </a:lnTo>
                  <a:lnTo>
                    <a:pt x="131612" y="14288"/>
                  </a:lnTo>
                  <a:lnTo>
                    <a:pt x="17216" y="128683"/>
                  </a:lnTo>
                  <a:lnTo>
                    <a:pt x="131612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2" name="Grafik 240">
              <a:extLst>
                <a:ext uri="{FF2B5EF4-FFF2-40B4-BE49-F238E27FC236}">
                  <a16:creationId xmlns:a16="http://schemas.microsoft.com/office/drawing/2014/main" id="{8971F4F7-B55C-3392-786C-BE35EC2CDF75}"/>
                </a:ext>
              </a:extLst>
            </p:cNvPr>
            <p:cNvSpPr/>
            <p:nvPr/>
          </p:nvSpPr>
          <p:spPr bwMode="gray">
            <a:xfrm>
              <a:off x="5843587" y="3298126"/>
              <a:ext cx="500348" cy="378714"/>
            </a:xfrm>
            <a:custGeom>
              <a:avLst/>
              <a:gdLst>
                <a:gd name="connsiteX0" fmla="*/ 371666 w 500348"/>
                <a:gd name="connsiteY0" fmla="*/ 378714 h 378714"/>
                <a:gd name="connsiteX1" fmla="*/ 128683 w 500348"/>
                <a:gd name="connsiteY1" fmla="*/ 378714 h 378714"/>
                <a:gd name="connsiteX2" fmla="*/ 123634 w 500348"/>
                <a:gd name="connsiteY2" fmla="*/ 376619 h 378714"/>
                <a:gd name="connsiteX3" fmla="*/ 2096 w 500348"/>
                <a:gd name="connsiteY3" fmla="*/ 255175 h 378714"/>
                <a:gd name="connsiteX4" fmla="*/ 0 w 500348"/>
                <a:gd name="connsiteY4" fmla="*/ 250127 h 378714"/>
                <a:gd name="connsiteX5" fmla="*/ 0 w 500348"/>
                <a:gd name="connsiteY5" fmla="*/ 7144 h 378714"/>
                <a:gd name="connsiteX6" fmla="*/ 7144 w 500348"/>
                <a:gd name="connsiteY6" fmla="*/ 0 h 378714"/>
                <a:gd name="connsiteX7" fmla="*/ 14288 w 500348"/>
                <a:gd name="connsiteY7" fmla="*/ 7144 h 378714"/>
                <a:gd name="connsiteX8" fmla="*/ 14288 w 500348"/>
                <a:gd name="connsiteY8" fmla="*/ 247174 h 378714"/>
                <a:gd name="connsiteX9" fmla="*/ 131636 w 500348"/>
                <a:gd name="connsiteY9" fmla="*/ 364522 h 378714"/>
                <a:gd name="connsiteX10" fmla="*/ 368713 w 500348"/>
                <a:gd name="connsiteY10" fmla="*/ 364522 h 378714"/>
                <a:gd name="connsiteX11" fmla="*/ 486061 w 500348"/>
                <a:gd name="connsiteY11" fmla="*/ 247174 h 378714"/>
                <a:gd name="connsiteX12" fmla="*/ 486061 w 500348"/>
                <a:gd name="connsiteY12" fmla="*/ 7144 h 378714"/>
                <a:gd name="connsiteX13" fmla="*/ 493205 w 500348"/>
                <a:gd name="connsiteY13" fmla="*/ 0 h 378714"/>
                <a:gd name="connsiteX14" fmla="*/ 500348 w 500348"/>
                <a:gd name="connsiteY14" fmla="*/ 7144 h 378714"/>
                <a:gd name="connsiteX15" fmla="*/ 500348 w 500348"/>
                <a:gd name="connsiteY15" fmla="*/ 250127 h 378714"/>
                <a:gd name="connsiteX16" fmla="*/ 498253 w 500348"/>
                <a:gd name="connsiteY16" fmla="*/ 255175 h 378714"/>
                <a:gd name="connsiteX17" fmla="*/ 376714 w 500348"/>
                <a:gd name="connsiteY17" fmla="*/ 376619 h 378714"/>
                <a:gd name="connsiteX18" fmla="*/ 371666 w 500348"/>
                <a:gd name="connsiteY18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00348" h="378714">
                  <a:moveTo>
                    <a:pt x="371666" y="378714"/>
                  </a:moveTo>
                  <a:lnTo>
                    <a:pt x="128683" y="378714"/>
                  </a:lnTo>
                  <a:cubicBezTo>
                    <a:pt x="126778" y="378714"/>
                    <a:pt x="124968" y="377952"/>
                    <a:pt x="123634" y="376619"/>
                  </a:cubicBezTo>
                  <a:lnTo>
                    <a:pt x="2096" y="255175"/>
                  </a:lnTo>
                  <a:cubicBezTo>
                    <a:pt x="762" y="253841"/>
                    <a:pt x="0" y="252032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47174"/>
                  </a:lnTo>
                  <a:lnTo>
                    <a:pt x="131636" y="364522"/>
                  </a:lnTo>
                  <a:lnTo>
                    <a:pt x="368713" y="364522"/>
                  </a:lnTo>
                  <a:lnTo>
                    <a:pt x="486061" y="247174"/>
                  </a:lnTo>
                  <a:lnTo>
                    <a:pt x="486061" y="7144"/>
                  </a:lnTo>
                  <a:cubicBezTo>
                    <a:pt x="486061" y="3239"/>
                    <a:pt x="489299" y="0"/>
                    <a:pt x="493205" y="0"/>
                  </a:cubicBezTo>
                  <a:cubicBezTo>
                    <a:pt x="497110" y="0"/>
                    <a:pt x="500348" y="3239"/>
                    <a:pt x="500348" y="7144"/>
                  </a:cubicBezTo>
                  <a:lnTo>
                    <a:pt x="500348" y="250127"/>
                  </a:lnTo>
                  <a:cubicBezTo>
                    <a:pt x="500348" y="252032"/>
                    <a:pt x="499586" y="253841"/>
                    <a:pt x="498253" y="255175"/>
                  </a:cubicBezTo>
                  <a:lnTo>
                    <a:pt x="376714" y="376619"/>
                  </a:lnTo>
                  <a:cubicBezTo>
                    <a:pt x="375380" y="377952"/>
                    <a:pt x="373571" y="378714"/>
                    <a:pt x="371666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3" name="Grafik 240">
              <a:extLst>
                <a:ext uri="{FF2B5EF4-FFF2-40B4-BE49-F238E27FC236}">
                  <a16:creationId xmlns:a16="http://schemas.microsoft.com/office/drawing/2014/main" id="{2308DF53-8A34-1C49-D273-306E7C0D17D0}"/>
                </a:ext>
              </a:extLst>
            </p:cNvPr>
            <p:cNvSpPr/>
            <p:nvPr/>
          </p:nvSpPr>
          <p:spPr bwMode="gray">
            <a:xfrm>
              <a:off x="6046088" y="3500627"/>
              <a:ext cx="95250" cy="95250"/>
            </a:xfrm>
            <a:custGeom>
              <a:avLst/>
              <a:gdLst>
                <a:gd name="connsiteX0" fmla="*/ 88106 w 95250"/>
                <a:gd name="connsiteY0" fmla="*/ 95250 h 95250"/>
                <a:gd name="connsiteX1" fmla="*/ 7144 w 95250"/>
                <a:gd name="connsiteY1" fmla="*/ 95250 h 95250"/>
                <a:gd name="connsiteX2" fmla="*/ 0 w 95250"/>
                <a:gd name="connsiteY2" fmla="*/ 88106 h 95250"/>
                <a:gd name="connsiteX3" fmla="*/ 0 w 95250"/>
                <a:gd name="connsiteY3" fmla="*/ 7144 h 95250"/>
                <a:gd name="connsiteX4" fmla="*/ 7144 w 95250"/>
                <a:gd name="connsiteY4" fmla="*/ 0 h 95250"/>
                <a:gd name="connsiteX5" fmla="*/ 88106 w 95250"/>
                <a:gd name="connsiteY5" fmla="*/ 0 h 95250"/>
                <a:gd name="connsiteX6" fmla="*/ 95250 w 95250"/>
                <a:gd name="connsiteY6" fmla="*/ 7144 h 95250"/>
                <a:gd name="connsiteX7" fmla="*/ 95250 w 95250"/>
                <a:gd name="connsiteY7" fmla="*/ 88106 h 95250"/>
                <a:gd name="connsiteX8" fmla="*/ 88106 w 95250"/>
                <a:gd name="connsiteY8" fmla="*/ 95250 h 95250"/>
                <a:gd name="connsiteX9" fmla="*/ 14288 w 95250"/>
                <a:gd name="connsiteY9" fmla="*/ 80963 h 95250"/>
                <a:gd name="connsiteX10" fmla="*/ 80963 w 95250"/>
                <a:gd name="connsiteY10" fmla="*/ 80963 h 95250"/>
                <a:gd name="connsiteX11" fmla="*/ 80963 w 95250"/>
                <a:gd name="connsiteY11" fmla="*/ 14288 h 95250"/>
                <a:gd name="connsiteX12" fmla="*/ 14288 w 95250"/>
                <a:gd name="connsiteY12" fmla="*/ 14288 h 95250"/>
                <a:gd name="connsiteX13" fmla="*/ 14288 w 95250"/>
                <a:gd name="connsiteY13" fmla="*/ 80963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5250" h="95250">
                  <a:moveTo>
                    <a:pt x="88106" y="95250"/>
                  </a:moveTo>
                  <a:lnTo>
                    <a:pt x="7144" y="95250"/>
                  </a:lnTo>
                  <a:cubicBezTo>
                    <a:pt x="3239" y="95250"/>
                    <a:pt x="0" y="92012"/>
                    <a:pt x="0" y="88106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88106" y="0"/>
                  </a:lnTo>
                  <a:cubicBezTo>
                    <a:pt x="92012" y="0"/>
                    <a:pt x="95250" y="3239"/>
                    <a:pt x="95250" y="7144"/>
                  </a:cubicBezTo>
                  <a:lnTo>
                    <a:pt x="95250" y="88106"/>
                  </a:lnTo>
                  <a:cubicBezTo>
                    <a:pt x="95250" y="92012"/>
                    <a:pt x="92107" y="95250"/>
                    <a:pt x="88106" y="95250"/>
                  </a:cubicBezTo>
                  <a:close/>
                  <a:moveTo>
                    <a:pt x="14288" y="80963"/>
                  </a:moveTo>
                  <a:lnTo>
                    <a:pt x="80963" y="80963"/>
                  </a:lnTo>
                  <a:lnTo>
                    <a:pt x="80963" y="14288"/>
                  </a:lnTo>
                  <a:lnTo>
                    <a:pt x="14288" y="14288"/>
                  </a:lnTo>
                  <a:lnTo>
                    <a:pt x="14288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4" name="Grafik 240">
              <a:extLst>
                <a:ext uri="{FF2B5EF4-FFF2-40B4-BE49-F238E27FC236}">
                  <a16:creationId xmlns:a16="http://schemas.microsoft.com/office/drawing/2014/main" id="{35E4ECCE-D5E6-2544-D347-6081312428DB}"/>
                </a:ext>
              </a:extLst>
            </p:cNvPr>
            <p:cNvSpPr/>
            <p:nvPr/>
          </p:nvSpPr>
          <p:spPr bwMode="gray">
            <a:xfrm>
              <a:off x="6070377" y="3468242"/>
              <a:ext cx="46672" cy="46672"/>
            </a:xfrm>
            <a:custGeom>
              <a:avLst/>
              <a:gdLst>
                <a:gd name="connsiteX0" fmla="*/ 39529 w 46672"/>
                <a:gd name="connsiteY0" fmla="*/ 46672 h 46672"/>
                <a:gd name="connsiteX1" fmla="*/ 7144 w 46672"/>
                <a:gd name="connsiteY1" fmla="*/ 46672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2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7 h 46672"/>
                <a:gd name="connsiteX12" fmla="*/ 14288 w 46672"/>
                <a:gd name="connsiteY12" fmla="*/ 14287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2"/>
                  </a:moveTo>
                  <a:lnTo>
                    <a:pt x="7144" y="46672"/>
                  </a:lnTo>
                  <a:cubicBezTo>
                    <a:pt x="3239" y="46672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8"/>
                    <a:pt x="46672" y="7144"/>
                  </a:cubicBezTo>
                  <a:lnTo>
                    <a:pt x="46672" y="39529"/>
                  </a:lnTo>
                  <a:cubicBezTo>
                    <a:pt x="46672" y="43434"/>
                    <a:pt x="43529" y="46672"/>
                    <a:pt x="39529" y="46672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7"/>
                  </a:lnTo>
                  <a:lnTo>
                    <a:pt x="14288" y="14287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5" name="Grafik 240">
              <a:extLst>
                <a:ext uri="{FF2B5EF4-FFF2-40B4-BE49-F238E27FC236}">
                  <a16:creationId xmlns:a16="http://schemas.microsoft.com/office/drawing/2014/main" id="{FCE0A9B3-179D-9E96-3E0D-4FD029C49280}"/>
                </a:ext>
              </a:extLst>
            </p:cNvPr>
            <p:cNvSpPr/>
            <p:nvPr/>
          </p:nvSpPr>
          <p:spPr bwMode="gray">
            <a:xfrm>
              <a:off x="6070377" y="3581590"/>
              <a:ext cx="46672" cy="46672"/>
            </a:xfrm>
            <a:custGeom>
              <a:avLst/>
              <a:gdLst>
                <a:gd name="connsiteX0" fmla="*/ 39529 w 46672"/>
                <a:gd name="connsiteY0" fmla="*/ 46672 h 46672"/>
                <a:gd name="connsiteX1" fmla="*/ 7144 w 46672"/>
                <a:gd name="connsiteY1" fmla="*/ 46672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2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8 h 46672"/>
                <a:gd name="connsiteX12" fmla="*/ 14288 w 46672"/>
                <a:gd name="connsiteY12" fmla="*/ 14288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2"/>
                  </a:moveTo>
                  <a:lnTo>
                    <a:pt x="7144" y="46672"/>
                  </a:lnTo>
                  <a:cubicBezTo>
                    <a:pt x="3239" y="46672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434"/>
                    <a:pt x="43529" y="46672"/>
                    <a:pt x="39529" y="46672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6" name="Grafik 240">
              <a:extLst>
                <a:ext uri="{FF2B5EF4-FFF2-40B4-BE49-F238E27FC236}">
                  <a16:creationId xmlns:a16="http://schemas.microsoft.com/office/drawing/2014/main" id="{AF2B4AE2-3F89-73B9-163D-4261E721DCD0}"/>
                </a:ext>
              </a:extLst>
            </p:cNvPr>
            <p:cNvSpPr/>
            <p:nvPr/>
          </p:nvSpPr>
          <p:spPr bwMode="gray">
            <a:xfrm>
              <a:off x="6013703" y="3524916"/>
              <a:ext cx="46672" cy="46672"/>
            </a:xfrm>
            <a:custGeom>
              <a:avLst/>
              <a:gdLst>
                <a:gd name="connsiteX0" fmla="*/ 39529 w 46672"/>
                <a:gd name="connsiteY0" fmla="*/ 46673 h 46672"/>
                <a:gd name="connsiteX1" fmla="*/ 7144 w 46672"/>
                <a:gd name="connsiteY1" fmla="*/ 46673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3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8 h 46672"/>
                <a:gd name="connsiteX12" fmla="*/ 14288 w 46672"/>
                <a:gd name="connsiteY12" fmla="*/ 14288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3"/>
                  </a:moveTo>
                  <a:lnTo>
                    <a:pt x="7144" y="46673"/>
                  </a:lnTo>
                  <a:cubicBezTo>
                    <a:pt x="3239" y="46673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434"/>
                    <a:pt x="43434" y="46673"/>
                    <a:pt x="39529" y="46673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7" name="Grafik 240">
              <a:extLst>
                <a:ext uri="{FF2B5EF4-FFF2-40B4-BE49-F238E27FC236}">
                  <a16:creationId xmlns:a16="http://schemas.microsoft.com/office/drawing/2014/main" id="{98EFA691-2BE0-3AC9-30BD-669872F9BF87}"/>
                </a:ext>
              </a:extLst>
            </p:cNvPr>
            <p:cNvSpPr/>
            <p:nvPr/>
          </p:nvSpPr>
          <p:spPr bwMode="gray">
            <a:xfrm>
              <a:off x="6127146" y="3524916"/>
              <a:ext cx="46672" cy="46672"/>
            </a:xfrm>
            <a:custGeom>
              <a:avLst/>
              <a:gdLst>
                <a:gd name="connsiteX0" fmla="*/ 39529 w 46672"/>
                <a:gd name="connsiteY0" fmla="*/ 46673 h 46672"/>
                <a:gd name="connsiteX1" fmla="*/ 7144 w 46672"/>
                <a:gd name="connsiteY1" fmla="*/ 46673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3 h 46672"/>
                <a:gd name="connsiteX9" fmla="*/ 14192 w 46672"/>
                <a:gd name="connsiteY9" fmla="*/ 32385 h 46672"/>
                <a:gd name="connsiteX10" fmla="*/ 32290 w 46672"/>
                <a:gd name="connsiteY10" fmla="*/ 32385 h 46672"/>
                <a:gd name="connsiteX11" fmla="*/ 32290 w 46672"/>
                <a:gd name="connsiteY11" fmla="*/ 14288 h 46672"/>
                <a:gd name="connsiteX12" fmla="*/ 14192 w 46672"/>
                <a:gd name="connsiteY12" fmla="*/ 14288 h 46672"/>
                <a:gd name="connsiteX13" fmla="*/ 14192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3"/>
                  </a:moveTo>
                  <a:lnTo>
                    <a:pt x="7144" y="46673"/>
                  </a:lnTo>
                  <a:cubicBezTo>
                    <a:pt x="3239" y="46673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434"/>
                    <a:pt x="43434" y="46673"/>
                    <a:pt x="39529" y="46673"/>
                  </a:cubicBezTo>
                  <a:close/>
                  <a:moveTo>
                    <a:pt x="14192" y="32385"/>
                  </a:moveTo>
                  <a:lnTo>
                    <a:pt x="32290" y="32385"/>
                  </a:lnTo>
                  <a:lnTo>
                    <a:pt x="32290" y="14288"/>
                  </a:lnTo>
                  <a:lnTo>
                    <a:pt x="14192" y="14288"/>
                  </a:lnTo>
                  <a:lnTo>
                    <a:pt x="14192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616" name="Grafik 244">
            <a:extLst>
              <a:ext uri="{FF2B5EF4-FFF2-40B4-BE49-F238E27FC236}">
                <a16:creationId xmlns:a16="http://schemas.microsoft.com/office/drawing/2014/main" id="{FD708291-C3ED-7935-4998-98261F2A38E2}"/>
              </a:ext>
            </a:extLst>
          </p:cNvPr>
          <p:cNvGrpSpPr/>
          <p:nvPr/>
        </p:nvGrpSpPr>
        <p:grpSpPr bwMode="gray">
          <a:xfrm>
            <a:off x="8349529" y="592928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17" name="Grafik 244">
              <a:extLst>
                <a:ext uri="{FF2B5EF4-FFF2-40B4-BE49-F238E27FC236}">
                  <a16:creationId xmlns:a16="http://schemas.microsoft.com/office/drawing/2014/main" id="{5B4D71EE-372E-F135-FB21-217F2C19125F}"/>
                </a:ext>
              </a:extLst>
            </p:cNvPr>
            <p:cNvGrpSpPr/>
            <p:nvPr/>
          </p:nvGrpSpPr>
          <p:grpSpPr bwMode="gray">
            <a:xfrm>
              <a:off x="6013703" y="3411378"/>
              <a:ext cx="95250" cy="95440"/>
              <a:chOff x="6013703" y="3411378"/>
              <a:chExt cx="95250" cy="95440"/>
            </a:xfrm>
            <a:grpFill/>
          </p:grpSpPr>
          <p:sp>
            <p:nvSpPr>
              <p:cNvPr id="629" name="Grafik 244">
                <a:extLst>
                  <a:ext uri="{FF2B5EF4-FFF2-40B4-BE49-F238E27FC236}">
                    <a16:creationId xmlns:a16="http://schemas.microsoft.com/office/drawing/2014/main" id="{CF7AAE33-B074-53C4-459F-AF67414253D6}"/>
                  </a:ext>
                </a:extLst>
              </p:cNvPr>
              <p:cNvSpPr/>
              <p:nvPr/>
            </p:nvSpPr>
            <p:spPr bwMode="gray">
              <a:xfrm>
                <a:off x="6013703" y="3411378"/>
                <a:ext cx="95250" cy="54864"/>
              </a:xfrm>
              <a:custGeom>
                <a:avLst/>
                <a:gdLst>
                  <a:gd name="connsiteX0" fmla="*/ 47625 w 95250"/>
                  <a:gd name="connsiteY0" fmla="*/ 54864 h 54864"/>
                  <a:gd name="connsiteX1" fmla="*/ 0 w 95250"/>
                  <a:gd name="connsiteY1" fmla="*/ 27432 h 54864"/>
                  <a:gd name="connsiteX2" fmla="*/ 47625 w 95250"/>
                  <a:gd name="connsiteY2" fmla="*/ 0 h 54864"/>
                  <a:gd name="connsiteX3" fmla="*/ 95250 w 95250"/>
                  <a:gd name="connsiteY3" fmla="*/ 27432 h 54864"/>
                  <a:gd name="connsiteX4" fmla="*/ 47625 w 95250"/>
                  <a:gd name="connsiteY4" fmla="*/ 54864 h 54864"/>
                  <a:gd name="connsiteX5" fmla="*/ 47625 w 95250"/>
                  <a:gd name="connsiteY5" fmla="*/ 14383 h 54864"/>
                  <a:gd name="connsiteX6" fmla="*/ 14288 w 95250"/>
                  <a:gd name="connsiteY6" fmla="*/ 27527 h 54864"/>
                  <a:gd name="connsiteX7" fmla="*/ 47625 w 95250"/>
                  <a:gd name="connsiteY7" fmla="*/ 40672 h 54864"/>
                  <a:gd name="connsiteX8" fmla="*/ 80963 w 95250"/>
                  <a:gd name="connsiteY8" fmla="*/ 27527 h 54864"/>
                  <a:gd name="connsiteX9" fmla="*/ 47625 w 95250"/>
                  <a:gd name="connsiteY9" fmla="*/ 14383 h 54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5250" h="54864">
                    <a:moveTo>
                      <a:pt x="47625" y="54864"/>
                    </a:moveTo>
                    <a:cubicBezTo>
                      <a:pt x="20479" y="54864"/>
                      <a:pt x="0" y="43053"/>
                      <a:pt x="0" y="27432"/>
                    </a:cubicBezTo>
                    <a:cubicBezTo>
                      <a:pt x="0" y="11811"/>
                      <a:pt x="20479" y="0"/>
                      <a:pt x="47625" y="0"/>
                    </a:cubicBezTo>
                    <a:cubicBezTo>
                      <a:pt x="74771" y="0"/>
                      <a:pt x="95250" y="11811"/>
                      <a:pt x="95250" y="27432"/>
                    </a:cubicBezTo>
                    <a:cubicBezTo>
                      <a:pt x="95250" y="43053"/>
                      <a:pt x="74771" y="54864"/>
                      <a:pt x="47625" y="54864"/>
                    </a:cubicBezTo>
                    <a:close/>
                    <a:moveTo>
                      <a:pt x="47625" y="14383"/>
                    </a:moveTo>
                    <a:cubicBezTo>
                      <a:pt x="27527" y="14383"/>
                      <a:pt x="14288" y="22289"/>
                      <a:pt x="14288" y="27527"/>
                    </a:cubicBezTo>
                    <a:cubicBezTo>
                      <a:pt x="14288" y="32766"/>
                      <a:pt x="27622" y="40672"/>
                      <a:pt x="47625" y="40672"/>
                    </a:cubicBezTo>
                    <a:cubicBezTo>
                      <a:pt x="67627" y="40672"/>
                      <a:pt x="80963" y="32766"/>
                      <a:pt x="80963" y="27527"/>
                    </a:cubicBezTo>
                    <a:cubicBezTo>
                      <a:pt x="80963" y="22289"/>
                      <a:pt x="67627" y="14383"/>
                      <a:pt x="47625" y="143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30" name="Grafik 244">
                <a:extLst>
                  <a:ext uri="{FF2B5EF4-FFF2-40B4-BE49-F238E27FC236}">
                    <a16:creationId xmlns:a16="http://schemas.microsoft.com/office/drawing/2014/main" id="{83BAEEC4-E8DC-71C7-0ADE-4F3F6A638E20}"/>
                  </a:ext>
                </a:extLst>
              </p:cNvPr>
              <p:cNvSpPr/>
              <p:nvPr/>
            </p:nvSpPr>
            <p:spPr bwMode="gray">
              <a:xfrm>
                <a:off x="6013703" y="3431761"/>
                <a:ext cx="95250" cy="75056"/>
              </a:xfrm>
              <a:custGeom>
                <a:avLst/>
                <a:gdLst>
                  <a:gd name="connsiteX0" fmla="*/ 47625 w 95250"/>
                  <a:gd name="connsiteY0" fmla="*/ 75057 h 75056"/>
                  <a:gd name="connsiteX1" fmla="*/ 0 w 95250"/>
                  <a:gd name="connsiteY1" fmla="*/ 47625 h 75056"/>
                  <a:gd name="connsiteX2" fmla="*/ 0 w 95250"/>
                  <a:gd name="connsiteY2" fmla="*/ 7144 h 75056"/>
                  <a:gd name="connsiteX3" fmla="*/ 7144 w 95250"/>
                  <a:gd name="connsiteY3" fmla="*/ 0 h 75056"/>
                  <a:gd name="connsiteX4" fmla="*/ 14288 w 95250"/>
                  <a:gd name="connsiteY4" fmla="*/ 7144 h 75056"/>
                  <a:gd name="connsiteX5" fmla="*/ 14288 w 95250"/>
                  <a:gd name="connsiteY5" fmla="*/ 47625 h 75056"/>
                  <a:gd name="connsiteX6" fmla="*/ 47625 w 95250"/>
                  <a:gd name="connsiteY6" fmla="*/ 60769 h 75056"/>
                  <a:gd name="connsiteX7" fmla="*/ 80963 w 95250"/>
                  <a:gd name="connsiteY7" fmla="*/ 47625 h 75056"/>
                  <a:gd name="connsiteX8" fmla="*/ 80963 w 95250"/>
                  <a:gd name="connsiteY8" fmla="*/ 7144 h 75056"/>
                  <a:gd name="connsiteX9" fmla="*/ 88106 w 95250"/>
                  <a:gd name="connsiteY9" fmla="*/ 0 h 75056"/>
                  <a:gd name="connsiteX10" fmla="*/ 95250 w 95250"/>
                  <a:gd name="connsiteY10" fmla="*/ 7144 h 75056"/>
                  <a:gd name="connsiteX11" fmla="*/ 95250 w 95250"/>
                  <a:gd name="connsiteY11" fmla="*/ 47625 h 75056"/>
                  <a:gd name="connsiteX12" fmla="*/ 47625 w 95250"/>
                  <a:gd name="connsiteY12" fmla="*/ 75057 h 75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5250" h="75056">
                    <a:moveTo>
                      <a:pt x="47625" y="75057"/>
                    </a:moveTo>
                    <a:cubicBezTo>
                      <a:pt x="20479" y="75057"/>
                      <a:pt x="0" y="63246"/>
                      <a:pt x="0" y="47625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cubicBezTo>
                      <a:pt x="11049" y="0"/>
                      <a:pt x="14288" y="3238"/>
                      <a:pt x="14288" y="7144"/>
                    </a:cubicBezTo>
                    <a:lnTo>
                      <a:pt x="14288" y="47625"/>
                    </a:lnTo>
                    <a:cubicBezTo>
                      <a:pt x="14288" y="52864"/>
                      <a:pt x="27622" y="60769"/>
                      <a:pt x="47625" y="60769"/>
                    </a:cubicBezTo>
                    <a:cubicBezTo>
                      <a:pt x="67627" y="60769"/>
                      <a:pt x="80963" y="52864"/>
                      <a:pt x="80963" y="47625"/>
                    </a:cubicBezTo>
                    <a:lnTo>
                      <a:pt x="80963" y="7144"/>
                    </a:lnTo>
                    <a:cubicBezTo>
                      <a:pt x="80963" y="3238"/>
                      <a:pt x="84201" y="0"/>
                      <a:pt x="88106" y="0"/>
                    </a:cubicBezTo>
                    <a:cubicBezTo>
                      <a:pt x="92012" y="0"/>
                      <a:pt x="95250" y="3238"/>
                      <a:pt x="95250" y="7144"/>
                    </a:cubicBezTo>
                    <a:lnTo>
                      <a:pt x="95250" y="47625"/>
                    </a:lnTo>
                    <a:cubicBezTo>
                      <a:pt x="95250" y="63246"/>
                      <a:pt x="74771" y="75057"/>
                      <a:pt x="47625" y="7505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18" name="Grafik 244">
              <a:extLst>
                <a:ext uri="{FF2B5EF4-FFF2-40B4-BE49-F238E27FC236}">
                  <a16:creationId xmlns:a16="http://schemas.microsoft.com/office/drawing/2014/main" id="{14227A84-385A-0E81-7848-8FA24AC63CBF}"/>
                </a:ext>
              </a:extLst>
            </p:cNvPr>
            <p:cNvGrpSpPr/>
            <p:nvPr/>
          </p:nvGrpSpPr>
          <p:grpSpPr bwMode="gray">
            <a:xfrm>
              <a:off x="5900356" y="3411378"/>
              <a:ext cx="95250" cy="95440"/>
              <a:chOff x="5900356" y="3411378"/>
              <a:chExt cx="95250" cy="95440"/>
            </a:xfrm>
            <a:grpFill/>
          </p:grpSpPr>
          <p:sp>
            <p:nvSpPr>
              <p:cNvPr id="627" name="Grafik 244">
                <a:extLst>
                  <a:ext uri="{FF2B5EF4-FFF2-40B4-BE49-F238E27FC236}">
                    <a16:creationId xmlns:a16="http://schemas.microsoft.com/office/drawing/2014/main" id="{CCA60A8C-B2D2-0529-4776-A9B64AE260C7}"/>
                  </a:ext>
                </a:extLst>
              </p:cNvPr>
              <p:cNvSpPr/>
              <p:nvPr/>
            </p:nvSpPr>
            <p:spPr bwMode="gray">
              <a:xfrm>
                <a:off x="5900356" y="3411378"/>
                <a:ext cx="95250" cy="54864"/>
              </a:xfrm>
              <a:custGeom>
                <a:avLst/>
                <a:gdLst>
                  <a:gd name="connsiteX0" fmla="*/ 47625 w 95250"/>
                  <a:gd name="connsiteY0" fmla="*/ 54864 h 54864"/>
                  <a:gd name="connsiteX1" fmla="*/ 0 w 95250"/>
                  <a:gd name="connsiteY1" fmla="*/ 27432 h 54864"/>
                  <a:gd name="connsiteX2" fmla="*/ 47625 w 95250"/>
                  <a:gd name="connsiteY2" fmla="*/ 0 h 54864"/>
                  <a:gd name="connsiteX3" fmla="*/ 95250 w 95250"/>
                  <a:gd name="connsiteY3" fmla="*/ 27432 h 54864"/>
                  <a:gd name="connsiteX4" fmla="*/ 47625 w 95250"/>
                  <a:gd name="connsiteY4" fmla="*/ 54864 h 54864"/>
                  <a:gd name="connsiteX5" fmla="*/ 47625 w 95250"/>
                  <a:gd name="connsiteY5" fmla="*/ 14383 h 54864"/>
                  <a:gd name="connsiteX6" fmla="*/ 14288 w 95250"/>
                  <a:gd name="connsiteY6" fmla="*/ 27527 h 54864"/>
                  <a:gd name="connsiteX7" fmla="*/ 47625 w 95250"/>
                  <a:gd name="connsiteY7" fmla="*/ 40672 h 54864"/>
                  <a:gd name="connsiteX8" fmla="*/ 80963 w 95250"/>
                  <a:gd name="connsiteY8" fmla="*/ 27527 h 54864"/>
                  <a:gd name="connsiteX9" fmla="*/ 47625 w 95250"/>
                  <a:gd name="connsiteY9" fmla="*/ 14383 h 54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5250" h="54864">
                    <a:moveTo>
                      <a:pt x="47625" y="54864"/>
                    </a:moveTo>
                    <a:cubicBezTo>
                      <a:pt x="20479" y="54864"/>
                      <a:pt x="0" y="43053"/>
                      <a:pt x="0" y="27432"/>
                    </a:cubicBezTo>
                    <a:cubicBezTo>
                      <a:pt x="0" y="11811"/>
                      <a:pt x="20479" y="0"/>
                      <a:pt x="47625" y="0"/>
                    </a:cubicBezTo>
                    <a:cubicBezTo>
                      <a:pt x="74771" y="0"/>
                      <a:pt x="95250" y="11811"/>
                      <a:pt x="95250" y="27432"/>
                    </a:cubicBezTo>
                    <a:cubicBezTo>
                      <a:pt x="95250" y="43053"/>
                      <a:pt x="74771" y="54864"/>
                      <a:pt x="47625" y="54864"/>
                    </a:cubicBezTo>
                    <a:close/>
                    <a:moveTo>
                      <a:pt x="47625" y="14383"/>
                    </a:moveTo>
                    <a:cubicBezTo>
                      <a:pt x="27527" y="14383"/>
                      <a:pt x="14288" y="22289"/>
                      <a:pt x="14288" y="27527"/>
                    </a:cubicBezTo>
                    <a:cubicBezTo>
                      <a:pt x="14288" y="32766"/>
                      <a:pt x="27622" y="40672"/>
                      <a:pt x="47625" y="40672"/>
                    </a:cubicBezTo>
                    <a:cubicBezTo>
                      <a:pt x="67628" y="40672"/>
                      <a:pt x="80963" y="32766"/>
                      <a:pt x="80963" y="27527"/>
                    </a:cubicBezTo>
                    <a:cubicBezTo>
                      <a:pt x="80963" y="22289"/>
                      <a:pt x="67628" y="14383"/>
                      <a:pt x="47625" y="143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8" name="Grafik 244">
                <a:extLst>
                  <a:ext uri="{FF2B5EF4-FFF2-40B4-BE49-F238E27FC236}">
                    <a16:creationId xmlns:a16="http://schemas.microsoft.com/office/drawing/2014/main" id="{E14AAD46-1D68-34C9-82A1-9EF348139607}"/>
                  </a:ext>
                </a:extLst>
              </p:cNvPr>
              <p:cNvSpPr/>
              <p:nvPr/>
            </p:nvSpPr>
            <p:spPr bwMode="gray">
              <a:xfrm>
                <a:off x="5900356" y="3431761"/>
                <a:ext cx="95250" cy="75056"/>
              </a:xfrm>
              <a:custGeom>
                <a:avLst/>
                <a:gdLst>
                  <a:gd name="connsiteX0" fmla="*/ 47625 w 95250"/>
                  <a:gd name="connsiteY0" fmla="*/ 75057 h 75056"/>
                  <a:gd name="connsiteX1" fmla="*/ 0 w 95250"/>
                  <a:gd name="connsiteY1" fmla="*/ 47625 h 75056"/>
                  <a:gd name="connsiteX2" fmla="*/ 0 w 95250"/>
                  <a:gd name="connsiteY2" fmla="*/ 7144 h 75056"/>
                  <a:gd name="connsiteX3" fmla="*/ 7144 w 95250"/>
                  <a:gd name="connsiteY3" fmla="*/ 0 h 75056"/>
                  <a:gd name="connsiteX4" fmla="*/ 14288 w 95250"/>
                  <a:gd name="connsiteY4" fmla="*/ 7144 h 75056"/>
                  <a:gd name="connsiteX5" fmla="*/ 14288 w 95250"/>
                  <a:gd name="connsiteY5" fmla="*/ 47625 h 75056"/>
                  <a:gd name="connsiteX6" fmla="*/ 47625 w 95250"/>
                  <a:gd name="connsiteY6" fmla="*/ 60769 h 75056"/>
                  <a:gd name="connsiteX7" fmla="*/ 80963 w 95250"/>
                  <a:gd name="connsiteY7" fmla="*/ 47625 h 75056"/>
                  <a:gd name="connsiteX8" fmla="*/ 80963 w 95250"/>
                  <a:gd name="connsiteY8" fmla="*/ 7144 h 75056"/>
                  <a:gd name="connsiteX9" fmla="*/ 88106 w 95250"/>
                  <a:gd name="connsiteY9" fmla="*/ 0 h 75056"/>
                  <a:gd name="connsiteX10" fmla="*/ 95250 w 95250"/>
                  <a:gd name="connsiteY10" fmla="*/ 7144 h 75056"/>
                  <a:gd name="connsiteX11" fmla="*/ 95250 w 95250"/>
                  <a:gd name="connsiteY11" fmla="*/ 47625 h 75056"/>
                  <a:gd name="connsiteX12" fmla="*/ 47625 w 95250"/>
                  <a:gd name="connsiteY12" fmla="*/ 75057 h 75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5250" h="75056">
                    <a:moveTo>
                      <a:pt x="47625" y="75057"/>
                    </a:moveTo>
                    <a:cubicBezTo>
                      <a:pt x="20479" y="75057"/>
                      <a:pt x="0" y="63246"/>
                      <a:pt x="0" y="47625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cubicBezTo>
                      <a:pt x="11049" y="0"/>
                      <a:pt x="14288" y="3238"/>
                      <a:pt x="14288" y="7144"/>
                    </a:cubicBezTo>
                    <a:lnTo>
                      <a:pt x="14288" y="47625"/>
                    </a:lnTo>
                    <a:cubicBezTo>
                      <a:pt x="14288" y="52864"/>
                      <a:pt x="27622" y="60769"/>
                      <a:pt x="47625" y="60769"/>
                    </a:cubicBezTo>
                    <a:cubicBezTo>
                      <a:pt x="67628" y="60769"/>
                      <a:pt x="80963" y="52864"/>
                      <a:pt x="80963" y="47625"/>
                    </a:cubicBezTo>
                    <a:lnTo>
                      <a:pt x="80963" y="7144"/>
                    </a:lnTo>
                    <a:cubicBezTo>
                      <a:pt x="80963" y="3238"/>
                      <a:pt x="84201" y="0"/>
                      <a:pt x="88106" y="0"/>
                    </a:cubicBezTo>
                    <a:cubicBezTo>
                      <a:pt x="92012" y="0"/>
                      <a:pt x="95250" y="3238"/>
                      <a:pt x="95250" y="7144"/>
                    </a:cubicBezTo>
                    <a:lnTo>
                      <a:pt x="95250" y="47625"/>
                    </a:lnTo>
                    <a:cubicBezTo>
                      <a:pt x="95250" y="63246"/>
                      <a:pt x="74771" y="75057"/>
                      <a:pt x="47625" y="7505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19" name="Grafik 244">
              <a:extLst>
                <a:ext uri="{FF2B5EF4-FFF2-40B4-BE49-F238E27FC236}">
                  <a16:creationId xmlns:a16="http://schemas.microsoft.com/office/drawing/2014/main" id="{92F08A8E-89EA-440E-0176-DC35F82ED2B5}"/>
                </a:ext>
              </a:extLst>
            </p:cNvPr>
            <p:cNvGrpSpPr/>
            <p:nvPr/>
          </p:nvGrpSpPr>
          <p:grpSpPr bwMode="gray">
            <a:xfrm>
              <a:off x="6127146" y="3411378"/>
              <a:ext cx="95250" cy="95440"/>
              <a:chOff x="6127146" y="3411378"/>
              <a:chExt cx="95250" cy="95440"/>
            </a:xfrm>
            <a:grpFill/>
          </p:grpSpPr>
          <p:sp>
            <p:nvSpPr>
              <p:cNvPr id="625" name="Grafik 244">
                <a:extLst>
                  <a:ext uri="{FF2B5EF4-FFF2-40B4-BE49-F238E27FC236}">
                    <a16:creationId xmlns:a16="http://schemas.microsoft.com/office/drawing/2014/main" id="{9EBCE20F-3C58-CA81-D37C-980E11B0229D}"/>
                  </a:ext>
                </a:extLst>
              </p:cNvPr>
              <p:cNvSpPr/>
              <p:nvPr/>
            </p:nvSpPr>
            <p:spPr bwMode="gray">
              <a:xfrm>
                <a:off x="6127146" y="3411378"/>
                <a:ext cx="95250" cy="54864"/>
              </a:xfrm>
              <a:custGeom>
                <a:avLst/>
                <a:gdLst>
                  <a:gd name="connsiteX0" fmla="*/ 47625 w 95250"/>
                  <a:gd name="connsiteY0" fmla="*/ 54864 h 54864"/>
                  <a:gd name="connsiteX1" fmla="*/ 0 w 95250"/>
                  <a:gd name="connsiteY1" fmla="*/ 27432 h 54864"/>
                  <a:gd name="connsiteX2" fmla="*/ 47625 w 95250"/>
                  <a:gd name="connsiteY2" fmla="*/ 0 h 54864"/>
                  <a:gd name="connsiteX3" fmla="*/ 95250 w 95250"/>
                  <a:gd name="connsiteY3" fmla="*/ 27432 h 54864"/>
                  <a:gd name="connsiteX4" fmla="*/ 47625 w 95250"/>
                  <a:gd name="connsiteY4" fmla="*/ 54864 h 54864"/>
                  <a:gd name="connsiteX5" fmla="*/ 47625 w 95250"/>
                  <a:gd name="connsiteY5" fmla="*/ 14383 h 54864"/>
                  <a:gd name="connsiteX6" fmla="*/ 14288 w 95250"/>
                  <a:gd name="connsiteY6" fmla="*/ 27527 h 54864"/>
                  <a:gd name="connsiteX7" fmla="*/ 47625 w 95250"/>
                  <a:gd name="connsiteY7" fmla="*/ 40672 h 54864"/>
                  <a:gd name="connsiteX8" fmla="*/ 80963 w 95250"/>
                  <a:gd name="connsiteY8" fmla="*/ 27527 h 54864"/>
                  <a:gd name="connsiteX9" fmla="*/ 47625 w 95250"/>
                  <a:gd name="connsiteY9" fmla="*/ 14383 h 54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5250" h="54864">
                    <a:moveTo>
                      <a:pt x="47625" y="54864"/>
                    </a:moveTo>
                    <a:cubicBezTo>
                      <a:pt x="20479" y="54864"/>
                      <a:pt x="0" y="43053"/>
                      <a:pt x="0" y="27432"/>
                    </a:cubicBezTo>
                    <a:cubicBezTo>
                      <a:pt x="0" y="11811"/>
                      <a:pt x="20479" y="0"/>
                      <a:pt x="47625" y="0"/>
                    </a:cubicBezTo>
                    <a:cubicBezTo>
                      <a:pt x="74771" y="0"/>
                      <a:pt x="95250" y="11811"/>
                      <a:pt x="95250" y="27432"/>
                    </a:cubicBezTo>
                    <a:cubicBezTo>
                      <a:pt x="95250" y="43053"/>
                      <a:pt x="74771" y="54864"/>
                      <a:pt x="47625" y="54864"/>
                    </a:cubicBezTo>
                    <a:close/>
                    <a:moveTo>
                      <a:pt x="47625" y="14383"/>
                    </a:moveTo>
                    <a:cubicBezTo>
                      <a:pt x="27527" y="14383"/>
                      <a:pt x="14288" y="22289"/>
                      <a:pt x="14288" y="27527"/>
                    </a:cubicBezTo>
                    <a:cubicBezTo>
                      <a:pt x="14288" y="32766"/>
                      <a:pt x="27622" y="40672"/>
                      <a:pt x="47625" y="40672"/>
                    </a:cubicBezTo>
                    <a:cubicBezTo>
                      <a:pt x="67627" y="40672"/>
                      <a:pt x="80963" y="32766"/>
                      <a:pt x="80963" y="27527"/>
                    </a:cubicBezTo>
                    <a:cubicBezTo>
                      <a:pt x="80963" y="22289"/>
                      <a:pt x="67627" y="14383"/>
                      <a:pt x="47625" y="143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6" name="Grafik 244">
                <a:extLst>
                  <a:ext uri="{FF2B5EF4-FFF2-40B4-BE49-F238E27FC236}">
                    <a16:creationId xmlns:a16="http://schemas.microsoft.com/office/drawing/2014/main" id="{51EFCF68-B31E-A8DD-7D16-DCEC26C94BA5}"/>
                  </a:ext>
                </a:extLst>
              </p:cNvPr>
              <p:cNvSpPr/>
              <p:nvPr/>
            </p:nvSpPr>
            <p:spPr bwMode="gray">
              <a:xfrm>
                <a:off x="6127146" y="3431761"/>
                <a:ext cx="95250" cy="75056"/>
              </a:xfrm>
              <a:custGeom>
                <a:avLst/>
                <a:gdLst>
                  <a:gd name="connsiteX0" fmla="*/ 47625 w 95250"/>
                  <a:gd name="connsiteY0" fmla="*/ 75057 h 75056"/>
                  <a:gd name="connsiteX1" fmla="*/ 0 w 95250"/>
                  <a:gd name="connsiteY1" fmla="*/ 47625 h 75056"/>
                  <a:gd name="connsiteX2" fmla="*/ 0 w 95250"/>
                  <a:gd name="connsiteY2" fmla="*/ 7144 h 75056"/>
                  <a:gd name="connsiteX3" fmla="*/ 7144 w 95250"/>
                  <a:gd name="connsiteY3" fmla="*/ 0 h 75056"/>
                  <a:gd name="connsiteX4" fmla="*/ 14288 w 95250"/>
                  <a:gd name="connsiteY4" fmla="*/ 7144 h 75056"/>
                  <a:gd name="connsiteX5" fmla="*/ 14288 w 95250"/>
                  <a:gd name="connsiteY5" fmla="*/ 47625 h 75056"/>
                  <a:gd name="connsiteX6" fmla="*/ 47625 w 95250"/>
                  <a:gd name="connsiteY6" fmla="*/ 60769 h 75056"/>
                  <a:gd name="connsiteX7" fmla="*/ 80963 w 95250"/>
                  <a:gd name="connsiteY7" fmla="*/ 47625 h 75056"/>
                  <a:gd name="connsiteX8" fmla="*/ 80963 w 95250"/>
                  <a:gd name="connsiteY8" fmla="*/ 7144 h 75056"/>
                  <a:gd name="connsiteX9" fmla="*/ 88106 w 95250"/>
                  <a:gd name="connsiteY9" fmla="*/ 0 h 75056"/>
                  <a:gd name="connsiteX10" fmla="*/ 95250 w 95250"/>
                  <a:gd name="connsiteY10" fmla="*/ 7144 h 75056"/>
                  <a:gd name="connsiteX11" fmla="*/ 95250 w 95250"/>
                  <a:gd name="connsiteY11" fmla="*/ 47625 h 75056"/>
                  <a:gd name="connsiteX12" fmla="*/ 47625 w 95250"/>
                  <a:gd name="connsiteY12" fmla="*/ 75057 h 75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5250" h="75056">
                    <a:moveTo>
                      <a:pt x="47625" y="75057"/>
                    </a:moveTo>
                    <a:cubicBezTo>
                      <a:pt x="20479" y="75057"/>
                      <a:pt x="0" y="63246"/>
                      <a:pt x="0" y="47625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cubicBezTo>
                      <a:pt x="11049" y="0"/>
                      <a:pt x="14288" y="3238"/>
                      <a:pt x="14288" y="7144"/>
                    </a:cubicBezTo>
                    <a:lnTo>
                      <a:pt x="14288" y="47625"/>
                    </a:lnTo>
                    <a:cubicBezTo>
                      <a:pt x="14288" y="52864"/>
                      <a:pt x="27622" y="60769"/>
                      <a:pt x="47625" y="60769"/>
                    </a:cubicBezTo>
                    <a:cubicBezTo>
                      <a:pt x="67627" y="60769"/>
                      <a:pt x="80963" y="52864"/>
                      <a:pt x="80963" y="47625"/>
                    </a:cubicBezTo>
                    <a:lnTo>
                      <a:pt x="80963" y="7144"/>
                    </a:lnTo>
                    <a:cubicBezTo>
                      <a:pt x="80963" y="3238"/>
                      <a:pt x="84201" y="0"/>
                      <a:pt x="88106" y="0"/>
                    </a:cubicBezTo>
                    <a:cubicBezTo>
                      <a:pt x="92012" y="0"/>
                      <a:pt x="95250" y="3238"/>
                      <a:pt x="95250" y="7144"/>
                    </a:cubicBezTo>
                    <a:lnTo>
                      <a:pt x="95250" y="47625"/>
                    </a:lnTo>
                    <a:cubicBezTo>
                      <a:pt x="95250" y="63246"/>
                      <a:pt x="74771" y="75057"/>
                      <a:pt x="47625" y="7505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620" name="Grafik 244">
              <a:extLst>
                <a:ext uri="{FF2B5EF4-FFF2-40B4-BE49-F238E27FC236}">
                  <a16:creationId xmlns:a16="http://schemas.microsoft.com/office/drawing/2014/main" id="{2EDD20EB-9CBD-57B9-C9EB-0B301B6487D4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1" name="Grafik 244">
              <a:extLst>
                <a:ext uri="{FF2B5EF4-FFF2-40B4-BE49-F238E27FC236}">
                  <a16:creationId xmlns:a16="http://schemas.microsoft.com/office/drawing/2014/main" id="{A7C4015E-05D9-25E4-D3FA-4E39796DF832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2" name="Grafik 244">
              <a:extLst>
                <a:ext uri="{FF2B5EF4-FFF2-40B4-BE49-F238E27FC236}">
                  <a16:creationId xmlns:a16="http://schemas.microsoft.com/office/drawing/2014/main" id="{8C21FE39-929B-DC4E-C544-61D5D4972927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3" name="Grafik 244">
              <a:extLst>
                <a:ext uri="{FF2B5EF4-FFF2-40B4-BE49-F238E27FC236}">
                  <a16:creationId xmlns:a16="http://schemas.microsoft.com/office/drawing/2014/main" id="{EA416582-42E9-4E2B-51BA-63BCFD3E48DA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4" name="Grafik 244">
              <a:extLst>
                <a:ext uri="{FF2B5EF4-FFF2-40B4-BE49-F238E27FC236}">
                  <a16:creationId xmlns:a16="http://schemas.microsoft.com/office/drawing/2014/main" id="{F4ECDC87-C1F4-7D95-C7A6-00CC0FBBD31A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631" name="Grafik 3759">
            <a:extLst>
              <a:ext uri="{FF2B5EF4-FFF2-40B4-BE49-F238E27FC236}">
                <a16:creationId xmlns:a16="http://schemas.microsoft.com/office/drawing/2014/main" id="{65367659-583F-65DE-E3D4-4C43A05E4A5A}"/>
              </a:ext>
            </a:extLst>
          </p:cNvPr>
          <p:cNvGrpSpPr/>
          <p:nvPr/>
        </p:nvGrpSpPr>
        <p:grpSpPr bwMode="gray">
          <a:xfrm>
            <a:off x="6615255" y="5031047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632" name="Grafik 3759">
              <a:extLst>
                <a:ext uri="{FF2B5EF4-FFF2-40B4-BE49-F238E27FC236}">
                  <a16:creationId xmlns:a16="http://schemas.microsoft.com/office/drawing/2014/main" id="{ACB1411C-0D47-73E5-8638-55EB40A6A64F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633" name="Grafik 3759">
              <a:extLst>
                <a:ext uri="{FF2B5EF4-FFF2-40B4-BE49-F238E27FC236}">
                  <a16:creationId xmlns:a16="http://schemas.microsoft.com/office/drawing/2014/main" id="{2F0B78F8-9E91-6613-1867-6381998FB1BF}"/>
                </a:ext>
              </a:extLst>
            </p:cNvPr>
            <p:cNvGrpSpPr/>
            <p:nvPr/>
          </p:nvGrpSpPr>
          <p:grpSpPr bwMode="gray">
            <a:xfrm>
              <a:off x="5928683" y="3219140"/>
              <a:ext cx="330215" cy="172140"/>
              <a:chOff x="5928683" y="3219140"/>
              <a:chExt cx="330215" cy="172140"/>
            </a:xfrm>
            <a:grpFill/>
          </p:grpSpPr>
          <p:grpSp>
            <p:nvGrpSpPr>
              <p:cNvPr id="635" name="Grafik 3759">
                <a:extLst>
                  <a:ext uri="{FF2B5EF4-FFF2-40B4-BE49-F238E27FC236}">
                    <a16:creationId xmlns:a16="http://schemas.microsoft.com/office/drawing/2014/main" id="{DAA827AD-E78D-2B10-2953-D3B1028F46D8}"/>
                  </a:ext>
                </a:extLst>
              </p:cNvPr>
              <p:cNvGrpSpPr/>
              <p:nvPr/>
            </p:nvGrpSpPr>
            <p:grpSpPr bwMode="gray">
              <a:xfrm>
                <a:off x="6135147" y="3286638"/>
                <a:ext cx="123750" cy="37204"/>
                <a:chOff x="6135147" y="3286638"/>
                <a:chExt cx="123750" cy="37204"/>
              </a:xfrm>
              <a:grpFill/>
            </p:grpSpPr>
            <p:sp>
              <p:nvSpPr>
                <p:cNvPr id="665" name="Grafik 3759">
                  <a:extLst>
                    <a:ext uri="{FF2B5EF4-FFF2-40B4-BE49-F238E27FC236}">
                      <a16:creationId xmlns:a16="http://schemas.microsoft.com/office/drawing/2014/main" id="{7B926232-3A23-72DD-01BB-9E8CBD6223F6}"/>
                    </a:ext>
                  </a:extLst>
                </p:cNvPr>
                <p:cNvSpPr/>
                <p:nvPr/>
              </p:nvSpPr>
              <p:spPr bwMode="gray">
                <a:xfrm>
                  <a:off x="6135147" y="3298126"/>
                  <a:ext cx="123539" cy="14287"/>
                </a:xfrm>
                <a:custGeom>
                  <a:avLst/>
                  <a:gdLst>
                    <a:gd name="connsiteX0" fmla="*/ 116491 w 123539"/>
                    <a:gd name="connsiteY0" fmla="*/ 14288 h 14287"/>
                    <a:gd name="connsiteX1" fmla="*/ 7144 w 123539"/>
                    <a:gd name="connsiteY1" fmla="*/ 14288 h 14287"/>
                    <a:gd name="connsiteX2" fmla="*/ 0 w 123539"/>
                    <a:gd name="connsiteY2" fmla="*/ 7144 h 14287"/>
                    <a:gd name="connsiteX3" fmla="*/ 7144 w 123539"/>
                    <a:gd name="connsiteY3" fmla="*/ 0 h 14287"/>
                    <a:gd name="connsiteX4" fmla="*/ 116396 w 123539"/>
                    <a:gd name="connsiteY4" fmla="*/ 0 h 14287"/>
                    <a:gd name="connsiteX5" fmla="*/ 123539 w 123539"/>
                    <a:gd name="connsiteY5" fmla="*/ 7144 h 14287"/>
                    <a:gd name="connsiteX6" fmla="*/ 116491 w 12353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3539" h="14287">
                      <a:moveTo>
                        <a:pt x="116491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6396" y="0"/>
                      </a:lnTo>
                      <a:cubicBezTo>
                        <a:pt x="120301" y="0"/>
                        <a:pt x="123539" y="3239"/>
                        <a:pt x="123539" y="7144"/>
                      </a:cubicBezTo>
                      <a:cubicBezTo>
                        <a:pt x="123539" y="11049"/>
                        <a:pt x="120396" y="14288"/>
                        <a:pt x="116491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6" name="Grafik 3759">
                  <a:extLst>
                    <a:ext uri="{FF2B5EF4-FFF2-40B4-BE49-F238E27FC236}">
                      <a16:creationId xmlns:a16="http://schemas.microsoft.com/office/drawing/2014/main" id="{707D1F32-2895-DC5C-BF56-06E743C6C3EA}"/>
                    </a:ext>
                  </a:extLst>
                </p:cNvPr>
                <p:cNvSpPr/>
                <p:nvPr/>
              </p:nvSpPr>
              <p:spPr bwMode="gray">
                <a:xfrm>
                  <a:off x="6221576" y="3286638"/>
                  <a:ext cx="37262" cy="25774"/>
                </a:xfrm>
                <a:custGeom>
                  <a:avLst/>
                  <a:gdLst>
                    <a:gd name="connsiteX0" fmla="*/ 30061 w 37262"/>
                    <a:gd name="connsiteY0" fmla="*/ 25775 h 25774"/>
                    <a:gd name="connsiteX1" fmla="*/ 26918 w 37262"/>
                    <a:gd name="connsiteY1" fmla="*/ 25013 h 25774"/>
                    <a:gd name="connsiteX2" fmla="*/ 3963 w 37262"/>
                    <a:gd name="connsiteY2" fmla="*/ 13583 h 25774"/>
                    <a:gd name="connsiteX3" fmla="*/ 724 w 37262"/>
                    <a:gd name="connsiteY3" fmla="*/ 3963 h 25774"/>
                    <a:gd name="connsiteX4" fmla="*/ 10344 w 37262"/>
                    <a:gd name="connsiteY4" fmla="*/ 724 h 25774"/>
                    <a:gd name="connsiteX5" fmla="*/ 33300 w 37262"/>
                    <a:gd name="connsiteY5" fmla="*/ 12154 h 25774"/>
                    <a:gd name="connsiteX6" fmla="*/ 36538 w 37262"/>
                    <a:gd name="connsiteY6" fmla="*/ 21774 h 25774"/>
                    <a:gd name="connsiteX7" fmla="*/ 30061 w 37262"/>
                    <a:gd name="connsiteY7" fmla="*/ 25775 h 257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262" h="25774">
                      <a:moveTo>
                        <a:pt x="30061" y="25775"/>
                      </a:moveTo>
                      <a:cubicBezTo>
                        <a:pt x="29013" y="25775"/>
                        <a:pt x="27870" y="25489"/>
                        <a:pt x="26918" y="250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33300" y="12154"/>
                      </a:lnTo>
                      <a:cubicBezTo>
                        <a:pt x="36824" y="13964"/>
                        <a:pt x="38253" y="18250"/>
                        <a:pt x="36538" y="21774"/>
                      </a:cubicBezTo>
                      <a:cubicBezTo>
                        <a:pt x="35205" y="24251"/>
                        <a:pt x="32633" y="25775"/>
                        <a:pt x="30061" y="257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7" name="Grafik 3759">
                  <a:extLst>
                    <a:ext uri="{FF2B5EF4-FFF2-40B4-BE49-F238E27FC236}">
                      <a16:creationId xmlns:a16="http://schemas.microsoft.com/office/drawing/2014/main" id="{296B3D3B-5898-63FB-5D37-520E95BE136E}"/>
                    </a:ext>
                  </a:extLst>
                </p:cNvPr>
                <p:cNvSpPr/>
                <p:nvPr/>
              </p:nvSpPr>
              <p:spPr bwMode="gray">
                <a:xfrm>
                  <a:off x="6221517" y="3298144"/>
                  <a:ext cx="37380" cy="25699"/>
                </a:xfrm>
                <a:custGeom>
                  <a:avLst/>
                  <a:gdLst>
                    <a:gd name="connsiteX0" fmla="*/ 7165 w 37380"/>
                    <a:gd name="connsiteY0" fmla="*/ 25699 h 25699"/>
                    <a:gd name="connsiteX1" fmla="*/ 783 w 37380"/>
                    <a:gd name="connsiteY1" fmla="*/ 21794 h 25699"/>
                    <a:gd name="connsiteX2" fmla="*/ 4022 w 37380"/>
                    <a:gd name="connsiteY2" fmla="*/ 12174 h 25699"/>
                    <a:gd name="connsiteX3" fmla="*/ 26977 w 37380"/>
                    <a:gd name="connsiteY3" fmla="*/ 744 h 25699"/>
                    <a:gd name="connsiteX4" fmla="*/ 36597 w 37380"/>
                    <a:gd name="connsiteY4" fmla="*/ 3887 h 25699"/>
                    <a:gd name="connsiteX5" fmla="*/ 33359 w 37380"/>
                    <a:gd name="connsiteY5" fmla="*/ 13507 h 25699"/>
                    <a:gd name="connsiteX6" fmla="*/ 10403 w 37380"/>
                    <a:gd name="connsiteY6" fmla="*/ 24937 h 25699"/>
                    <a:gd name="connsiteX7" fmla="*/ 7165 w 37380"/>
                    <a:gd name="connsiteY7" fmla="*/ 25699 h 25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380" h="25699">
                      <a:moveTo>
                        <a:pt x="7165" y="25699"/>
                      </a:moveTo>
                      <a:cubicBezTo>
                        <a:pt x="4593" y="25699"/>
                        <a:pt x="2021" y="24270"/>
                        <a:pt x="783" y="21794"/>
                      </a:cubicBezTo>
                      <a:cubicBezTo>
                        <a:pt x="-1027" y="18270"/>
                        <a:pt x="402" y="13983"/>
                        <a:pt x="4022" y="12174"/>
                      </a:cubicBezTo>
                      <a:lnTo>
                        <a:pt x="26977" y="744"/>
                      </a:lnTo>
                      <a:cubicBezTo>
                        <a:pt x="30501" y="-971"/>
                        <a:pt x="34787" y="363"/>
                        <a:pt x="36597" y="3887"/>
                      </a:cubicBezTo>
                      <a:cubicBezTo>
                        <a:pt x="38407" y="7411"/>
                        <a:pt x="36978" y="11697"/>
                        <a:pt x="33359" y="13507"/>
                      </a:cubicBezTo>
                      <a:lnTo>
                        <a:pt x="10403" y="24937"/>
                      </a:lnTo>
                      <a:cubicBezTo>
                        <a:pt x="9356" y="25413"/>
                        <a:pt x="8308" y="25699"/>
                        <a:pt x="7165" y="256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36" name="Grafik 3759">
                <a:extLst>
                  <a:ext uri="{FF2B5EF4-FFF2-40B4-BE49-F238E27FC236}">
                    <a16:creationId xmlns:a16="http://schemas.microsoft.com/office/drawing/2014/main" id="{8C3285E9-682C-7F30-E2AE-06A47618F18A}"/>
                  </a:ext>
                </a:extLst>
              </p:cNvPr>
              <p:cNvGrpSpPr/>
              <p:nvPr/>
            </p:nvGrpSpPr>
            <p:grpSpPr bwMode="gray">
              <a:xfrm>
                <a:off x="5928683" y="3286714"/>
                <a:ext cx="123596" cy="37129"/>
                <a:chOff x="5928683" y="3286714"/>
                <a:chExt cx="123596" cy="37129"/>
              </a:xfrm>
              <a:grpFill/>
            </p:grpSpPr>
            <p:sp>
              <p:nvSpPr>
                <p:cNvPr id="662" name="Grafik 3759">
                  <a:extLst>
                    <a:ext uri="{FF2B5EF4-FFF2-40B4-BE49-F238E27FC236}">
                      <a16:creationId xmlns:a16="http://schemas.microsoft.com/office/drawing/2014/main" id="{B07AF139-1AE2-F8DC-2229-8A371DD9EBAA}"/>
                    </a:ext>
                  </a:extLst>
                </p:cNvPr>
                <p:cNvSpPr/>
                <p:nvPr/>
              </p:nvSpPr>
              <p:spPr bwMode="gray">
                <a:xfrm>
                  <a:off x="5928740" y="3298126"/>
                  <a:ext cx="123539" cy="14287"/>
                </a:xfrm>
                <a:custGeom>
                  <a:avLst/>
                  <a:gdLst>
                    <a:gd name="connsiteX0" fmla="*/ 116396 w 123539"/>
                    <a:gd name="connsiteY0" fmla="*/ 14288 h 14287"/>
                    <a:gd name="connsiteX1" fmla="*/ 7144 w 123539"/>
                    <a:gd name="connsiteY1" fmla="*/ 14288 h 14287"/>
                    <a:gd name="connsiteX2" fmla="*/ 0 w 123539"/>
                    <a:gd name="connsiteY2" fmla="*/ 7144 h 14287"/>
                    <a:gd name="connsiteX3" fmla="*/ 7144 w 123539"/>
                    <a:gd name="connsiteY3" fmla="*/ 0 h 14287"/>
                    <a:gd name="connsiteX4" fmla="*/ 116396 w 123539"/>
                    <a:gd name="connsiteY4" fmla="*/ 0 h 14287"/>
                    <a:gd name="connsiteX5" fmla="*/ 123539 w 123539"/>
                    <a:gd name="connsiteY5" fmla="*/ 7144 h 14287"/>
                    <a:gd name="connsiteX6" fmla="*/ 116396 w 12353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3539" h="14287">
                      <a:moveTo>
                        <a:pt x="11639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6396" y="0"/>
                      </a:lnTo>
                      <a:cubicBezTo>
                        <a:pt x="120301" y="0"/>
                        <a:pt x="123539" y="3239"/>
                        <a:pt x="123539" y="7144"/>
                      </a:cubicBezTo>
                      <a:cubicBezTo>
                        <a:pt x="123539" y="11049"/>
                        <a:pt x="120301" y="14288"/>
                        <a:pt x="11639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3" name="Grafik 3759">
                  <a:extLst>
                    <a:ext uri="{FF2B5EF4-FFF2-40B4-BE49-F238E27FC236}">
                      <a16:creationId xmlns:a16="http://schemas.microsoft.com/office/drawing/2014/main" id="{D128A85D-B5BB-AC20-9541-A83F138C4253}"/>
                    </a:ext>
                  </a:extLst>
                </p:cNvPr>
                <p:cNvSpPr/>
                <p:nvPr/>
              </p:nvSpPr>
              <p:spPr bwMode="gray">
                <a:xfrm>
                  <a:off x="5928683" y="3298068"/>
                  <a:ext cx="37262" cy="25774"/>
                </a:xfrm>
                <a:custGeom>
                  <a:avLst/>
                  <a:gdLst>
                    <a:gd name="connsiteX0" fmla="*/ 30061 w 37262"/>
                    <a:gd name="connsiteY0" fmla="*/ 25775 h 25774"/>
                    <a:gd name="connsiteX1" fmla="*/ 26918 w 37262"/>
                    <a:gd name="connsiteY1" fmla="*/ 25013 h 25774"/>
                    <a:gd name="connsiteX2" fmla="*/ 3963 w 37262"/>
                    <a:gd name="connsiteY2" fmla="*/ 13583 h 25774"/>
                    <a:gd name="connsiteX3" fmla="*/ 724 w 37262"/>
                    <a:gd name="connsiteY3" fmla="*/ 3963 h 25774"/>
                    <a:gd name="connsiteX4" fmla="*/ 10344 w 37262"/>
                    <a:gd name="connsiteY4" fmla="*/ 724 h 25774"/>
                    <a:gd name="connsiteX5" fmla="*/ 33300 w 37262"/>
                    <a:gd name="connsiteY5" fmla="*/ 12154 h 25774"/>
                    <a:gd name="connsiteX6" fmla="*/ 36538 w 37262"/>
                    <a:gd name="connsiteY6" fmla="*/ 21774 h 25774"/>
                    <a:gd name="connsiteX7" fmla="*/ 30061 w 37262"/>
                    <a:gd name="connsiteY7" fmla="*/ 25775 h 257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262" h="25774">
                      <a:moveTo>
                        <a:pt x="30061" y="25775"/>
                      </a:moveTo>
                      <a:cubicBezTo>
                        <a:pt x="29013" y="25775"/>
                        <a:pt x="27870" y="25489"/>
                        <a:pt x="26918" y="250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33300" y="12154"/>
                      </a:lnTo>
                      <a:cubicBezTo>
                        <a:pt x="36824" y="13964"/>
                        <a:pt x="38253" y="18250"/>
                        <a:pt x="36538" y="21774"/>
                      </a:cubicBezTo>
                      <a:cubicBezTo>
                        <a:pt x="35205" y="24346"/>
                        <a:pt x="32728" y="25775"/>
                        <a:pt x="30061" y="257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4" name="Grafik 3759">
                  <a:extLst>
                    <a:ext uri="{FF2B5EF4-FFF2-40B4-BE49-F238E27FC236}">
                      <a16:creationId xmlns:a16="http://schemas.microsoft.com/office/drawing/2014/main" id="{429B04B0-AB13-0E0E-5F8C-55298E212B50}"/>
                    </a:ext>
                  </a:extLst>
                </p:cNvPr>
                <p:cNvSpPr/>
                <p:nvPr/>
              </p:nvSpPr>
              <p:spPr bwMode="gray">
                <a:xfrm>
                  <a:off x="5928719" y="3286714"/>
                  <a:ext cx="37380" cy="25699"/>
                </a:xfrm>
                <a:custGeom>
                  <a:avLst/>
                  <a:gdLst>
                    <a:gd name="connsiteX0" fmla="*/ 7165 w 37380"/>
                    <a:gd name="connsiteY0" fmla="*/ 25699 h 25699"/>
                    <a:gd name="connsiteX1" fmla="*/ 783 w 37380"/>
                    <a:gd name="connsiteY1" fmla="*/ 21794 h 25699"/>
                    <a:gd name="connsiteX2" fmla="*/ 4022 w 37380"/>
                    <a:gd name="connsiteY2" fmla="*/ 12174 h 25699"/>
                    <a:gd name="connsiteX3" fmla="*/ 26977 w 37380"/>
                    <a:gd name="connsiteY3" fmla="*/ 744 h 25699"/>
                    <a:gd name="connsiteX4" fmla="*/ 36597 w 37380"/>
                    <a:gd name="connsiteY4" fmla="*/ 3887 h 25699"/>
                    <a:gd name="connsiteX5" fmla="*/ 33359 w 37380"/>
                    <a:gd name="connsiteY5" fmla="*/ 13507 h 25699"/>
                    <a:gd name="connsiteX6" fmla="*/ 10403 w 37380"/>
                    <a:gd name="connsiteY6" fmla="*/ 24937 h 25699"/>
                    <a:gd name="connsiteX7" fmla="*/ 7165 w 37380"/>
                    <a:gd name="connsiteY7" fmla="*/ 25699 h 25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380" h="25699">
                      <a:moveTo>
                        <a:pt x="7165" y="25699"/>
                      </a:moveTo>
                      <a:cubicBezTo>
                        <a:pt x="4593" y="25699"/>
                        <a:pt x="2021" y="24270"/>
                        <a:pt x="783" y="21794"/>
                      </a:cubicBezTo>
                      <a:cubicBezTo>
                        <a:pt x="-1027" y="18270"/>
                        <a:pt x="402" y="13983"/>
                        <a:pt x="4022" y="12174"/>
                      </a:cubicBezTo>
                      <a:lnTo>
                        <a:pt x="26977" y="744"/>
                      </a:lnTo>
                      <a:cubicBezTo>
                        <a:pt x="30501" y="-971"/>
                        <a:pt x="34787" y="363"/>
                        <a:pt x="36597" y="3887"/>
                      </a:cubicBezTo>
                      <a:cubicBezTo>
                        <a:pt x="38407" y="7411"/>
                        <a:pt x="36978" y="11697"/>
                        <a:pt x="33359" y="13507"/>
                      </a:cubicBezTo>
                      <a:lnTo>
                        <a:pt x="10403" y="24937"/>
                      </a:lnTo>
                      <a:cubicBezTo>
                        <a:pt x="9260" y="25413"/>
                        <a:pt x="8213" y="25699"/>
                        <a:pt x="7165" y="256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37" name="Grafik 3759">
                <a:extLst>
                  <a:ext uri="{FF2B5EF4-FFF2-40B4-BE49-F238E27FC236}">
                    <a16:creationId xmlns:a16="http://schemas.microsoft.com/office/drawing/2014/main" id="{D0EDC51E-37F4-1535-A711-E9D7AF789B6E}"/>
                  </a:ext>
                </a:extLst>
              </p:cNvPr>
              <p:cNvGrpSpPr/>
              <p:nvPr/>
            </p:nvGrpSpPr>
            <p:grpSpPr bwMode="gray">
              <a:xfrm>
                <a:off x="6063652" y="3322319"/>
                <a:ext cx="60276" cy="68961"/>
                <a:chOff x="6063652" y="3322319"/>
                <a:chExt cx="60276" cy="68961"/>
              </a:xfrm>
              <a:grpFill/>
            </p:grpSpPr>
            <p:sp>
              <p:nvSpPr>
                <p:cNvPr id="659" name="Grafik 3759">
                  <a:extLst>
                    <a:ext uri="{FF2B5EF4-FFF2-40B4-BE49-F238E27FC236}">
                      <a16:creationId xmlns:a16="http://schemas.microsoft.com/office/drawing/2014/main" id="{54514A04-1031-7443-E6EA-BAEDA80D4215}"/>
                    </a:ext>
                  </a:extLst>
                </p:cNvPr>
                <p:cNvSpPr/>
                <p:nvPr/>
              </p:nvSpPr>
              <p:spPr bwMode="gray">
                <a:xfrm>
                  <a:off x="6086569" y="3322319"/>
                  <a:ext cx="14287" cy="68961"/>
                </a:xfrm>
                <a:custGeom>
                  <a:avLst/>
                  <a:gdLst>
                    <a:gd name="connsiteX0" fmla="*/ 7144 w 14287"/>
                    <a:gd name="connsiteY0" fmla="*/ 68961 h 68961"/>
                    <a:gd name="connsiteX1" fmla="*/ 0 w 14287"/>
                    <a:gd name="connsiteY1" fmla="*/ 61817 h 68961"/>
                    <a:gd name="connsiteX2" fmla="*/ 0 w 14287"/>
                    <a:gd name="connsiteY2" fmla="*/ 7144 h 68961"/>
                    <a:gd name="connsiteX3" fmla="*/ 7144 w 14287"/>
                    <a:gd name="connsiteY3" fmla="*/ 0 h 68961"/>
                    <a:gd name="connsiteX4" fmla="*/ 14288 w 14287"/>
                    <a:gd name="connsiteY4" fmla="*/ 7144 h 68961"/>
                    <a:gd name="connsiteX5" fmla="*/ 14288 w 14287"/>
                    <a:gd name="connsiteY5" fmla="*/ 61817 h 68961"/>
                    <a:gd name="connsiteX6" fmla="*/ 7144 w 14287"/>
                    <a:gd name="connsiteY6" fmla="*/ 68961 h 689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68961">
                      <a:moveTo>
                        <a:pt x="7144" y="68961"/>
                      </a:moveTo>
                      <a:cubicBezTo>
                        <a:pt x="3239" y="68961"/>
                        <a:pt x="0" y="65723"/>
                        <a:pt x="0" y="6181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61817"/>
                      </a:lnTo>
                      <a:cubicBezTo>
                        <a:pt x="14288" y="65818"/>
                        <a:pt x="11144" y="68961"/>
                        <a:pt x="7144" y="6896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0" name="Grafik 3759">
                  <a:extLst>
                    <a:ext uri="{FF2B5EF4-FFF2-40B4-BE49-F238E27FC236}">
                      <a16:creationId xmlns:a16="http://schemas.microsoft.com/office/drawing/2014/main" id="{C480FA1D-B71B-2317-F62C-48ED64E1826A}"/>
                    </a:ext>
                  </a:extLst>
                </p:cNvPr>
                <p:cNvSpPr/>
                <p:nvPr/>
              </p:nvSpPr>
              <p:spPr bwMode="gray">
                <a:xfrm>
                  <a:off x="6086548" y="3365581"/>
                  <a:ext cx="37380" cy="25699"/>
                </a:xfrm>
                <a:custGeom>
                  <a:avLst/>
                  <a:gdLst>
                    <a:gd name="connsiteX0" fmla="*/ 7165 w 37380"/>
                    <a:gd name="connsiteY0" fmla="*/ 25699 h 25699"/>
                    <a:gd name="connsiteX1" fmla="*/ 783 w 37380"/>
                    <a:gd name="connsiteY1" fmla="*/ 21794 h 25699"/>
                    <a:gd name="connsiteX2" fmla="*/ 4022 w 37380"/>
                    <a:gd name="connsiteY2" fmla="*/ 12174 h 25699"/>
                    <a:gd name="connsiteX3" fmla="*/ 26977 w 37380"/>
                    <a:gd name="connsiteY3" fmla="*/ 744 h 25699"/>
                    <a:gd name="connsiteX4" fmla="*/ 36597 w 37380"/>
                    <a:gd name="connsiteY4" fmla="*/ 3887 h 25699"/>
                    <a:gd name="connsiteX5" fmla="*/ 33359 w 37380"/>
                    <a:gd name="connsiteY5" fmla="*/ 13507 h 25699"/>
                    <a:gd name="connsiteX6" fmla="*/ 10403 w 37380"/>
                    <a:gd name="connsiteY6" fmla="*/ 24937 h 25699"/>
                    <a:gd name="connsiteX7" fmla="*/ 7165 w 37380"/>
                    <a:gd name="connsiteY7" fmla="*/ 25699 h 25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380" h="25699">
                      <a:moveTo>
                        <a:pt x="7165" y="25699"/>
                      </a:moveTo>
                      <a:cubicBezTo>
                        <a:pt x="4593" y="25699"/>
                        <a:pt x="2021" y="24270"/>
                        <a:pt x="783" y="21794"/>
                      </a:cubicBezTo>
                      <a:cubicBezTo>
                        <a:pt x="-1027" y="18270"/>
                        <a:pt x="402" y="13983"/>
                        <a:pt x="4022" y="12174"/>
                      </a:cubicBezTo>
                      <a:lnTo>
                        <a:pt x="26977" y="744"/>
                      </a:lnTo>
                      <a:cubicBezTo>
                        <a:pt x="30501" y="-971"/>
                        <a:pt x="34787" y="363"/>
                        <a:pt x="36597" y="3887"/>
                      </a:cubicBezTo>
                      <a:cubicBezTo>
                        <a:pt x="38407" y="7411"/>
                        <a:pt x="36978" y="11697"/>
                        <a:pt x="33359" y="13507"/>
                      </a:cubicBezTo>
                      <a:lnTo>
                        <a:pt x="10403" y="24937"/>
                      </a:lnTo>
                      <a:cubicBezTo>
                        <a:pt x="9356" y="25509"/>
                        <a:pt x="8213" y="25699"/>
                        <a:pt x="7165" y="256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1" name="Grafik 3759">
                  <a:extLst>
                    <a:ext uri="{FF2B5EF4-FFF2-40B4-BE49-F238E27FC236}">
                      <a16:creationId xmlns:a16="http://schemas.microsoft.com/office/drawing/2014/main" id="{1A4D1B5D-A609-A8C8-25EC-1ADF998B119C}"/>
                    </a:ext>
                  </a:extLst>
                </p:cNvPr>
                <p:cNvSpPr/>
                <p:nvPr/>
              </p:nvSpPr>
              <p:spPr bwMode="gray">
                <a:xfrm>
                  <a:off x="6063652" y="3365539"/>
                  <a:ext cx="37262" cy="25740"/>
                </a:xfrm>
                <a:custGeom>
                  <a:avLst/>
                  <a:gdLst>
                    <a:gd name="connsiteX0" fmla="*/ 30061 w 37262"/>
                    <a:gd name="connsiteY0" fmla="*/ 25741 h 25740"/>
                    <a:gd name="connsiteX1" fmla="*/ 26918 w 37262"/>
                    <a:gd name="connsiteY1" fmla="*/ 24979 h 25740"/>
                    <a:gd name="connsiteX2" fmla="*/ 3963 w 37262"/>
                    <a:gd name="connsiteY2" fmla="*/ 13549 h 25740"/>
                    <a:gd name="connsiteX3" fmla="*/ 724 w 37262"/>
                    <a:gd name="connsiteY3" fmla="*/ 3929 h 25740"/>
                    <a:gd name="connsiteX4" fmla="*/ 10344 w 37262"/>
                    <a:gd name="connsiteY4" fmla="*/ 785 h 25740"/>
                    <a:gd name="connsiteX5" fmla="*/ 33300 w 37262"/>
                    <a:gd name="connsiteY5" fmla="*/ 12215 h 25740"/>
                    <a:gd name="connsiteX6" fmla="*/ 36538 w 37262"/>
                    <a:gd name="connsiteY6" fmla="*/ 21836 h 25740"/>
                    <a:gd name="connsiteX7" fmla="*/ 30061 w 37262"/>
                    <a:gd name="connsiteY7" fmla="*/ 25741 h 257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262" h="25740">
                      <a:moveTo>
                        <a:pt x="30061" y="25741"/>
                      </a:moveTo>
                      <a:cubicBezTo>
                        <a:pt x="29013" y="25741"/>
                        <a:pt x="27870" y="25455"/>
                        <a:pt x="26918" y="24979"/>
                      </a:cubicBezTo>
                      <a:lnTo>
                        <a:pt x="3963" y="13549"/>
                      </a:lnTo>
                      <a:cubicBezTo>
                        <a:pt x="438" y="11739"/>
                        <a:pt x="-990" y="7453"/>
                        <a:pt x="724" y="3929"/>
                      </a:cubicBezTo>
                      <a:cubicBezTo>
                        <a:pt x="2534" y="404"/>
                        <a:pt x="6820" y="-1024"/>
                        <a:pt x="10344" y="785"/>
                      </a:cubicBezTo>
                      <a:lnTo>
                        <a:pt x="33300" y="12215"/>
                      </a:lnTo>
                      <a:cubicBezTo>
                        <a:pt x="36824" y="14025"/>
                        <a:pt x="38253" y="18311"/>
                        <a:pt x="36538" y="21836"/>
                      </a:cubicBezTo>
                      <a:cubicBezTo>
                        <a:pt x="35205" y="24312"/>
                        <a:pt x="32728" y="25741"/>
                        <a:pt x="30061" y="2574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38" name="Grafik 3759">
                <a:extLst>
                  <a:ext uri="{FF2B5EF4-FFF2-40B4-BE49-F238E27FC236}">
                    <a16:creationId xmlns:a16="http://schemas.microsoft.com/office/drawing/2014/main" id="{82D0057D-A348-2B3D-8528-B60C87B1051C}"/>
                  </a:ext>
                </a:extLst>
              </p:cNvPr>
              <p:cNvGrpSpPr/>
              <p:nvPr/>
            </p:nvGrpSpPr>
            <p:grpSpPr bwMode="gray">
              <a:xfrm>
                <a:off x="6063686" y="3219140"/>
                <a:ext cx="60088" cy="68889"/>
                <a:chOff x="6063686" y="3219140"/>
                <a:chExt cx="60088" cy="68889"/>
              </a:xfrm>
              <a:grpFill/>
            </p:grpSpPr>
            <p:sp>
              <p:nvSpPr>
                <p:cNvPr id="656" name="Grafik 3759">
                  <a:extLst>
                    <a:ext uri="{FF2B5EF4-FFF2-40B4-BE49-F238E27FC236}">
                      <a16:creationId xmlns:a16="http://schemas.microsoft.com/office/drawing/2014/main" id="{8B7AD9E8-095F-A23A-DBDA-C4BF71B8F536}"/>
                    </a:ext>
                  </a:extLst>
                </p:cNvPr>
                <p:cNvSpPr/>
                <p:nvPr/>
              </p:nvSpPr>
              <p:spPr bwMode="gray">
                <a:xfrm>
                  <a:off x="6086569" y="3219163"/>
                  <a:ext cx="14287" cy="68865"/>
                </a:xfrm>
                <a:custGeom>
                  <a:avLst/>
                  <a:gdLst>
                    <a:gd name="connsiteX0" fmla="*/ 7144 w 14287"/>
                    <a:gd name="connsiteY0" fmla="*/ 68866 h 68865"/>
                    <a:gd name="connsiteX1" fmla="*/ 0 w 14287"/>
                    <a:gd name="connsiteY1" fmla="*/ 61722 h 68865"/>
                    <a:gd name="connsiteX2" fmla="*/ 0 w 14287"/>
                    <a:gd name="connsiteY2" fmla="*/ 7144 h 68865"/>
                    <a:gd name="connsiteX3" fmla="*/ 7144 w 14287"/>
                    <a:gd name="connsiteY3" fmla="*/ 0 h 68865"/>
                    <a:gd name="connsiteX4" fmla="*/ 14288 w 14287"/>
                    <a:gd name="connsiteY4" fmla="*/ 7144 h 68865"/>
                    <a:gd name="connsiteX5" fmla="*/ 14288 w 14287"/>
                    <a:gd name="connsiteY5" fmla="*/ 61817 h 68865"/>
                    <a:gd name="connsiteX6" fmla="*/ 7144 w 14287"/>
                    <a:gd name="connsiteY6" fmla="*/ 68866 h 688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68865">
                      <a:moveTo>
                        <a:pt x="7144" y="68866"/>
                      </a:moveTo>
                      <a:cubicBezTo>
                        <a:pt x="3239" y="68866"/>
                        <a:pt x="0" y="65627"/>
                        <a:pt x="0" y="61722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61817"/>
                      </a:lnTo>
                      <a:cubicBezTo>
                        <a:pt x="14288" y="65723"/>
                        <a:pt x="11144" y="68866"/>
                        <a:pt x="7144" y="6886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7" name="Grafik 3759">
                  <a:extLst>
                    <a:ext uri="{FF2B5EF4-FFF2-40B4-BE49-F238E27FC236}">
                      <a16:creationId xmlns:a16="http://schemas.microsoft.com/office/drawing/2014/main" id="{076CC834-32E7-D47E-2D38-6EF852EA3E9D}"/>
                    </a:ext>
                  </a:extLst>
                </p:cNvPr>
                <p:cNvSpPr/>
                <p:nvPr/>
              </p:nvSpPr>
              <p:spPr bwMode="gray">
                <a:xfrm>
                  <a:off x="6063686" y="3219182"/>
                  <a:ext cx="37287" cy="25699"/>
                </a:xfrm>
                <a:custGeom>
                  <a:avLst/>
                  <a:gdLst>
                    <a:gd name="connsiteX0" fmla="*/ 7167 w 37287"/>
                    <a:gd name="connsiteY0" fmla="*/ 25699 h 25699"/>
                    <a:gd name="connsiteX1" fmla="*/ 785 w 37287"/>
                    <a:gd name="connsiteY1" fmla="*/ 21794 h 25699"/>
                    <a:gd name="connsiteX2" fmla="*/ 3929 w 37287"/>
                    <a:gd name="connsiteY2" fmla="*/ 12174 h 25699"/>
                    <a:gd name="connsiteX3" fmla="*/ 26884 w 37287"/>
                    <a:gd name="connsiteY3" fmla="*/ 744 h 25699"/>
                    <a:gd name="connsiteX4" fmla="*/ 36504 w 37287"/>
                    <a:gd name="connsiteY4" fmla="*/ 3887 h 25699"/>
                    <a:gd name="connsiteX5" fmla="*/ 33266 w 37287"/>
                    <a:gd name="connsiteY5" fmla="*/ 13507 h 25699"/>
                    <a:gd name="connsiteX6" fmla="*/ 10310 w 37287"/>
                    <a:gd name="connsiteY6" fmla="*/ 24937 h 25699"/>
                    <a:gd name="connsiteX7" fmla="*/ 7167 w 37287"/>
                    <a:gd name="connsiteY7" fmla="*/ 25699 h 25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287" h="25699">
                      <a:moveTo>
                        <a:pt x="7167" y="25699"/>
                      </a:moveTo>
                      <a:cubicBezTo>
                        <a:pt x="4595" y="25699"/>
                        <a:pt x="2024" y="24270"/>
                        <a:pt x="785" y="21794"/>
                      </a:cubicBezTo>
                      <a:cubicBezTo>
                        <a:pt x="-1024" y="18270"/>
                        <a:pt x="404" y="13983"/>
                        <a:pt x="3929" y="12174"/>
                      </a:cubicBezTo>
                      <a:lnTo>
                        <a:pt x="26884" y="744"/>
                      </a:lnTo>
                      <a:cubicBezTo>
                        <a:pt x="30408" y="-971"/>
                        <a:pt x="34694" y="363"/>
                        <a:pt x="36504" y="3887"/>
                      </a:cubicBezTo>
                      <a:cubicBezTo>
                        <a:pt x="38314" y="7411"/>
                        <a:pt x="36885" y="11697"/>
                        <a:pt x="33266" y="13507"/>
                      </a:cubicBezTo>
                      <a:lnTo>
                        <a:pt x="10310" y="24937"/>
                      </a:lnTo>
                      <a:cubicBezTo>
                        <a:pt x="9263" y="25509"/>
                        <a:pt x="8215" y="25699"/>
                        <a:pt x="7167" y="256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8" name="Grafik 3759">
                  <a:extLst>
                    <a:ext uri="{FF2B5EF4-FFF2-40B4-BE49-F238E27FC236}">
                      <a16:creationId xmlns:a16="http://schemas.microsoft.com/office/drawing/2014/main" id="{96F6C576-7ABD-1B6F-E305-96FD1A0A4D75}"/>
                    </a:ext>
                  </a:extLst>
                </p:cNvPr>
                <p:cNvSpPr/>
                <p:nvPr/>
              </p:nvSpPr>
              <p:spPr bwMode="gray">
                <a:xfrm>
                  <a:off x="6086607" y="3219140"/>
                  <a:ext cx="37167" cy="25740"/>
                </a:xfrm>
                <a:custGeom>
                  <a:avLst/>
                  <a:gdLst>
                    <a:gd name="connsiteX0" fmla="*/ 30061 w 37167"/>
                    <a:gd name="connsiteY0" fmla="*/ 25741 h 25740"/>
                    <a:gd name="connsiteX1" fmla="*/ 26918 w 37167"/>
                    <a:gd name="connsiteY1" fmla="*/ 24979 h 25740"/>
                    <a:gd name="connsiteX2" fmla="*/ 3963 w 37167"/>
                    <a:gd name="connsiteY2" fmla="*/ 13549 h 25740"/>
                    <a:gd name="connsiteX3" fmla="*/ 724 w 37167"/>
                    <a:gd name="connsiteY3" fmla="*/ 3929 h 25740"/>
                    <a:gd name="connsiteX4" fmla="*/ 10344 w 37167"/>
                    <a:gd name="connsiteY4" fmla="*/ 785 h 25740"/>
                    <a:gd name="connsiteX5" fmla="*/ 33204 w 37167"/>
                    <a:gd name="connsiteY5" fmla="*/ 12215 h 25740"/>
                    <a:gd name="connsiteX6" fmla="*/ 36443 w 37167"/>
                    <a:gd name="connsiteY6" fmla="*/ 21836 h 25740"/>
                    <a:gd name="connsiteX7" fmla="*/ 30061 w 37167"/>
                    <a:gd name="connsiteY7" fmla="*/ 25741 h 257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167" h="25740">
                      <a:moveTo>
                        <a:pt x="30061" y="25741"/>
                      </a:moveTo>
                      <a:cubicBezTo>
                        <a:pt x="29013" y="25741"/>
                        <a:pt x="27870" y="25455"/>
                        <a:pt x="26918" y="24979"/>
                      </a:cubicBezTo>
                      <a:lnTo>
                        <a:pt x="3963" y="13549"/>
                      </a:lnTo>
                      <a:cubicBezTo>
                        <a:pt x="438" y="11739"/>
                        <a:pt x="-990" y="7453"/>
                        <a:pt x="724" y="3929"/>
                      </a:cubicBezTo>
                      <a:cubicBezTo>
                        <a:pt x="2534" y="404"/>
                        <a:pt x="6820" y="-1024"/>
                        <a:pt x="10344" y="785"/>
                      </a:cubicBezTo>
                      <a:lnTo>
                        <a:pt x="33204" y="12215"/>
                      </a:lnTo>
                      <a:cubicBezTo>
                        <a:pt x="36729" y="14025"/>
                        <a:pt x="38157" y="18311"/>
                        <a:pt x="36443" y="21836"/>
                      </a:cubicBezTo>
                      <a:cubicBezTo>
                        <a:pt x="35205" y="24312"/>
                        <a:pt x="32633" y="25741"/>
                        <a:pt x="30061" y="2574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39" name="Grafik 3759">
                <a:extLst>
                  <a:ext uri="{FF2B5EF4-FFF2-40B4-BE49-F238E27FC236}">
                    <a16:creationId xmlns:a16="http://schemas.microsoft.com/office/drawing/2014/main" id="{5C1F49F5-D10D-78A7-44A5-8ED0BDE1341D}"/>
                  </a:ext>
                </a:extLst>
              </p:cNvPr>
              <p:cNvGrpSpPr/>
              <p:nvPr/>
            </p:nvGrpSpPr>
            <p:grpSpPr bwMode="gray">
              <a:xfrm>
                <a:off x="6120933" y="3242139"/>
                <a:ext cx="91672" cy="53033"/>
                <a:chOff x="6120933" y="3242139"/>
                <a:chExt cx="91672" cy="53033"/>
              </a:xfrm>
              <a:grpFill/>
            </p:grpSpPr>
            <p:sp>
              <p:nvSpPr>
                <p:cNvPr id="653" name="Grafik 3759">
                  <a:extLst>
                    <a:ext uri="{FF2B5EF4-FFF2-40B4-BE49-F238E27FC236}">
                      <a16:creationId xmlns:a16="http://schemas.microsoft.com/office/drawing/2014/main" id="{92BEB62F-0615-FAA9-7C9D-6FF9BD41FAF6}"/>
                    </a:ext>
                  </a:extLst>
                </p:cNvPr>
                <p:cNvSpPr/>
                <p:nvPr/>
              </p:nvSpPr>
              <p:spPr bwMode="gray">
                <a:xfrm>
                  <a:off x="6120933" y="3242139"/>
                  <a:ext cx="91672" cy="53033"/>
                </a:xfrm>
                <a:custGeom>
                  <a:avLst/>
                  <a:gdLst>
                    <a:gd name="connsiteX0" fmla="*/ 7165 w 91672"/>
                    <a:gd name="connsiteY0" fmla="*/ 53033 h 53033"/>
                    <a:gd name="connsiteX1" fmla="*/ 783 w 91672"/>
                    <a:gd name="connsiteY1" fmla="*/ 49033 h 53033"/>
                    <a:gd name="connsiteX2" fmla="*/ 4022 w 91672"/>
                    <a:gd name="connsiteY2" fmla="*/ 39413 h 53033"/>
                    <a:gd name="connsiteX3" fmla="*/ 81269 w 91672"/>
                    <a:gd name="connsiteY3" fmla="*/ 741 h 53033"/>
                    <a:gd name="connsiteX4" fmla="*/ 90890 w 91672"/>
                    <a:gd name="connsiteY4" fmla="*/ 3980 h 53033"/>
                    <a:gd name="connsiteX5" fmla="*/ 87651 w 91672"/>
                    <a:gd name="connsiteY5" fmla="*/ 13600 h 53033"/>
                    <a:gd name="connsiteX6" fmla="*/ 10403 w 91672"/>
                    <a:gd name="connsiteY6" fmla="*/ 52271 h 53033"/>
                    <a:gd name="connsiteX7" fmla="*/ 7165 w 91672"/>
                    <a:gd name="connsiteY7" fmla="*/ 53033 h 53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1672" h="53033">
                      <a:moveTo>
                        <a:pt x="7165" y="53033"/>
                      </a:moveTo>
                      <a:cubicBezTo>
                        <a:pt x="4593" y="53033"/>
                        <a:pt x="2021" y="51605"/>
                        <a:pt x="783" y="49033"/>
                      </a:cubicBezTo>
                      <a:cubicBezTo>
                        <a:pt x="-1027" y="45509"/>
                        <a:pt x="402" y="41222"/>
                        <a:pt x="4022" y="39413"/>
                      </a:cubicBezTo>
                      <a:lnTo>
                        <a:pt x="81269" y="741"/>
                      </a:lnTo>
                      <a:cubicBezTo>
                        <a:pt x="84794" y="-973"/>
                        <a:pt x="89080" y="360"/>
                        <a:pt x="90890" y="3980"/>
                      </a:cubicBezTo>
                      <a:cubicBezTo>
                        <a:pt x="92699" y="7504"/>
                        <a:pt x="91271" y="11790"/>
                        <a:pt x="87651" y="13600"/>
                      </a:cubicBezTo>
                      <a:lnTo>
                        <a:pt x="10403" y="52271"/>
                      </a:lnTo>
                      <a:cubicBezTo>
                        <a:pt x="9356" y="52843"/>
                        <a:pt x="8213" y="53033"/>
                        <a:pt x="7165" y="5303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4" name="Grafik 3759">
                  <a:extLst>
                    <a:ext uri="{FF2B5EF4-FFF2-40B4-BE49-F238E27FC236}">
                      <a16:creationId xmlns:a16="http://schemas.microsoft.com/office/drawing/2014/main" id="{9C986757-7CF7-5D9B-E884-349C83CCBF0A}"/>
                    </a:ext>
                  </a:extLst>
                </p:cNvPr>
                <p:cNvSpPr/>
                <p:nvPr/>
              </p:nvSpPr>
              <p:spPr bwMode="gray">
                <a:xfrm>
                  <a:off x="6165817" y="3242309"/>
                  <a:ext cx="46672" cy="14287"/>
                </a:xfrm>
                <a:custGeom>
                  <a:avLst/>
                  <a:gdLst>
                    <a:gd name="connsiteX0" fmla="*/ 39529 w 46672"/>
                    <a:gd name="connsiteY0" fmla="*/ 14287 h 14287"/>
                    <a:gd name="connsiteX1" fmla="*/ 7144 w 46672"/>
                    <a:gd name="connsiteY1" fmla="*/ 14287 h 14287"/>
                    <a:gd name="connsiteX2" fmla="*/ 0 w 46672"/>
                    <a:gd name="connsiteY2" fmla="*/ 7144 h 14287"/>
                    <a:gd name="connsiteX3" fmla="*/ 7144 w 46672"/>
                    <a:gd name="connsiteY3" fmla="*/ 0 h 14287"/>
                    <a:gd name="connsiteX4" fmla="*/ 39529 w 46672"/>
                    <a:gd name="connsiteY4" fmla="*/ 0 h 14287"/>
                    <a:gd name="connsiteX5" fmla="*/ 46672 w 46672"/>
                    <a:gd name="connsiteY5" fmla="*/ 7144 h 14287"/>
                    <a:gd name="connsiteX6" fmla="*/ 39529 w 46672"/>
                    <a:gd name="connsiteY6" fmla="*/ 14287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6672" h="14287">
                      <a:moveTo>
                        <a:pt x="39529" y="14287"/>
                      </a:moveTo>
                      <a:lnTo>
                        <a:pt x="7144" y="14287"/>
                      </a:lnTo>
                      <a:cubicBezTo>
                        <a:pt x="3238" y="14287"/>
                        <a:pt x="0" y="11049"/>
                        <a:pt x="0" y="7144"/>
                      </a:cubicBezTo>
                      <a:cubicBezTo>
                        <a:pt x="0" y="3238"/>
                        <a:pt x="3238" y="0"/>
                        <a:pt x="7144" y="0"/>
                      </a:cubicBezTo>
                      <a:lnTo>
                        <a:pt x="39529" y="0"/>
                      </a:lnTo>
                      <a:cubicBezTo>
                        <a:pt x="43434" y="0"/>
                        <a:pt x="46672" y="3238"/>
                        <a:pt x="46672" y="7144"/>
                      </a:cubicBezTo>
                      <a:cubicBezTo>
                        <a:pt x="46672" y="11049"/>
                        <a:pt x="43529" y="14287"/>
                        <a:pt x="39529" y="1428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5" name="Grafik 3759">
                  <a:extLst>
                    <a:ext uri="{FF2B5EF4-FFF2-40B4-BE49-F238E27FC236}">
                      <a16:creationId xmlns:a16="http://schemas.microsoft.com/office/drawing/2014/main" id="{713486D3-256B-FE34-57C8-5BBCCDA2B0F2}"/>
                    </a:ext>
                  </a:extLst>
                </p:cNvPr>
                <p:cNvSpPr/>
                <p:nvPr/>
              </p:nvSpPr>
              <p:spPr bwMode="gray">
                <a:xfrm>
                  <a:off x="6198202" y="3242309"/>
                  <a:ext cx="14287" cy="30480"/>
                </a:xfrm>
                <a:custGeom>
                  <a:avLst/>
                  <a:gdLst>
                    <a:gd name="connsiteX0" fmla="*/ 7144 w 14287"/>
                    <a:gd name="connsiteY0" fmla="*/ 30480 h 30480"/>
                    <a:gd name="connsiteX1" fmla="*/ 0 w 14287"/>
                    <a:gd name="connsiteY1" fmla="*/ 23336 h 30480"/>
                    <a:gd name="connsiteX2" fmla="*/ 0 w 14287"/>
                    <a:gd name="connsiteY2" fmla="*/ 7144 h 30480"/>
                    <a:gd name="connsiteX3" fmla="*/ 7144 w 14287"/>
                    <a:gd name="connsiteY3" fmla="*/ 0 h 30480"/>
                    <a:gd name="connsiteX4" fmla="*/ 14288 w 14287"/>
                    <a:gd name="connsiteY4" fmla="*/ 7144 h 30480"/>
                    <a:gd name="connsiteX5" fmla="*/ 14288 w 14287"/>
                    <a:gd name="connsiteY5" fmla="*/ 23336 h 30480"/>
                    <a:gd name="connsiteX6" fmla="*/ 7144 w 14287"/>
                    <a:gd name="connsiteY6" fmla="*/ 30480 h 30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0480">
                      <a:moveTo>
                        <a:pt x="7144" y="30480"/>
                      </a:moveTo>
                      <a:cubicBezTo>
                        <a:pt x="3239" y="30480"/>
                        <a:pt x="0" y="27242"/>
                        <a:pt x="0" y="23336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23336"/>
                      </a:lnTo>
                      <a:cubicBezTo>
                        <a:pt x="14288" y="27242"/>
                        <a:pt x="11144" y="30480"/>
                        <a:pt x="7144" y="304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40" name="Grafik 3759">
                <a:extLst>
                  <a:ext uri="{FF2B5EF4-FFF2-40B4-BE49-F238E27FC236}">
                    <a16:creationId xmlns:a16="http://schemas.microsoft.com/office/drawing/2014/main" id="{D8E7970C-A1A4-C2F9-CA95-E655EC77CAF2}"/>
                  </a:ext>
                </a:extLst>
              </p:cNvPr>
              <p:cNvGrpSpPr/>
              <p:nvPr/>
            </p:nvGrpSpPr>
            <p:grpSpPr bwMode="gray">
              <a:xfrm>
                <a:off x="5974915" y="3315196"/>
                <a:ext cx="91672" cy="53033"/>
                <a:chOff x="5974915" y="3315196"/>
                <a:chExt cx="91672" cy="53033"/>
              </a:xfrm>
              <a:grpFill/>
            </p:grpSpPr>
            <p:sp>
              <p:nvSpPr>
                <p:cNvPr id="650" name="Grafik 3759">
                  <a:extLst>
                    <a:ext uri="{FF2B5EF4-FFF2-40B4-BE49-F238E27FC236}">
                      <a16:creationId xmlns:a16="http://schemas.microsoft.com/office/drawing/2014/main" id="{40D62D56-49D3-397D-2930-BD5745616712}"/>
                    </a:ext>
                  </a:extLst>
                </p:cNvPr>
                <p:cNvSpPr/>
                <p:nvPr/>
              </p:nvSpPr>
              <p:spPr bwMode="gray">
                <a:xfrm>
                  <a:off x="5974915" y="3315196"/>
                  <a:ext cx="91672" cy="53033"/>
                </a:xfrm>
                <a:custGeom>
                  <a:avLst/>
                  <a:gdLst>
                    <a:gd name="connsiteX0" fmla="*/ 7165 w 91672"/>
                    <a:gd name="connsiteY0" fmla="*/ 53033 h 53033"/>
                    <a:gd name="connsiteX1" fmla="*/ 783 w 91672"/>
                    <a:gd name="connsiteY1" fmla="*/ 49033 h 53033"/>
                    <a:gd name="connsiteX2" fmla="*/ 4022 w 91672"/>
                    <a:gd name="connsiteY2" fmla="*/ 39413 h 53033"/>
                    <a:gd name="connsiteX3" fmla="*/ 81269 w 91672"/>
                    <a:gd name="connsiteY3" fmla="*/ 741 h 53033"/>
                    <a:gd name="connsiteX4" fmla="*/ 90890 w 91672"/>
                    <a:gd name="connsiteY4" fmla="*/ 3980 h 53033"/>
                    <a:gd name="connsiteX5" fmla="*/ 87651 w 91672"/>
                    <a:gd name="connsiteY5" fmla="*/ 13600 h 53033"/>
                    <a:gd name="connsiteX6" fmla="*/ 10403 w 91672"/>
                    <a:gd name="connsiteY6" fmla="*/ 52271 h 53033"/>
                    <a:gd name="connsiteX7" fmla="*/ 7165 w 91672"/>
                    <a:gd name="connsiteY7" fmla="*/ 53033 h 53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1672" h="53033">
                      <a:moveTo>
                        <a:pt x="7165" y="53033"/>
                      </a:moveTo>
                      <a:cubicBezTo>
                        <a:pt x="4593" y="53033"/>
                        <a:pt x="2021" y="51605"/>
                        <a:pt x="783" y="49033"/>
                      </a:cubicBezTo>
                      <a:cubicBezTo>
                        <a:pt x="-1027" y="45509"/>
                        <a:pt x="402" y="41222"/>
                        <a:pt x="4022" y="39413"/>
                      </a:cubicBezTo>
                      <a:lnTo>
                        <a:pt x="81269" y="741"/>
                      </a:lnTo>
                      <a:cubicBezTo>
                        <a:pt x="84794" y="-973"/>
                        <a:pt x="89080" y="360"/>
                        <a:pt x="90890" y="3980"/>
                      </a:cubicBezTo>
                      <a:cubicBezTo>
                        <a:pt x="92699" y="7504"/>
                        <a:pt x="91271" y="11790"/>
                        <a:pt x="87651" y="13600"/>
                      </a:cubicBezTo>
                      <a:lnTo>
                        <a:pt x="10403" y="52271"/>
                      </a:lnTo>
                      <a:cubicBezTo>
                        <a:pt x="9356" y="52748"/>
                        <a:pt x="8213" y="53033"/>
                        <a:pt x="7165" y="5303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1" name="Grafik 3759">
                  <a:extLst>
                    <a:ext uri="{FF2B5EF4-FFF2-40B4-BE49-F238E27FC236}">
                      <a16:creationId xmlns:a16="http://schemas.microsoft.com/office/drawing/2014/main" id="{C869E475-EE67-B376-CA93-FC8B2FADFCD5}"/>
                    </a:ext>
                  </a:extLst>
                </p:cNvPr>
                <p:cNvSpPr/>
                <p:nvPr/>
              </p:nvSpPr>
              <p:spPr bwMode="gray">
                <a:xfrm>
                  <a:off x="5974936" y="3353942"/>
                  <a:ext cx="46672" cy="14287"/>
                </a:xfrm>
                <a:custGeom>
                  <a:avLst/>
                  <a:gdLst>
                    <a:gd name="connsiteX0" fmla="*/ 39529 w 46672"/>
                    <a:gd name="connsiteY0" fmla="*/ 14288 h 14287"/>
                    <a:gd name="connsiteX1" fmla="*/ 7144 w 46672"/>
                    <a:gd name="connsiteY1" fmla="*/ 14288 h 14287"/>
                    <a:gd name="connsiteX2" fmla="*/ 0 w 46672"/>
                    <a:gd name="connsiteY2" fmla="*/ 7144 h 14287"/>
                    <a:gd name="connsiteX3" fmla="*/ 7144 w 46672"/>
                    <a:gd name="connsiteY3" fmla="*/ 0 h 14287"/>
                    <a:gd name="connsiteX4" fmla="*/ 39529 w 46672"/>
                    <a:gd name="connsiteY4" fmla="*/ 0 h 14287"/>
                    <a:gd name="connsiteX5" fmla="*/ 46673 w 46672"/>
                    <a:gd name="connsiteY5" fmla="*/ 7144 h 14287"/>
                    <a:gd name="connsiteX6" fmla="*/ 39529 w 46672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6672" h="14287">
                      <a:moveTo>
                        <a:pt x="39529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39529" y="0"/>
                      </a:lnTo>
                      <a:cubicBezTo>
                        <a:pt x="43434" y="0"/>
                        <a:pt x="46673" y="3238"/>
                        <a:pt x="46673" y="7144"/>
                      </a:cubicBezTo>
                      <a:cubicBezTo>
                        <a:pt x="46673" y="11049"/>
                        <a:pt x="43529" y="14288"/>
                        <a:pt x="3952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2" name="Grafik 3759">
                  <a:extLst>
                    <a:ext uri="{FF2B5EF4-FFF2-40B4-BE49-F238E27FC236}">
                      <a16:creationId xmlns:a16="http://schemas.microsoft.com/office/drawing/2014/main" id="{F23480DF-2F29-4C36-31AE-F32692A1EDC2}"/>
                    </a:ext>
                  </a:extLst>
                </p:cNvPr>
                <p:cNvSpPr/>
                <p:nvPr/>
              </p:nvSpPr>
              <p:spPr bwMode="gray">
                <a:xfrm>
                  <a:off x="5974936" y="3337750"/>
                  <a:ext cx="14287" cy="30480"/>
                </a:xfrm>
                <a:custGeom>
                  <a:avLst/>
                  <a:gdLst>
                    <a:gd name="connsiteX0" fmla="*/ 7144 w 14287"/>
                    <a:gd name="connsiteY0" fmla="*/ 30480 h 30480"/>
                    <a:gd name="connsiteX1" fmla="*/ 0 w 14287"/>
                    <a:gd name="connsiteY1" fmla="*/ 23336 h 30480"/>
                    <a:gd name="connsiteX2" fmla="*/ 0 w 14287"/>
                    <a:gd name="connsiteY2" fmla="*/ 7144 h 30480"/>
                    <a:gd name="connsiteX3" fmla="*/ 7144 w 14287"/>
                    <a:gd name="connsiteY3" fmla="*/ 0 h 30480"/>
                    <a:gd name="connsiteX4" fmla="*/ 14288 w 14287"/>
                    <a:gd name="connsiteY4" fmla="*/ 7144 h 30480"/>
                    <a:gd name="connsiteX5" fmla="*/ 14288 w 14287"/>
                    <a:gd name="connsiteY5" fmla="*/ 23336 h 30480"/>
                    <a:gd name="connsiteX6" fmla="*/ 7144 w 14287"/>
                    <a:gd name="connsiteY6" fmla="*/ 30480 h 30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0480">
                      <a:moveTo>
                        <a:pt x="7144" y="30480"/>
                      </a:moveTo>
                      <a:cubicBezTo>
                        <a:pt x="3239" y="30480"/>
                        <a:pt x="0" y="27242"/>
                        <a:pt x="0" y="2333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3336"/>
                      </a:lnTo>
                      <a:cubicBezTo>
                        <a:pt x="14288" y="27242"/>
                        <a:pt x="11049" y="30480"/>
                        <a:pt x="7144" y="304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41" name="Grafik 3759">
                <a:extLst>
                  <a:ext uri="{FF2B5EF4-FFF2-40B4-BE49-F238E27FC236}">
                    <a16:creationId xmlns:a16="http://schemas.microsoft.com/office/drawing/2014/main" id="{EF82A276-5A1F-3A41-17FC-891DD66117D0}"/>
                  </a:ext>
                </a:extLst>
              </p:cNvPr>
              <p:cNvGrpSpPr/>
              <p:nvPr/>
            </p:nvGrpSpPr>
            <p:grpSpPr bwMode="gray">
              <a:xfrm>
                <a:off x="6120992" y="3315213"/>
                <a:ext cx="91554" cy="53016"/>
                <a:chOff x="6120992" y="3315213"/>
                <a:chExt cx="91554" cy="53016"/>
              </a:xfrm>
              <a:grpFill/>
            </p:grpSpPr>
            <p:sp>
              <p:nvSpPr>
                <p:cNvPr id="647" name="Grafik 3759">
                  <a:extLst>
                    <a:ext uri="{FF2B5EF4-FFF2-40B4-BE49-F238E27FC236}">
                      <a16:creationId xmlns:a16="http://schemas.microsoft.com/office/drawing/2014/main" id="{449B0B11-7468-3F74-FE4A-06F662BA06DD}"/>
                    </a:ext>
                  </a:extLst>
                </p:cNvPr>
                <p:cNvSpPr/>
                <p:nvPr/>
              </p:nvSpPr>
              <p:spPr bwMode="gray">
                <a:xfrm>
                  <a:off x="6120992" y="3315213"/>
                  <a:ext cx="91554" cy="53016"/>
                </a:xfrm>
                <a:custGeom>
                  <a:avLst/>
                  <a:gdLst>
                    <a:gd name="connsiteX0" fmla="*/ 84354 w 91554"/>
                    <a:gd name="connsiteY0" fmla="*/ 53016 h 53016"/>
                    <a:gd name="connsiteX1" fmla="*/ 81211 w 91554"/>
                    <a:gd name="connsiteY1" fmla="*/ 52254 h 53016"/>
                    <a:gd name="connsiteX2" fmla="*/ 3963 w 91554"/>
                    <a:gd name="connsiteY2" fmla="*/ 13583 h 53016"/>
                    <a:gd name="connsiteX3" fmla="*/ 724 w 91554"/>
                    <a:gd name="connsiteY3" fmla="*/ 3963 h 53016"/>
                    <a:gd name="connsiteX4" fmla="*/ 10344 w 91554"/>
                    <a:gd name="connsiteY4" fmla="*/ 724 h 53016"/>
                    <a:gd name="connsiteX5" fmla="*/ 87592 w 91554"/>
                    <a:gd name="connsiteY5" fmla="*/ 39396 h 53016"/>
                    <a:gd name="connsiteX6" fmla="*/ 90831 w 91554"/>
                    <a:gd name="connsiteY6" fmla="*/ 49016 h 53016"/>
                    <a:gd name="connsiteX7" fmla="*/ 84354 w 91554"/>
                    <a:gd name="connsiteY7" fmla="*/ 53016 h 53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1554" h="53016">
                      <a:moveTo>
                        <a:pt x="84354" y="53016"/>
                      </a:moveTo>
                      <a:cubicBezTo>
                        <a:pt x="83306" y="53016"/>
                        <a:pt x="82163" y="52731"/>
                        <a:pt x="81211" y="52254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87592" y="39396"/>
                      </a:lnTo>
                      <a:cubicBezTo>
                        <a:pt x="91116" y="41205"/>
                        <a:pt x="92545" y="45492"/>
                        <a:pt x="90831" y="49016"/>
                      </a:cubicBezTo>
                      <a:cubicBezTo>
                        <a:pt x="89497" y="51492"/>
                        <a:pt x="87021" y="53016"/>
                        <a:pt x="84354" y="5301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48" name="Grafik 3759">
                  <a:extLst>
                    <a:ext uri="{FF2B5EF4-FFF2-40B4-BE49-F238E27FC236}">
                      <a16:creationId xmlns:a16="http://schemas.microsoft.com/office/drawing/2014/main" id="{B6B4FACB-99DB-0271-43D4-FF5E453F429B}"/>
                    </a:ext>
                  </a:extLst>
                </p:cNvPr>
                <p:cNvSpPr/>
                <p:nvPr/>
              </p:nvSpPr>
              <p:spPr bwMode="gray">
                <a:xfrm>
                  <a:off x="6198202" y="3337750"/>
                  <a:ext cx="14287" cy="30480"/>
                </a:xfrm>
                <a:custGeom>
                  <a:avLst/>
                  <a:gdLst>
                    <a:gd name="connsiteX0" fmla="*/ 7144 w 14287"/>
                    <a:gd name="connsiteY0" fmla="*/ 30480 h 30480"/>
                    <a:gd name="connsiteX1" fmla="*/ 0 w 14287"/>
                    <a:gd name="connsiteY1" fmla="*/ 23336 h 30480"/>
                    <a:gd name="connsiteX2" fmla="*/ 0 w 14287"/>
                    <a:gd name="connsiteY2" fmla="*/ 7144 h 30480"/>
                    <a:gd name="connsiteX3" fmla="*/ 7144 w 14287"/>
                    <a:gd name="connsiteY3" fmla="*/ 0 h 30480"/>
                    <a:gd name="connsiteX4" fmla="*/ 14288 w 14287"/>
                    <a:gd name="connsiteY4" fmla="*/ 7144 h 30480"/>
                    <a:gd name="connsiteX5" fmla="*/ 14288 w 14287"/>
                    <a:gd name="connsiteY5" fmla="*/ 23336 h 30480"/>
                    <a:gd name="connsiteX6" fmla="*/ 7144 w 14287"/>
                    <a:gd name="connsiteY6" fmla="*/ 30480 h 30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0480">
                      <a:moveTo>
                        <a:pt x="7144" y="30480"/>
                      </a:moveTo>
                      <a:cubicBezTo>
                        <a:pt x="3239" y="30480"/>
                        <a:pt x="0" y="27242"/>
                        <a:pt x="0" y="2333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3336"/>
                      </a:lnTo>
                      <a:cubicBezTo>
                        <a:pt x="14288" y="27242"/>
                        <a:pt x="11144" y="30480"/>
                        <a:pt x="7144" y="304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49" name="Grafik 3759">
                  <a:extLst>
                    <a:ext uri="{FF2B5EF4-FFF2-40B4-BE49-F238E27FC236}">
                      <a16:creationId xmlns:a16="http://schemas.microsoft.com/office/drawing/2014/main" id="{861653A8-A252-7655-EF5C-46AB48CCD20F}"/>
                    </a:ext>
                  </a:extLst>
                </p:cNvPr>
                <p:cNvSpPr/>
                <p:nvPr/>
              </p:nvSpPr>
              <p:spPr bwMode="gray">
                <a:xfrm>
                  <a:off x="6165817" y="3353942"/>
                  <a:ext cx="46672" cy="14287"/>
                </a:xfrm>
                <a:custGeom>
                  <a:avLst/>
                  <a:gdLst>
                    <a:gd name="connsiteX0" fmla="*/ 39529 w 46672"/>
                    <a:gd name="connsiteY0" fmla="*/ 14288 h 14287"/>
                    <a:gd name="connsiteX1" fmla="*/ 7144 w 46672"/>
                    <a:gd name="connsiteY1" fmla="*/ 14288 h 14287"/>
                    <a:gd name="connsiteX2" fmla="*/ 0 w 46672"/>
                    <a:gd name="connsiteY2" fmla="*/ 7144 h 14287"/>
                    <a:gd name="connsiteX3" fmla="*/ 7144 w 46672"/>
                    <a:gd name="connsiteY3" fmla="*/ 0 h 14287"/>
                    <a:gd name="connsiteX4" fmla="*/ 39529 w 46672"/>
                    <a:gd name="connsiteY4" fmla="*/ 0 h 14287"/>
                    <a:gd name="connsiteX5" fmla="*/ 46672 w 46672"/>
                    <a:gd name="connsiteY5" fmla="*/ 7144 h 14287"/>
                    <a:gd name="connsiteX6" fmla="*/ 39529 w 46672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6672" h="14287">
                      <a:moveTo>
                        <a:pt x="39529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8"/>
                        <a:pt x="3238" y="0"/>
                        <a:pt x="7144" y="0"/>
                      </a:cubicBezTo>
                      <a:lnTo>
                        <a:pt x="39529" y="0"/>
                      </a:lnTo>
                      <a:cubicBezTo>
                        <a:pt x="43434" y="0"/>
                        <a:pt x="46672" y="3238"/>
                        <a:pt x="46672" y="7144"/>
                      </a:cubicBezTo>
                      <a:cubicBezTo>
                        <a:pt x="46672" y="11049"/>
                        <a:pt x="43529" y="14288"/>
                        <a:pt x="3952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42" name="Grafik 3759">
                <a:extLst>
                  <a:ext uri="{FF2B5EF4-FFF2-40B4-BE49-F238E27FC236}">
                    <a16:creationId xmlns:a16="http://schemas.microsoft.com/office/drawing/2014/main" id="{3CAF16FA-0824-0F85-99CE-9CA212B2FFBC}"/>
                  </a:ext>
                </a:extLst>
              </p:cNvPr>
              <p:cNvGrpSpPr/>
              <p:nvPr/>
            </p:nvGrpSpPr>
            <p:grpSpPr bwMode="gray">
              <a:xfrm>
                <a:off x="5974936" y="3242156"/>
                <a:ext cx="91592" cy="53016"/>
                <a:chOff x="5974936" y="3242156"/>
                <a:chExt cx="91592" cy="53016"/>
              </a:xfrm>
              <a:grpFill/>
            </p:grpSpPr>
            <p:sp>
              <p:nvSpPr>
                <p:cNvPr id="644" name="Grafik 3759">
                  <a:extLst>
                    <a:ext uri="{FF2B5EF4-FFF2-40B4-BE49-F238E27FC236}">
                      <a16:creationId xmlns:a16="http://schemas.microsoft.com/office/drawing/2014/main" id="{DE95D488-AAE7-409A-43FF-D5731F4166BD}"/>
                    </a:ext>
                  </a:extLst>
                </p:cNvPr>
                <p:cNvSpPr/>
                <p:nvPr/>
              </p:nvSpPr>
              <p:spPr bwMode="gray">
                <a:xfrm>
                  <a:off x="5974974" y="3242156"/>
                  <a:ext cx="91554" cy="53016"/>
                </a:xfrm>
                <a:custGeom>
                  <a:avLst/>
                  <a:gdLst>
                    <a:gd name="connsiteX0" fmla="*/ 84354 w 91554"/>
                    <a:gd name="connsiteY0" fmla="*/ 53016 h 53016"/>
                    <a:gd name="connsiteX1" fmla="*/ 81210 w 91554"/>
                    <a:gd name="connsiteY1" fmla="*/ 52254 h 53016"/>
                    <a:gd name="connsiteX2" fmla="*/ 3963 w 91554"/>
                    <a:gd name="connsiteY2" fmla="*/ 13583 h 53016"/>
                    <a:gd name="connsiteX3" fmla="*/ 724 w 91554"/>
                    <a:gd name="connsiteY3" fmla="*/ 3963 h 53016"/>
                    <a:gd name="connsiteX4" fmla="*/ 10344 w 91554"/>
                    <a:gd name="connsiteY4" fmla="*/ 724 h 53016"/>
                    <a:gd name="connsiteX5" fmla="*/ 87592 w 91554"/>
                    <a:gd name="connsiteY5" fmla="*/ 39396 h 53016"/>
                    <a:gd name="connsiteX6" fmla="*/ 90831 w 91554"/>
                    <a:gd name="connsiteY6" fmla="*/ 49016 h 53016"/>
                    <a:gd name="connsiteX7" fmla="*/ 84354 w 91554"/>
                    <a:gd name="connsiteY7" fmla="*/ 53016 h 53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1554" h="53016">
                      <a:moveTo>
                        <a:pt x="84354" y="53016"/>
                      </a:moveTo>
                      <a:cubicBezTo>
                        <a:pt x="83306" y="53016"/>
                        <a:pt x="82163" y="52731"/>
                        <a:pt x="81210" y="52254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87592" y="39396"/>
                      </a:lnTo>
                      <a:cubicBezTo>
                        <a:pt x="91116" y="41205"/>
                        <a:pt x="92545" y="45492"/>
                        <a:pt x="90831" y="49016"/>
                      </a:cubicBezTo>
                      <a:cubicBezTo>
                        <a:pt x="89497" y="51588"/>
                        <a:pt x="87021" y="53016"/>
                        <a:pt x="84354" y="5301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45" name="Grafik 3759">
                  <a:extLst>
                    <a:ext uri="{FF2B5EF4-FFF2-40B4-BE49-F238E27FC236}">
                      <a16:creationId xmlns:a16="http://schemas.microsoft.com/office/drawing/2014/main" id="{F4163C01-74DD-A419-9B00-35D0F03F6E54}"/>
                    </a:ext>
                  </a:extLst>
                </p:cNvPr>
                <p:cNvSpPr/>
                <p:nvPr/>
              </p:nvSpPr>
              <p:spPr bwMode="gray">
                <a:xfrm>
                  <a:off x="5974936" y="3242309"/>
                  <a:ext cx="14287" cy="30480"/>
                </a:xfrm>
                <a:custGeom>
                  <a:avLst/>
                  <a:gdLst>
                    <a:gd name="connsiteX0" fmla="*/ 7144 w 14287"/>
                    <a:gd name="connsiteY0" fmla="*/ 30480 h 30480"/>
                    <a:gd name="connsiteX1" fmla="*/ 0 w 14287"/>
                    <a:gd name="connsiteY1" fmla="*/ 23336 h 30480"/>
                    <a:gd name="connsiteX2" fmla="*/ 0 w 14287"/>
                    <a:gd name="connsiteY2" fmla="*/ 7144 h 30480"/>
                    <a:gd name="connsiteX3" fmla="*/ 7144 w 14287"/>
                    <a:gd name="connsiteY3" fmla="*/ 0 h 30480"/>
                    <a:gd name="connsiteX4" fmla="*/ 14288 w 14287"/>
                    <a:gd name="connsiteY4" fmla="*/ 7144 h 30480"/>
                    <a:gd name="connsiteX5" fmla="*/ 14288 w 14287"/>
                    <a:gd name="connsiteY5" fmla="*/ 23336 h 30480"/>
                    <a:gd name="connsiteX6" fmla="*/ 7144 w 14287"/>
                    <a:gd name="connsiteY6" fmla="*/ 30480 h 30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0480">
                      <a:moveTo>
                        <a:pt x="7144" y="30480"/>
                      </a:moveTo>
                      <a:cubicBezTo>
                        <a:pt x="3239" y="30480"/>
                        <a:pt x="0" y="27242"/>
                        <a:pt x="0" y="23336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23336"/>
                      </a:lnTo>
                      <a:cubicBezTo>
                        <a:pt x="14288" y="27242"/>
                        <a:pt x="11144" y="30480"/>
                        <a:pt x="7144" y="304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46" name="Grafik 3759">
                  <a:extLst>
                    <a:ext uri="{FF2B5EF4-FFF2-40B4-BE49-F238E27FC236}">
                      <a16:creationId xmlns:a16="http://schemas.microsoft.com/office/drawing/2014/main" id="{732383E3-EA1E-5AF9-49FA-05063CCD23E6}"/>
                    </a:ext>
                  </a:extLst>
                </p:cNvPr>
                <p:cNvSpPr/>
                <p:nvPr/>
              </p:nvSpPr>
              <p:spPr bwMode="gray">
                <a:xfrm>
                  <a:off x="5974936" y="3242309"/>
                  <a:ext cx="46672" cy="14287"/>
                </a:xfrm>
                <a:custGeom>
                  <a:avLst/>
                  <a:gdLst>
                    <a:gd name="connsiteX0" fmla="*/ 39529 w 46672"/>
                    <a:gd name="connsiteY0" fmla="*/ 14287 h 14287"/>
                    <a:gd name="connsiteX1" fmla="*/ 7144 w 46672"/>
                    <a:gd name="connsiteY1" fmla="*/ 14287 h 14287"/>
                    <a:gd name="connsiteX2" fmla="*/ 0 w 46672"/>
                    <a:gd name="connsiteY2" fmla="*/ 7144 h 14287"/>
                    <a:gd name="connsiteX3" fmla="*/ 7144 w 46672"/>
                    <a:gd name="connsiteY3" fmla="*/ 0 h 14287"/>
                    <a:gd name="connsiteX4" fmla="*/ 39529 w 46672"/>
                    <a:gd name="connsiteY4" fmla="*/ 0 h 14287"/>
                    <a:gd name="connsiteX5" fmla="*/ 46673 w 46672"/>
                    <a:gd name="connsiteY5" fmla="*/ 7144 h 14287"/>
                    <a:gd name="connsiteX6" fmla="*/ 39529 w 46672"/>
                    <a:gd name="connsiteY6" fmla="*/ 14287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6672" h="14287">
                      <a:moveTo>
                        <a:pt x="39529" y="14287"/>
                      </a:moveTo>
                      <a:lnTo>
                        <a:pt x="7144" y="14287"/>
                      </a:lnTo>
                      <a:cubicBezTo>
                        <a:pt x="3239" y="14287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39529" y="0"/>
                      </a:lnTo>
                      <a:cubicBezTo>
                        <a:pt x="43434" y="0"/>
                        <a:pt x="46673" y="3238"/>
                        <a:pt x="46673" y="7144"/>
                      </a:cubicBezTo>
                      <a:cubicBezTo>
                        <a:pt x="46673" y="11049"/>
                        <a:pt x="43529" y="14287"/>
                        <a:pt x="39529" y="1428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643" name="Grafik 3759">
                <a:extLst>
                  <a:ext uri="{FF2B5EF4-FFF2-40B4-BE49-F238E27FC236}">
                    <a16:creationId xmlns:a16="http://schemas.microsoft.com/office/drawing/2014/main" id="{159819AC-584E-7433-0367-C2622657B414}"/>
                  </a:ext>
                </a:extLst>
              </p:cNvPr>
              <p:cNvSpPr/>
              <p:nvPr/>
            </p:nvSpPr>
            <p:spPr bwMode="gray">
              <a:xfrm>
                <a:off x="6037992" y="3273837"/>
                <a:ext cx="111442" cy="62864"/>
              </a:xfrm>
              <a:custGeom>
                <a:avLst/>
                <a:gdLst>
                  <a:gd name="connsiteX0" fmla="*/ 55721 w 111442"/>
                  <a:gd name="connsiteY0" fmla="*/ 62865 h 62864"/>
                  <a:gd name="connsiteX1" fmla="*/ 0 w 111442"/>
                  <a:gd name="connsiteY1" fmla="*/ 31433 h 62864"/>
                  <a:gd name="connsiteX2" fmla="*/ 55721 w 111442"/>
                  <a:gd name="connsiteY2" fmla="*/ 0 h 62864"/>
                  <a:gd name="connsiteX3" fmla="*/ 111443 w 111442"/>
                  <a:gd name="connsiteY3" fmla="*/ 31433 h 62864"/>
                  <a:gd name="connsiteX4" fmla="*/ 55721 w 111442"/>
                  <a:gd name="connsiteY4" fmla="*/ 62865 h 62864"/>
                  <a:gd name="connsiteX5" fmla="*/ 55721 w 111442"/>
                  <a:gd name="connsiteY5" fmla="*/ 14192 h 62864"/>
                  <a:gd name="connsiteX6" fmla="*/ 14288 w 111442"/>
                  <a:gd name="connsiteY6" fmla="*/ 31337 h 62864"/>
                  <a:gd name="connsiteX7" fmla="*/ 55721 w 111442"/>
                  <a:gd name="connsiteY7" fmla="*/ 48482 h 62864"/>
                  <a:gd name="connsiteX8" fmla="*/ 97155 w 111442"/>
                  <a:gd name="connsiteY8" fmla="*/ 31337 h 62864"/>
                  <a:gd name="connsiteX9" fmla="*/ 55721 w 111442"/>
                  <a:gd name="connsiteY9" fmla="*/ 14192 h 62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1442" h="62864">
                    <a:moveTo>
                      <a:pt x="55721" y="62865"/>
                    </a:moveTo>
                    <a:cubicBezTo>
                      <a:pt x="23908" y="62865"/>
                      <a:pt x="0" y="49340"/>
                      <a:pt x="0" y="31433"/>
                    </a:cubicBezTo>
                    <a:cubicBezTo>
                      <a:pt x="0" y="13526"/>
                      <a:pt x="24003" y="0"/>
                      <a:pt x="55721" y="0"/>
                    </a:cubicBezTo>
                    <a:cubicBezTo>
                      <a:pt x="87440" y="0"/>
                      <a:pt x="111443" y="13526"/>
                      <a:pt x="111443" y="31433"/>
                    </a:cubicBezTo>
                    <a:cubicBezTo>
                      <a:pt x="111443" y="49340"/>
                      <a:pt x="87535" y="62865"/>
                      <a:pt x="55721" y="62865"/>
                    </a:cubicBezTo>
                    <a:close/>
                    <a:moveTo>
                      <a:pt x="55721" y="14192"/>
                    </a:moveTo>
                    <a:cubicBezTo>
                      <a:pt x="30385" y="14192"/>
                      <a:pt x="14288" y="24384"/>
                      <a:pt x="14288" y="31337"/>
                    </a:cubicBezTo>
                    <a:cubicBezTo>
                      <a:pt x="14288" y="38290"/>
                      <a:pt x="30480" y="48482"/>
                      <a:pt x="55721" y="48482"/>
                    </a:cubicBezTo>
                    <a:cubicBezTo>
                      <a:pt x="80963" y="48482"/>
                      <a:pt x="97155" y="38290"/>
                      <a:pt x="97155" y="31337"/>
                    </a:cubicBezTo>
                    <a:cubicBezTo>
                      <a:pt x="97155" y="24384"/>
                      <a:pt x="81058" y="14192"/>
                      <a:pt x="55721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634" name="Grafik 3759">
              <a:extLst>
                <a:ext uri="{FF2B5EF4-FFF2-40B4-BE49-F238E27FC236}">
                  <a16:creationId xmlns:a16="http://schemas.microsoft.com/office/drawing/2014/main" id="{3569A9F1-1794-569C-7DC9-0BA71B109F01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668" name="Grafik 21">
            <a:extLst>
              <a:ext uri="{FF2B5EF4-FFF2-40B4-BE49-F238E27FC236}">
                <a16:creationId xmlns:a16="http://schemas.microsoft.com/office/drawing/2014/main" id="{B34A9A2B-A76B-7229-ADB1-A16F46078524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349529" y="5031047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69" name="Grafik 21">
              <a:extLst>
                <a:ext uri="{FF2B5EF4-FFF2-40B4-BE49-F238E27FC236}">
                  <a16:creationId xmlns:a16="http://schemas.microsoft.com/office/drawing/2014/main" id="{A5C1586F-5520-D3EA-C76D-A1D8F8C4B6E9}"/>
                </a:ext>
              </a:extLst>
            </p:cNvPr>
            <p:cNvGrpSpPr/>
            <p:nvPr/>
          </p:nvGrpSpPr>
          <p:grpSpPr bwMode="gray">
            <a:xfrm>
              <a:off x="5989319" y="3354704"/>
              <a:ext cx="143922" cy="208787"/>
              <a:chOff x="5989319" y="3354704"/>
              <a:chExt cx="143922" cy="208787"/>
            </a:xfrm>
            <a:grpFill/>
          </p:grpSpPr>
          <p:sp>
            <p:nvSpPr>
              <p:cNvPr id="683" name="Grafik 21">
                <a:extLst>
                  <a:ext uri="{FF2B5EF4-FFF2-40B4-BE49-F238E27FC236}">
                    <a16:creationId xmlns:a16="http://schemas.microsoft.com/office/drawing/2014/main" id="{8631A484-B699-AAC6-E6D7-714DE7850608}"/>
                  </a:ext>
                </a:extLst>
              </p:cNvPr>
              <p:cNvSpPr/>
              <p:nvPr/>
            </p:nvSpPr>
            <p:spPr bwMode="gray">
              <a:xfrm>
                <a:off x="5989319" y="3419569"/>
                <a:ext cx="143922" cy="143922"/>
              </a:xfrm>
              <a:custGeom>
                <a:avLst/>
                <a:gdLst>
                  <a:gd name="connsiteX0" fmla="*/ 123349 w 143922"/>
                  <a:gd name="connsiteY0" fmla="*/ 143923 h 143922"/>
                  <a:gd name="connsiteX1" fmla="*/ 20669 w 143922"/>
                  <a:gd name="connsiteY1" fmla="*/ 143923 h 143922"/>
                  <a:gd name="connsiteX2" fmla="*/ 0 w 143922"/>
                  <a:gd name="connsiteY2" fmla="*/ 123254 h 143922"/>
                  <a:gd name="connsiteX3" fmla="*/ 0 w 143922"/>
                  <a:gd name="connsiteY3" fmla="*/ 20669 h 143922"/>
                  <a:gd name="connsiteX4" fmla="*/ 20669 w 143922"/>
                  <a:gd name="connsiteY4" fmla="*/ 0 h 143922"/>
                  <a:gd name="connsiteX5" fmla="*/ 123253 w 143922"/>
                  <a:gd name="connsiteY5" fmla="*/ 0 h 143922"/>
                  <a:gd name="connsiteX6" fmla="*/ 143923 w 143922"/>
                  <a:gd name="connsiteY6" fmla="*/ 20669 h 143922"/>
                  <a:gd name="connsiteX7" fmla="*/ 143923 w 143922"/>
                  <a:gd name="connsiteY7" fmla="*/ 123254 h 143922"/>
                  <a:gd name="connsiteX8" fmla="*/ 123349 w 143922"/>
                  <a:gd name="connsiteY8" fmla="*/ 143923 h 143922"/>
                  <a:gd name="connsiteX9" fmla="*/ 20669 w 143922"/>
                  <a:gd name="connsiteY9" fmla="*/ 14288 h 143922"/>
                  <a:gd name="connsiteX10" fmla="*/ 14287 w 143922"/>
                  <a:gd name="connsiteY10" fmla="*/ 20669 h 143922"/>
                  <a:gd name="connsiteX11" fmla="*/ 14287 w 143922"/>
                  <a:gd name="connsiteY11" fmla="*/ 123254 h 143922"/>
                  <a:gd name="connsiteX12" fmla="*/ 20669 w 143922"/>
                  <a:gd name="connsiteY12" fmla="*/ 129635 h 143922"/>
                  <a:gd name="connsiteX13" fmla="*/ 123253 w 143922"/>
                  <a:gd name="connsiteY13" fmla="*/ 129635 h 143922"/>
                  <a:gd name="connsiteX14" fmla="*/ 129635 w 143922"/>
                  <a:gd name="connsiteY14" fmla="*/ 123254 h 143922"/>
                  <a:gd name="connsiteX15" fmla="*/ 129635 w 143922"/>
                  <a:gd name="connsiteY15" fmla="*/ 20669 h 143922"/>
                  <a:gd name="connsiteX16" fmla="*/ 123253 w 143922"/>
                  <a:gd name="connsiteY16" fmla="*/ 14288 h 143922"/>
                  <a:gd name="connsiteX17" fmla="*/ 20669 w 143922"/>
                  <a:gd name="connsiteY17" fmla="*/ 14288 h 143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3922" h="143922">
                    <a:moveTo>
                      <a:pt x="123349" y="143923"/>
                    </a:moveTo>
                    <a:lnTo>
                      <a:pt x="20669" y="143923"/>
                    </a:lnTo>
                    <a:cubicBezTo>
                      <a:pt x="9335" y="143923"/>
                      <a:pt x="0" y="134684"/>
                      <a:pt x="0" y="123254"/>
                    </a:cubicBezTo>
                    <a:lnTo>
                      <a:pt x="0" y="20669"/>
                    </a:lnTo>
                    <a:cubicBezTo>
                      <a:pt x="0" y="9239"/>
                      <a:pt x="9239" y="0"/>
                      <a:pt x="20669" y="0"/>
                    </a:cubicBezTo>
                    <a:lnTo>
                      <a:pt x="123253" y="0"/>
                    </a:lnTo>
                    <a:cubicBezTo>
                      <a:pt x="134588" y="0"/>
                      <a:pt x="143923" y="9239"/>
                      <a:pt x="143923" y="20669"/>
                    </a:cubicBezTo>
                    <a:lnTo>
                      <a:pt x="143923" y="123254"/>
                    </a:lnTo>
                    <a:cubicBezTo>
                      <a:pt x="143923" y="134684"/>
                      <a:pt x="134684" y="143923"/>
                      <a:pt x="123349" y="143923"/>
                    </a:cubicBezTo>
                    <a:close/>
                    <a:moveTo>
                      <a:pt x="20669" y="14288"/>
                    </a:moveTo>
                    <a:cubicBezTo>
                      <a:pt x="17145" y="14288"/>
                      <a:pt x="14287" y="17145"/>
                      <a:pt x="14287" y="20669"/>
                    </a:cubicBezTo>
                    <a:lnTo>
                      <a:pt x="14287" y="123254"/>
                    </a:lnTo>
                    <a:cubicBezTo>
                      <a:pt x="14287" y="126778"/>
                      <a:pt x="17145" y="129635"/>
                      <a:pt x="20669" y="129635"/>
                    </a:cubicBezTo>
                    <a:lnTo>
                      <a:pt x="123253" y="129635"/>
                    </a:lnTo>
                    <a:cubicBezTo>
                      <a:pt x="126778" y="129635"/>
                      <a:pt x="129635" y="126778"/>
                      <a:pt x="129635" y="123254"/>
                    </a:cubicBezTo>
                    <a:lnTo>
                      <a:pt x="129635" y="20669"/>
                    </a:lnTo>
                    <a:cubicBezTo>
                      <a:pt x="129635" y="17145"/>
                      <a:pt x="126778" y="14288"/>
                      <a:pt x="123253" y="14288"/>
                    </a:cubicBezTo>
                    <a:lnTo>
                      <a:pt x="20669" y="1428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grpSp>
            <p:nvGrpSpPr>
              <p:cNvPr id="684" name="Grafik 21">
                <a:extLst>
                  <a:ext uri="{FF2B5EF4-FFF2-40B4-BE49-F238E27FC236}">
                    <a16:creationId xmlns:a16="http://schemas.microsoft.com/office/drawing/2014/main" id="{E40C70FD-BEF5-C48A-DF9A-618E96E9D74A}"/>
                  </a:ext>
                </a:extLst>
              </p:cNvPr>
              <p:cNvGrpSpPr/>
              <p:nvPr/>
            </p:nvGrpSpPr>
            <p:grpSpPr bwMode="gray">
              <a:xfrm>
                <a:off x="6010941" y="3354704"/>
                <a:ext cx="100774" cy="79152"/>
                <a:chOff x="6010941" y="3354704"/>
                <a:chExt cx="100774" cy="79152"/>
              </a:xfrm>
              <a:grpFill/>
            </p:grpSpPr>
            <p:sp>
              <p:nvSpPr>
                <p:cNvPr id="686" name="Grafik 21">
                  <a:extLst>
                    <a:ext uri="{FF2B5EF4-FFF2-40B4-BE49-F238E27FC236}">
                      <a16:creationId xmlns:a16="http://schemas.microsoft.com/office/drawing/2014/main" id="{D19A24AE-D0BC-33E3-9D64-BF4B93316895}"/>
                    </a:ext>
                  </a:extLst>
                </p:cNvPr>
                <p:cNvSpPr/>
                <p:nvPr/>
              </p:nvSpPr>
              <p:spPr bwMode="gray">
                <a:xfrm>
                  <a:off x="6010941" y="3354704"/>
                  <a:ext cx="100774" cy="57530"/>
                </a:xfrm>
                <a:custGeom>
                  <a:avLst/>
                  <a:gdLst>
                    <a:gd name="connsiteX0" fmla="*/ 93631 w 100774"/>
                    <a:gd name="connsiteY0" fmla="*/ 57531 h 57530"/>
                    <a:gd name="connsiteX1" fmla="*/ 86487 w 100774"/>
                    <a:gd name="connsiteY1" fmla="*/ 50387 h 57530"/>
                    <a:gd name="connsiteX2" fmla="*/ 50387 w 100774"/>
                    <a:gd name="connsiteY2" fmla="*/ 14288 h 57530"/>
                    <a:gd name="connsiteX3" fmla="*/ 14288 w 100774"/>
                    <a:gd name="connsiteY3" fmla="*/ 50387 h 57530"/>
                    <a:gd name="connsiteX4" fmla="*/ 7144 w 100774"/>
                    <a:gd name="connsiteY4" fmla="*/ 57531 h 57530"/>
                    <a:gd name="connsiteX5" fmla="*/ 0 w 100774"/>
                    <a:gd name="connsiteY5" fmla="*/ 50387 h 57530"/>
                    <a:gd name="connsiteX6" fmla="*/ 50387 w 100774"/>
                    <a:gd name="connsiteY6" fmla="*/ 0 h 57530"/>
                    <a:gd name="connsiteX7" fmla="*/ 100775 w 100774"/>
                    <a:gd name="connsiteY7" fmla="*/ 50387 h 57530"/>
                    <a:gd name="connsiteX8" fmla="*/ 93631 w 100774"/>
                    <a:gd name="connsiteY8" fmla="*/ 57531 h 575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0774" h="57530">
                      <a:moveTo>
                        <a:pt x="93631" y="57531"/>
                      </a:moveTo>
                      <a:cubicBezTo>
                        <a:pt x="89726" y="57531"/>
                        <a:pt x="86487" y="54292"/>
                        <a:pt x="86487" y="50387"/>
                      </a:cubicBezTo>
                      <a:cubicBezTo>
                        <a:pt x="86487" y="30480"/>
                        <a:pt x="70295" y="14288"/>
                        <a:pt x="50387" y="14288"/>
                      </a:cubicBezTo>
                      <a:cubicBezTo>
                        <a:pt x="30480" y="14288"/>
                        <a:pt x="14288" y="30480"/>
                        <a:pt x="14288" y="50387"/>
                      </a:cubicBezTo>
                      <a:cubicBezTo>
                        <a:pt x="14288" y="54292"/>
                        <a:pt x="11049" y="57531"/>
                        <a:pt x="7144" y="57531"/>
                      </a:cubicBezTo>
                      <a:cubicBezTo>
                        <a:pt x="3239" y="57531"/>
                        <a:pt x="0" y="54292"/>
                        <a:pt x="0" y="50387"/>
                      </a:cubicBezTo>
                      <a:cubicBezTo>
                        <a:pt x="0" y="22669"/>
                        <a:pt x="22574" y="0"/>
                        <a:pt x="50387" y="0"/>
                      </a:cubicBezTo>
                      <a:cubicBezTo>
                        <a:pt x="78105" y="0"/>
                        <a:pt x="100775" y="22574"/>
                        <a:pt x="100775" y="50387"/>
                      </a:cubicBezTo>
                      <a:cubicBezTo>
                        <a:pt x="100775" y="54388"/>
                        <a:pt x="97536" y="57531"/>
                        <a:pt x="93631" y="5753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687" name="Grafik 21">
                  <a:extLst>
                    <a:ext uri="{FF2B5EF4-FFF2-40B4-BE49-F238E27FC236}">
                      <a16:creationId xmlns:a16="http://schemas.microsoft.com/office/drawing/2014/main" id="{1F569953-56D2-29DD-FCCC-B237713F51C5}"/>
                    </a:ext>
                  </a:extLst>
                </p:cNvPr>
                <p:cNvSpPr/>
                <p:nvPr/>
              </p:nvSpPr>
              <p:spPr bwMode="gray">
                <a:xfrm>
                  <a:off x="6010941" y="3397947"/>
                  <a:ext cx="14287" cy="35909"/>
                </a:xfrm>
                <a:custGeom>
                  <a:avLst/>
                  <a:gdLst>
                    <a:gd name="connsiteX0" fmla="*/ 7144 w 14287"/>
                    <a:gd name="connsiteY0" fmla="*/ 35909 h 35909"/>
                    <a:gd name="connsiteX1" fmla="*/ 0 w 14287"/>
                    <a:gd name="connsiteY1" fmla="*/ 28766 h 35909"/>
                    <a:gd name="connsiteX2" fmla="*/ 0 w 14287"/>
                    <a:gd name="connsiteY2" fmla="*/ 7144 h 35909"/>
                    <a:gd name="connsiteX3" fmla="*/ 7144 w 14287"/>
                    <a:gd name="connsiteY3" fmla="*/ 0 h 35909"/>
                    <a:gd name="connsiteX4" fmla="*/ 14288 w 14287"/>
                    <a:gd name="connsiteY4" fmla="*/ 7144 h 35909"/>
                    <a:gd name="connsiteX5" fmla="*/ 14288 w 14287"/>
                    <a:gd name="connsiteY5" fmla="*/ 28766 h 35909"/>
                    <a:gd name="connsiteX6" fmla="*/ 7144 w 14287"/>
                    <a:gd name="connsiteY6" fmla="*/ 35909 h 359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5909">
                      <a:moveTo>
                        <a:pt x="7144" y="35909"/>
                      </a:moveTo>
                      <a:cubicBezTo>
                        <a:pt x="3239" y="35909"/>
                        <a:pt x="0" y="32671"/>
                        <a:pt x="0" y="2876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8766"/>
                      </a:lnTo>
                      <a:cubicBezTo>
                        <a:pt x="14288" y="32766"/>
                        <a:pt x="11144" y="35909"/>
                        <a:pt x="7144" y="359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688" name="Grafik 21">
                  <a:extLst>
                    <a:ext uri="{FF2B5EF4-FFF2-40B4-BE49-F238E27FC236}">
                      <a16:creationId xmlns:a16="http://schemas.microsoft.com/office/drawing/2014/main" id="{602CC154-AAB3-5031-8B43-CDA6C015C717}"/>
                    </a:ext>
                  </a:extLst>
                </p:cNvPr>
                <p:cNvSpPr/>
                <p:nvPr/>
              </p:nvSpPr>
              <p:spPr bwMode="gray">
                <a:xfrm>
                  <a:off x="6097428" y="3397947"/>
                  <a:ext cx="14287" cy="35909"/>
                </a:xfrm>
                <a:custGeom>
                  <a:avLst/>
                  <a:gdLst>
                    <a:gd name="connsiteX0" fmla="*/ 7144 w 14287"/>
                    <a:gd name="connsiteY0" fmla="*/ 35909 h 35909"/>
                    <a:gd name="connsiteX1" fmla="*/ 0 w 14287"/>
                    <a:gd name="connsiteY1" fmla="*/ 28766 h 35909"/>
                    <a:gd name="connsiteX2" fmla="*/ 0 w 14287"/>
                    <a:gd name="connsiteY2" fmla="*/ 7144 h 35909"/>
                    <a:gd name="connsiteX3" fmla="*/ 7144 w 14287"/>
                    <a:gd name="connsiteY3" fmla="*/ 0 h 35909"/>
                    <a:gd name="connsiteX4" fmla="*/ 14288 w 14287"/>
                    <a:gd name="connsiteY4" fmla="*/ 7144 h 35909"/>
                    <a:gd name="connsiteX5" fmla="*/ 14288 w 14287"/>
                    <a:gd name="connsiteY5" fmla="*/ 28766 h 35909"/>
                    <a:gd name="connsiteX6" fmla="*/ 7144 w 14287"/>
                    <a:gd name="connsiteY6" fmla="*/ 35909 h 359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5909">
                      <a:moveTo>
                        <a:pt x="7144" y="35909"/>
                      </a:moveTo>
                      <a:cubicBezTo>
                        <a:pt x="3239" y="35909"/>
                        <a:pt x="0" y="32671"/>
                        <a:pt x="0" y="2876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8766"/>
                      </a:lnTo>
                      <a:cubicBezTo>
                        <a:pt x="14288" y="32766"/>
                        <a:pt x="11049" y="35909"/>
                        <a:pt x="7144" y="359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685" name="Grafik 21">
                <a:extLst>
                  <a:ext uri="{FF2B5EF4-FFF2-40B4-BE49-F238E27FC236}">
                    <a16:creationId xmlns:a16="http://schemas.microsoft.com/office/drawing/2014/main" id="{9B751EFC-FB2B-DFA7-0646-8C6C9E5649CE}"/>
                  </a:ext>
                </a:extLst>
              </p:cNvPr>
              <p:cNvSpPr/>
              <p:nvPr/>
            </p:nvSpPr>
            <p:spPr bwMode="gray">
              <a:xfrm>
                <a:off x="6034753" y="3448811"/>
                <a:ext cx="53194" cy="85534"/>
              </a:xfrm>
              <a:custGeom>
                <a:avLst/>
                <a:gdLst>
                  <a:gd name="connsiteX0" fmla="*/ 46006 w 53194"/>
                  <a:gd name="connsiteY0" fmla="*/ 85535 h 85534"/>
                  <a:gd name="connsiteX1" fmla="*/ 7144 w 53194"/>
                  <a:gd name="connsiteY1" fmla="*/ 85535 h 85534"/>
                  <a:gd name="connsiteX2" fmla="*/ 1524 w 53194"/>
                  <a:gd name="connsiteY2" fmla="*/ 82772 h 85534"/>
                  <a:gd name="connsiteX3" fmla="*/ 191 w 53194"/>
                  <a:gd name="connsiteY3" fmla="*/ 76676 h 85534"/>
                  <a:gd name="connsiteX4" fmla="*/ 8001 w 53194"/>
                  <a:gd name="connsiteY4" fmla="*/ 45530 h 85534"/>
                  <a:gd name="connsiteX5" fmla="*/ 0 w 53194"/>
                  <a:gd name="connsiteY5" fmla="*/ 26575 h 85534"/>
                  <a:gd name="connsiteX6" fmla="*/ 26575 w 53194"/>
                  <a:gd name="connsiteY6" fmla="*/ 0 h 85534"/>
                  <a:gd name="connsiteX7" fmla="*/ 53150 w 53194"/>
                  <a:gd name="connsiteY7" fmla="*/ 26575 h 85534"/>
                  <a:gd name="connsiteX8" fmla="*/ 45148 w 53194"/>
                  <a:gd name="connsiteY8" fmla="*/ 45530 h 85534"/>
                  <a:gd name="connsiteX9" fmla="*/ 52959 w 53194"/>
                  <a:gd name="connsiteY9" fmla="*/ 76676 h 85534"/>
                  <a:gd name="connsiteX10" fmla="*/ 51626 w 53194"/>
                  <a:gd name="connsiteY10" fmla="*/ 82772 h 85534"/>
                  <a:gd name="connsiteX11" fmla="*/ 46006 w 53194"/>
                  <a:gd name="connsiteY11" fmla="*/ 85535 h 85534"/>
                  <a:gd name="connsiteX12" fmla="*/ 16288 w 53194"/>
                  <a:gd name="connsiteY12" fmla="*/ 71247 h 85534"/>
                  <a:gd name="connsiteX13" fmla="*/ 36862 w 53194"/>
                  <a:gd name="connsiteY13" fmla="*/ 71247 h 85534"/>
                  <a:gd name="connsiteX14" fmla="*/ 30194 w 53194"/>
                  <a:gd name="connsiteY14" fmla="*/ 44577 h 85534"/>
                  <a:gd name="connsiteX15" fmla="*/ 33242 w 53194"/>
                  <a:gd name="connsiteY15" fmla="*/ 36862 h 85534"/>
                  <a:gd name="connsiteX16" fmla="*/ 38862 w 53194"/>
                  <a:gd name="connsiteY16" fmla="*/ 26575 h 85534"/>
                  <a:gd name="connsiteX17" fmla="*/ 26575 w 53194"/>
                  <a:gd name="connsiteY17" fmla="*/ 14288 h 85534"/>
                  <a:gd name="connsiteX18" fmla="*/ 14288 w 53194"/>
                  <a:gd name="connsiteY18" fmla="*/ 26575 h 85534"/>
                  <a:gd name="connsiteX19" fmla="*/ 19907 w 53194"/>
                  <a:gd name="connsiteY19" fmla="*/ 36862 h 85534"/>
                  <a:gd name="connsiteX20" fmla="*/ 22955 w 53194"/>
                  <a:gd name="connsiteY20" fmla="*/ 44577 h 85534"/>
                  <a:gd name="connsiteX21" fmla="*/ 16288 w 53194"/>
                  <a:gd name="connsiteY21" fmla="*/ 71247 h 85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3194" h="85534">
                    <a:moveTo>
                      <a:pt x="46006" y="85535"/>
                    </a:moveTo>
                    <a:lnTo>
                      <a:pt x="7144" y="85535"/>
                    </a:lnTo>
                    <a:cubicBezTo>
                      <a:pt x="4953" y="85535"/>
                      <a:pt x="2858" y="84487"/>
                      <a:pt x="1524" y="82772"/>
                    </a:cubicBezTo>
                    <a:cubicBezTo>
                      <a:pt x="191" y="81058"/>
                      <a:pt x="-286" y="78772"/>
                      <a:pt x="191" y="76676"/>
                    </a:cubicBezTo>
                    <a:lnTo>
                      <a:pt x="8001" y="45530"/>
                    </a:lnTo>
                    <a:cubicBezTo>
                      <a:pt x="2953" y="40577"/>
                      <a:pt x="0" y="33814"/>
                      <a:pt x="0" y="26575"/>
                    </a:cubicBezTo>
                    <a:cubicBezTo>
                      <a:pt x="0" y="11906"/>
                      <a:pt x="11906" y="0"/>
                      <a:pt x="26575" y="0"/>
                    </a:cubicBezTo>
                    <a:cubicBezTo>
                      <a:pt x="41243" y="0"/>
                      <a:pt x="53150" y="11906"/>
                      <a:pt x="53150" y="26575"/>
                    </a:cubicBezTo>
                    <a:cubicBezTo>
                      <a:pt x="53150" y="33814"/>
                      <a:pt x="50197" y="40577"/>
                      <a:pt x="45148" y="45530"/>
                    </a:cubicBezTo>
                    <a:lnTo>
                      <a:pt x="52959" y="76676"/>
                    </a:lnTo>
                    <a:cubicBezTo>
                      <a:pt x="53531" y="78772"/>
                      <a:pt x="53054" y="81058"/>
                      <a:pt x="51626" y="82772"/>
                    </a:cubicBezTo>
                    <a:cubicBezTo>
                      <a:pt x="50292" y="84487"/>
                      <a:pt x="48196" y="85535"/>
                      <a:pt x="46006" y="85535"/>
                    </a:cubicBezTo>
                    <a:close/>
                    <a:moveTo>
                      <a:pt x="16288" y="71247"/>
                    </a:moveTo>
                    <a:lnTo>
                      <a:pt x="36862" y="71247"/>
                    </a:lnTo>
                    <a:lnTo>
                      <a:pt x="30194" y="44577"/>
                    </a:lnTo>
                    <a:cubicBezTo>
                      <a:pt x="29432" y="41624"/>
                      <a:pt x="30671" y="38481"/>
                      <a:pt x="33242" y="36862"/>
                    </a:cubicBezTo>
                    <a:cubicBezTo>
                      <a:pt x="36767" y="34576"/>
                      <a:pt x="38862" y="30670"/>
                      <a:pt x="38862" y="26575"/>
                    </a:cubicBezTo>
                    <a:cubicBezTo>
                      <a:pt x="38862" y="19812"/>
                      <a:pt x="33338" y="14288"/>
                      <a:pt x="26575" y="14288"/>
                    </a:cubicBezTo>
                    <a:cubicBezTo>
                      <a:pt x="19812" y="14288"/>
                      <a:pt x="14288" y="19812"/>
                      <a:pt x="14288" y="26575"/>
                    </a:cubicBezTo>
                    <a:cubicBezTo>
                      <a:pt x="14288" y="30766"/>
                      <a:pt x="16383" y="34576"/>
                      <a:pt x="19907" y="36862"/>
                    </a:cubicBezTo>
                    <a:cubicBezTo>
                      <a:pt x="22479" y="38481"/>
                      <a:pt x="23717" y="41624"/>
                      <a:pt x="22955" y="44577"/>
                    </a:cubicBezTo>
                    <a:lnTo>
                      <a:pt x="16288" y="7124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670" name="Grafik 21">
              <a:extLst>
                <a:ext uri="{FF2B5EF4-FFF2-40B4-BE49-F238E27FC236}">
                  <a16:creationId xmlns:a16="http://schemas.microsoft.com/office/drawing/2014/main" id="{CB3D57DF-90C0-96B8-9C66-8D0C4DC3BA57}"/>
                </a:ext>
              </a:extLst>
            </p:cNvPr>
            <p:cNvGrpSpPr/>
            <p:nvPr/>
          </p:nvGrpSpPr>
          <p:grpSpPr bwMode="gray">
            <a:xfrm>
              <a:off x="6167627" y="3424451"/>
              <a:ext cx="79057" cy="69318"/>
              <a:chOff x="6167627" y="3424451"/>
              <a:chExt cx="79057" cy="69318"/>
            </a:xfrm>
            <a:grpFill/>
          </p:grpSpPr>
          <p:sp>
            <p:nvSpPr>
              <p:cNvPr id="680" name="Grafik 21">
                <a:extLst>
                  <a:ext uri="{FF2B5EF4-FFF2-40B4-BE49-F238E27FC236}">
                    <a16:creationId xmlns:a16="http://schemas.microsoft.com/office/drawing/2014/main" id="{4F43F4EF-6396-25E9-C212-B2A42F7E0B53}"/>
                  </a:ext>
                </a:extLst>
              </p:cNvPr>
              <p:cNvSpPr/>
              <p:nvPr/>
            </p:nvSpPr>
            <p:spPr bwMode="gray">
              <a:xfrm>
                <a:off x="6167627" y="3451954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7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7" y="3239"/>
                      <a:pt x="79057" y="7144"/>
                    </a:cubicBezTo>
                    <a:cubicBezTo>
                      <a:pt x="79057" y="11049"/>
                      <a:pt x="75819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681" name="Grafik 21">
                <a:extLst>
                  <a:ext uri="{FF2B5EF4-FFF2-40B4-BE49-F238E27FC236}">
                    <a16:creationId xmlns:a16="http://schemas.microsoft.com/office/drawing/2014/main" id="{3554911A-C0ED-C295-1D75-B96CBD0D99EC}"/>
                  </a:ext>
                </a:extLst>
              </p:cNvPr>
              <p:cNvSpPr/>
              <p:nvPr/>
            </p:nvSpPr>
            <p:spPr bwMode="gray">
              <a:xfrm>
                <a:off x="6204894" y="3424451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124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682" name="Grafik 21">
                <a:extLst>
                  <a:ext uri="{FF2B5EF4-FFF2-40B4-BE49-F238E27FC236}">
                    <a16:creationId xmlns:a16="http://schemas.microsoft.com/office/drawing/2014/main" id="{8290DB93-4AFC-F05B-6355-EC2EC2285684}"/>
                  </a:ext>
                </a:extLst>
              </p:cNvPr>
              <p:cNvSpPr/>
              <p:nvPr/>
            </p:nvSpPr>
            <p:spPr bwMode="gray">
              <a:xfrm>
                <a:off x="6204894" y="3451978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835" y="41124"/>
                      <a:pt x="9025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671" name="Grafik 21">
              <a:extLst>
                <a:ext uri="{FF2B5EF4-FFF2-40B4-BE49-F238E27FC236}">
                  <a16:creationId xmlns:a16="http://schemas.microsoft.com/office/drawing/2014/main" id="{4CA0A11A-CDAE-F583-27CC-3EE39F5550F5}"/>
                </a:ext>
              </a:extLst>
            </p:cNvPr>
            <p:cNvGrpSpPr/>
            <p:nvPr/>
          </p:nvGrpSpPr>
          <p:grpSpPr bwMode="gray">
            <a:xfrm>
              <a:off x="5875972" y="3424451"/>
              <a:ext cx="79128" cy="69318"/>
              <a:chOff x="5875972" y="3424451"/>
              <a:chExt cx="79128" cy="69318"/>
            </a:xfrm>
            <a:grpFill/>
          </p:grpSpPr>
          <p:sp>
            <p:nvSpPr>
              <p:cNvPr id="677" name="Grafik 21">
                <a:extLst>
                  <a:ext uri="{FF2B5EF4-FFF2-40B4-BE49-F238E27FC236}">
                    <a16:creationId xmlns:a16="http://schemas.microsoft.com/office/drawing/2014/main" id="{77FB27EE-AB8B-932D-6FD8-691221FC2300}"/>
                  </a:ext>
                </a:extLst>
              </p:cNvPr>
              <p:cNvSpPr/>
              <p:nvPr/>
            </p:nvSpPr>
            <p:spPr bwMode="gray">
              <a:xfrm>
                <a:off x="5875972" y="3451954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8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8" y="3239"/>
                      <a:pt x="79058" y="7144"/>
                    </a:cubicBezTo>
                    <a:cubicBezTo>
                      <a:pt x="79058" y="11049"/>
                      <a:pt x="75914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678" name="Grafik 21">
                <a:extLst>
                  <a:ext uri="{FF2B5EF4-FFF2-40B4-BE49-F238E27FC236}">
                    <a16:creationId xmlns:a16="http://schemas.microsoft.com/office/drawing/2014/main" id="{419D76FE-2E68-4D42-546C-902AC806CDF9}"/>
                  </a:ext>
                </a:extLst>
              </p:cNvPr>
              <p:cNvSpPr/>
              <p:nvPr/>
            </p:nvSpPr>
            <p:spPr bwMode="gray">
              <a:xfrm>
                <a:off x="5913238" y="3424451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362" y="41124"/>
                      <a:pt x="36552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679" name="Grafik 21">
                <a:extLst>
                  <a:ext uri="{FF2B5EF4-FFF2-40B4-BE49-F238E27FC236}">
                    <a16:creationId xmlns:a16="http://schemas.microsoft.com/office/drawing/2014/main" id="{1D3A54F0-2E65-3BA3-773C-2E6026803FF5}"/>
                  </a:ext>
                </a:extLst>
              </p:cNvPr>
              <p:cNvSpPr/>
              <p:nvPr/>
            </p:nvSpPr>
            <p:spPr bwMode="gray">
              <a:xfrm>
                <a:off x="5913333" y="3451978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739" y="41124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672" name="Grafik 21">
              <a:extLst>
                <a:ext uri="{FF2B5EF4-FFF2-40B4-BE49-F238E27FC236}">
                  <a16:creationId xmlns:a16="http://schemas.microsoft.com/office/drawing/2014/main" id="{57884EFC-2070-6506-D3E3-EE4BD68F65A5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73" name="Grafik 21">
              <a:extLst>
                <a:ext uri="{FF2B5EF4-FFF2-40B4-BE49-F238E27FC236}">
                  <a16:creationId xmlns:a16="http://schemas.microsoft.com/office/drawing/2014/main" id="{E0CED228-A1A0-60F5-FFD8-C286BDC4941F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74" name="Grafik 21">
              <a:extLst>
                <a:ext uri="{FF2B5EF4-FFF2-40B4-BE49-F238E27FC236}">
                  <a16:creationId xmlns:a16="http://schemas.microsoft.com/office/drawing/2014/main" id="{9D5235C9-27BE-3EC2-7288-CB63B85E8AF0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75" name="Grafik 21">
              <a:extLst>
                <a:ext uri="{FF2B5EF4-FFF2-40B4-BE49-F238E27FC236}">
                  <a16:creationId xmlns:a16="http://schemas.microsoft.com/office/drawing/2014/main" id="{989E6ED5-EC6A-C8D6-1B17-A07394C031C0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76" name="Grafik 21">
              <a:extLst>
                <a:ext uri="{FF2B5EF4-FFF2-40B4-BE49-F238E27FC236}">
                  <a16:creationId xmlns:a16="http://schemas.microsoft.com/office/drawing/2014/main" id="{4EC4A319-8100-8A8A-676D-D3E896E267FC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</p:grpSp>
      <p:grpSp>
        <p:nvGrpSpPr>
          <p:cNvPr id="689" name="Grafik 25">
            <a:extLst>
              <a:ext uri="{FF2B5EF4-FFF2-40B4-BE49-F238E27FC236}">
                <a16:creationId xmlns:a16="http://schemas.microsoft.com/office/drawing/2014/main" id="{A4956518-643B-4FAE-BBFC-62CF2753E71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349529" y="5480299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690" name="Grafik 25">
              <a:extLst>
                <a:ext uri="{FF2B5EF4-FFF2-40B4-BE49-F238E27FC236}">
                  <a16:creationId xmlns:a16="http://schemas.microsoft.com/office/drawing/2014/main" id="{ED07760E-B4D9-159F-112B-3A2D8F0C54E5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91" name="Grafik 25">
              <a:extLst>
                <a:ext uri="{FF2B5EF4-FFF2-40B4-BE49-F238E27FC236}">
                  <a16:creationId xmlns:a16="http://schemas.microsoft.com/office/drawing/2014/main" id="{CBB75F82-6BBE-B791-228E-4738B261A44B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92" name="Grafik 25">
              <a:extLst>
                <a:ext uri="{FF2B5EF4-FFF2-40B4-BE49-F238E27FC236}">
                  <a16:creationId xmlns:a16="http://schemas.microsoft.com/office/drawing/2014/main" id="{C963A6F1-EEB7-FA87-4065-DE45C5E2A769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93" name="Grafik 25">
              <a:extLst>
                <a:ext uri="{FF2B5EF4-FFF2-40B4-BE49-F238E27FC236}">
                  <a16:creationId xmlns:a16="http://schemas.microsoft.com/office/drawing/2014/main" id="{7CB90FC6-6AE2-ED50-70A8-D2320A251F2B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94" name="Grafik 25">
              <a:extLst>
                <a:ext uri="{FF2B5EF4-FFF2-40B4-BE49-F238E27FC236}">
                  <a16:creationId xmlns:a16="http://schemas.microsoft.com/office/drawing/2014/main" id="{01F3650C-4BF2-B3EE-E42B-2F82FBF3287A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95" name="Grafik 25">
              <a:extLst>
                <a:ext uri="{FF2B5EF4-FFF2-40B4-BE49-F238E27FC236}">
                  <a16:creationId xmlns:a16="http://schemas.microsoft.com/office/drawing/2014/main" id="{84BEBB9B-E85C-1E06-9321-C8CF80238B42}"/>
                </a:ext>
              </a:extLst>
            </p:cNvPr>
            <p:cNvSpPr/>
            <p:nvPr/>
          </p:nvSpPr>
          <p:spPr bwMode="gray">
            <a:xfrm>
              <a:off x="6135147" y="3330525"/>
              <a:ext cx="46672" cy="257256"/>
            </a:xfrm>
            <a:custGeom>
              <a:avLst/>
              <a:gdLst>
                <a:gd name="connsiteX0" fmla="*/ 7144 w 46672"/>
                <a:gd name="connsiteY0" fmla="*/ 257256 h 257256"/>
                <a:gd name="connsiteX1" fmla="*/ 4381 w 46672"/>
                <a:gd name="connsiteY1" fmla="*/ 256685 h 257256"/>
                <a:gd name="connsiteX2" fmla="*/ 0 w 46672"/>
                <a:gd name="connsiteY2" fmla="*/ 250112 h 257256"/>
                <a:gd name="connsiteX3" fmla="*/ 0 w 46672"/>
                <a:gd name="connsiteY3" fmla="*/ 39515 h 257256"/>
                <a:gd name="connsiteX4" fmla="*/ 2095 w 46672"/>
                <a:gd name="connsiteY4" fmla="*/ 34466 h 257256"/>
                <a:gd name="connsiteX5" fmla="*/ 34480 w 46672"/>
                <a:gd name="connsiteY5" fmla="*/ 2081 h 257256"/>
                <a:gd name="connsiteX6" fmla="*/ 42291 w 46672"/>
                <a:gd name="connsiteY6" fmla="*/ 557 h 257256"/>
                <a:gd name="connsiteX7" fmla="*/ 46672 w 46672"/>
                <a:gd name="connsiteY7" fmla="*/ 7130 h 257256"/>
                <a:gd name="connsiteX8" fmla="*/ 46672 w 46672"/>
                <a:gd name="connsiteY8" fmla="*/ 217727 h 257256"/>
                <a:gd name="connsiteX9" fmla="*/ 44577 w 46672"/>
                <a:gd name="connsiteY9" fmla="*/ 222776 h 257256"/>
                <a:gd name="connsiteX10" fmla="*/ 12192 w 46672"/>
                <a:gd name="connsiteY10" fmla="*/ 255161 h 257256"/>
                <a:gd name="connsiteX11" fmla="*/ 7144 w 46672"/>
                <a:gd name="connsiteY11" fmla="*/ 257256 h 257256"/>
                <a:gd name="connsiteX12" fmla="*/ 14288 w 46672"/>
                <a:gd name="connsiteY12" fmla="*/ 42467 h 257256"/>
                <a:gd name="connsiteX13" fmla="*/ 14288 w 46672"/>
                <a:gd name="connsiteY13" fmla="*/ 232872 h 257256"/>
                <a:gd name="connsiteX14" fmla="*/ 32385 w 46672"/>
                <a:gd name="connsiteY14" fmla="*/ 214775 h 257256"/>
                <a:gd name="connsiteX15" fmla="*/ 32385 w 46672"/>
                <a:gd name="connsiteY15" fmla="*/ 24370 h 257256"/>
                <a:gd name="connsiteX16" fmla="*/ 14288 w 46672"/>
                <a:gd name="connsiteY16" fmla="*/ 42467 h 257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6672" h="257256">
                  <a:moveTo>
                    <a:pt x="7144" y="257256"/>
                  </a:moveTo>
                  <a:cubicBezTo>
                    <a:pt x="6191" y="257256"/>
                    <a:pt x="5334" y="257066"/>
                    <a:pt x="4381" y="256685"/>
                  </a:cubicBezTo>
                  <a:cubicBezTo>
                    <a:pt x="1715" y="255542"/>
                    <a:pt x="0" y="252970"/>
                    <a:pt x="0" y="250112"/>
                  </a:cubicBezTo>
                  <a:lnTo>
                    <a:pt x="0" y="39515"/>
                  </a:lnTo>
                  <a:cubicBezTo>
                    <a:pt x="0" y="37610"/>
                    <a:pt x="762" y="35800"/>
                    <a:pt x="2095" y="34466"/>
                  </a:cubicBezTo>
                  <a:lnTo>
                    <a:pt x="34480" y="2081"/>
                  </a:lnTo>
                  <a:cubicBezTo>
                    <a:pt x="36481" y="81"/>
                    <a:pt x="39624" y="-586"/>
                    <a:pt x="42291" y="557"/>
                  </a:cubicBezTo>
                  <a:cubicBezTo>
                    <a:pt x="44958" y="1700"/>
                    <a:pt x="46672" y="4272"/>
                    <a:pt x="46672" y="7130"/>
                  </a:cubicBezTo>
                  <a:lnTo>
                    <a:pt x="46672" y="217727"/>
                  </a:lnTo>
                  <a:cubicBezTo>
                    <a:pt x="46672" y="219632"/>
                    <a:pt x="45910" y="221442"/>
                    <a:pt x="44577" y="222776"/>
                  </a:cubicBezTo>
                  <a:lnTo>
                    <a:pt x="12192" y="255161"/>
                  </a:lnTo>
                  <a:cubicBezTo>
                    <a:pt x="10858" y="256494"/>
                    <a:pt x="9049" y="257256"/>
                    <a:pt x="7144" y="257256"/>
                  </a:cubicBezTo>
                  <a:close/>
                  <a:moveTo>
                    <a:pt x="14288" y="42467"/>
                  </a:moveTo>
                  <a:lnTo>
                    <a:pt x="14288" y="232872"/>
                  </a:lnTo>
                  <a:lnTo>
                    <a:pt x="32385" y="214775"/>
                  </a:lnTo>
                  <a:lnTo>
                    <a:pt x="32385" y="24370"/>
                  </a:lnTo>
                  <a:lnTo>
                    <a:pt x="14288" y="424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96" name="Grafik 25">
              <a:extLst>
                <a:ext uri="{FF2B5EF4-FFF2-40B4-BE49-F238E27FC236}">
                  <a16:creationId xmlns:a16="http://schemas.microsoft.com/office/drawing/2014/main" id="{A70F25F2-171E-DEEC-EEF5-1BDF01EA1E3A}"/>
                </a:ext>
              </a:extLst>
            </p:cNvPr>
            <p:cNvSpPr/>
            <p:nvPr/>
          </p:nvSpPr>
          <p:spPr bwMode="gray">
            <a:xfrm>
              <a:off x="6037992" y="3330525"/>
              <a:ext cx="46672" cy="257256"/>
            </a:xfrm>
            <a:custGeom>
              <a:avLst/>
              <a:gdLst>
                <a:gd name="connsiteX0" fmla="*/ 7144 w 46672"/>
                <a:gd name="connsiteY0" fmla="*/ 257256 h 257256"/>
                <a:gd name="connsiteX1" fmla="*/ 4382 w 46672"/>
                <a:gd name="connsiteY1" fmla="*/ 256685 h 257256"/>
                <a:gd name="connsiteX2" fmla="*/ 0 w 46672"/>
                <a:gd name="connsiteY2" fmla="*/ 250112 h 257256"/>
                <a:gd name="connsiteX3" fmla="*/ 0 w 46672"/>
                <a:gd name="connsiteY3" fmla="*/ 39515 h 257256"/>
                <a:gd name="connsiteX4" fmla="*/ 2095 w 46672"/>
                <a:gd name="connsiteY4" fmla="*/ 34466 h 257256"/>
                <a:gd name="connsiteX5" fmla="*/ 34481 w 46672"/>
                <a:gd name="connsiteY5" fmla="*/ 2081 h 257256"/>
                <a:gd name="connsiteX6" fmla="*/ 42291 w 46672"/>
                <a:gd name="connsiteY6" fmla="*/ 557 h 257256"/>
                <a:gd name="connsiteX7" fmla="*/ 46672 w 46672"/>
                <a:gd name="connsiteY7" fmla="*/ 7130 h 257256"/>
                <a:gd name="connsiteX8" fmla="*/ 46672 w 46672"/>
                <a:gd name="connsiteY8" fmla="*/ 217727 h 257256"/>
                <a:gd name="connsiteX9" fmla="*/ 44577 w 46672"/>
                <a:gd name="connsiteY9" fmla="*/ 222776 h 257256"/>
                <a:gd name="connsiteX10" fmla="*/ 12192 w 46672"/>
                <a:gd name="connsiteY10" fmla="*/ 255161 h 257256"/>
                <a:gd name="connsiteX11" fmla="*/ 7144 w 46672"/>
                <a:gd name="connsiteY11" fmla="*/ 257256 h 257256"/>
                <a:gd name="connsiteX12" fmla="*/ 14288 w 46672"/>
                <a:gd name="connsiteY12" fmla="*/ 42467 h 257256"/>
                <a:gd name="connsiteX13" fmla="*/ 14288 w 46672"/>
                <a:gd name="connsiteY13" fmla="*/ 232872 h 257256"/>
                <a:gd name="connsiteX14" fmla="*/ 32385 w 46672"/>
                <a:gd name="connsiteY14" fmla="*/ 214775 h 257256"/>
                <a:gd name="connsiteX15" fmla="*/ 32385 w 46672"/>
                <a:gd name="connsiteY15" fmla="*/ 24370 h 257256"/>
                <a:gd name="connsiteX16" fmla="*/ 14288 w 46672"/>
                <a:gd name="connsiteY16" fmla="*/ 42467 h 257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6672" h="257256">
                  <a:moveTo>
                    <a:pt x="7144" y="257256"/>
                  </a:moveTo>
                  <a:cubicBezTo>
                    <a:pt x="6191" y="257256"/>
                    <a:pt x="5334" y="257066"/>
                    <a:pt x="4382" y="256685"/>
                  </a:cubicBezTo>
                  <a:cubicBezTo>
                    <a:pt x="1715" y="255542"/>
                    <a:pt x="0" y="252970"/>
                    <a:pt x="0" y="250112"/>
                  </a:cubicBezTo>
                  <a:lnTo>
                    <a:pt x="0" y="39515"/>
                  </a:lnTo>
                  <a:cubicBezTo>
                    <a:pt x="0" y="37610"/>
                    <a:pt x="762" y="35800"/>
                    <a:pt x="2095" y="34466"/>
                  </a:cubicBezTo>
                  <a:lnTo>
                    <a:pt x="34481" y="2081"/>
                  </a:lnTo>
                  <a:cubicBezTo>
                    <a:pt x="36481" y="81"/>
                    <a:pt x="39624" y="-586"/>
                    <a:pt x="42291" y="557"/>
                  </a:cubicBezTo>
                  <a:cubicBezTo>
                    <a:pt x="44958" y="1700"/>
                    <a:pt x="46672" y="4272"/>
                    <a:pt x="46672" y="7130"/>
                  </a:cubicBezTo>
                  <a:lnTo>
                    <a:pt x="46672" y="217727"/>
                  </a:lnTo>
                  <a:cubicBezTo>
                    <a:pt x="46672" y="219632"/>
                    <a:pt x="45910" y="221442"/>
                    <a:pt x="44577" y="222776"/>
                  </a:cubicBezTo>
                  <a:lnTo>
                    <a:pt x="12192" y="255161"/>
                  </a:lnTo>
                  <a:cubicBezTo>
                    <a:pt x="10858" y="256494"/>
                    <a:pt x="9049" y="257256"/>
                    <a:pt x="7144" y="257256"/>
                  </a:cubicBezTo>
                  <a:close/>
                  <a:moveTo>
                    <a:pt x="14288" y="42467"/>
                  </a:moveTo>
                  <a:lnTo>
                    <a:pt x="14288" y="232872"/>
                  </a:lnTo>
                  <a:lnTo>
                    <a:pt x="32385" y="214775"/>
                  </a:lnTo>
                  <a:lnTo>
                    <a:pt x="32385" y="24370"/>
                  </a:lnTo>
                  <a:lnTo>
                    <a:pt x="14288" y="424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97" name="Grafik 25">
              <a:extLst>
                <a:ext uri="{FF2B5EF4-FFF2-40B4-BE49-F238E27FC236}">
                  <a16:creationId xmlns:a16="http://schemas.microsoft.com/office/drawing/2014/main" id="{29F5F94F-33C2-0072-E4F9-334C9B4A860D}"/>
                </a:ext>
              </a:extLst>
            </p:cNvPr>
            <p:cNvSpPr/>
            <p:nvPr/>
          </p:nvSpPr>
          <p:spPr bwMode="gray">
            <a:xfrm>
              <a:off x="5940837" y="3330525"/>
              <a:ext cx="46672" cy="257256"/>
            </a:xfrm>
            <a:custGeom>
              <a:avLst/>
              <a:gdLst>
                <a:gd name="connsiteX0" fmla="*/ 7144 w 46672"/>
                <a:gd name="connsiteY0" fmla="*/ 257256 h 257256"/>
                <a:gd name="connsiteX1" fmla="*/ 4382 w 46672"/>
                <a:gd name="connsiteY1" fmla="*/ 256685 h 257256"/>
                <a:gd name="connsiteX2" fmla="*/ 0 w 46672"/>
                <a:gd name="connsiteY2" fmla="*/ 250112 h 257256"/>
                <a:gd name="connsiteX3" fmla="*/ 0 w 46672"/>
                <a:gd name="connsiteY3" fmla="*/ 39515 h 257256"/>
                <a:gd name="connsiteX4" fmla="*/ 2096 w 46672"/>
                <a:gd name="connsiteY4" fmla="*/ 34466 h 257256"/>
                <a:gd name="connsiteX5" fmla="*/ 34481 w 46672"/>
                <a:gd name="connsiteY5" fmla="*/ 2081 h 257256"/>
                <a:gd name="connsiteX6" fmla="*/ 42291 w 46672"/>
                <a:gd name="connsiteY6" fmla="*/ 557 h 257256"/>
                <a:gd name="connsiteX7" fmla="*/ 46672 w 46672"/>
                <a:gd name="connsiteY7" fmla="*/ 7130 h 257256"/>
                <a:gd name="connsiteX8" fmla="*/ 46672 w 46672"/>
                <a:gd name="connsiteY8" fmla="*/ 217727 h 257256"/>
                <a:gd name="connsiteX9" fmla="*/ 44577 w 46672"/>
                <a:gd name="connsiteY9" fmla="*/ 222776 h 257256"/>
                <a:gd name="connsiteX10" fmla="*/ 12192 w 46672"/>
                <a:gd name="connsiteY10" fmla="*/ 255161 h 257256"/>
                <a:gd name="connsiteX11" fmla="*/ 7144 w 46672"/>
                <a:gd name="connsiteY11" fmla="*/ 257256 h 257256"/>
                <a:gd name="connsiteX12" fmla="*/ 14288 w 46672"/>
                <a:gd name="connsiteY12" fmla="*/ 42467 h 257256"/>
                <a:gd name="connsiteX13" fmla="*/ 14288 w 46672"/>
                <a:gd name="connsiteY13" fmla="*/ 232872 h 257256"/>
                <a:gd name="connsiteX14" fmla="*/ 32385 w 46672"/>
                <a:gd name="connsiteY14" fmla="*/ 214775 h 257256"/>
                <a:gd name="connsiteX15" fmla="*/ 32385 w 46672"/>
                <a:gd name="connsiteY15" fmla="*/ 24370 h 257256"/>
                <a:gd name="connsiteX16" fmla="*/ 14288 w 46672"/>
                <a:gd name="connsiteY16" fmla="*/ 42467 h 257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6672" h="257256">
                  <a:moveTo>
                    <a:pt x="7144" y="257256"/>
                  </a:moveTo>
                  <a:cubicBezTo>
                    <a:pt x="6191" y="257256"/>
                    <a:pt x="5334" y="257066"/>
                    <a:pt x="4382" y="256685"/>
                  </a:cubicBezTo>
                  <a:cubicBezTo>
                    <a:pt x="1715" y="255542"/>
                    <a:pt x="0" y="252970"/>
                    <a:pt x="0" y="250112"/>
                  </a:cubicBezTo>
                  <a:lnTo>
                    <a:pt x="0" y="39515"/>
                  </a:lnTo>
                  <a:cubicBezTo>
                    <a:pt x="0" y="37610"/>
                    <a:pt x="762" y="35800"/>
                    <a:pt x="2096" y="34466"/>
                  </a:cubicBezTo>
                  <a:lnTo>
                    <a:pt x="34481" y="2081"/>
                  </a:lnTo>
                  <a:cubicBezTo>
                    <a:pt x="36481" y="81"/>
                    <a:pt x="39624" y="-586"/>
                    <a:pt x="42291" y="557"/>
                  </a:cubicBezTo>
                  <a:cubicBezTo>
                    <a:pt x="44958" y="1700"/>
                    <a:pt x="46672" y="4272"/>
                    <a:pt x="46672" y="7130"/>
                  </a:cubicBezTo>
                  <a:lnTo>
                    <a:pt x="46672" y="217727"/>
                  </a:lnTo>
                  <a:cubicBezTo>
                    <a:pt x="46672" y="219632"/>
                    <a:pt x="45910" y="221442"/>
                    <a:pt x="44577" y="222776"/>
                  </a:cubicBezTo>
                  <a:lnTo>
                    <a:pt x="12192" y="255161"/>
                  </a:lnTo>
                  <a:cubicBezTo>
                    <a:pt x="10763" y="256494"/>
                    <a:pt x="8953" y="257256"/>
                    <a:pt x="7144" y="257256"/>
                  </a:cubicBezTo>
                  <a:close/>
                  <a:moveTo>
                    <a:pt x="14288" y="42467"/>
                  </a:moveTo>
                  <a:lnTo>
                    <a:pt x="14288" y="232872"/>
                  </a:lnTo>
                  <a:lnTo>
                    <a:pt x="32385" y="214775"/>
                  </a:lnTo>
                  <a:lnTo>
                    <a:pt x="32385" y="24370"/>
                  </a:lnTo>
                  <a:lnTo>
                    <a:pt x="14288" y="424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698" name="Grafik 25">
              <a:extLst>
                <a:ext uri="{FF2B5EF4-FFF2-40B4-BE49-F238E27FC236}">
                  <a16:creationId xmlns:a16="http://schemas.microsoft.com/office/drawing/2014/main" id="{8708B940-0BA5-7212-5A76-10ABA13BC520}"/>
                </a:ext>
              </a:extLst>
            </p:cNvPr>
            <p:cNvGrpSpPr/>
            <p:nvPr/>
          </p:nvGrpSpPr>
          <p:grpSpPr bwMode="gray">
            <a:xfrm>
              <a:off x="5892164" y="3379112"/>
              <a:ext cx="338327" cy="69222"/>
              <a:chOff x="5892164" y="3379112"/>
              <a:chExt cx="338327" cy="69222"/>
            </a:xfrm>
            <a:grpFill/>
          </p:grpSpPr>
          <p:sp>
            <p:nvSpPr>
              <p:cNvPr id="704" name="Grafik 25">
                <a:extLst>
                  <a:ext uri="{FF2B5EF4-FFF2-40B4-BE49-F238E27FC236}">
                    <a16:creationId xmlns:a16="http://schemas.microsoft.com/office/drawing/2014/main" id="{5056BD52-9D00-B939-5C73-AF41C55A05AF}"/>
                  </a:ext>
                </a:extLst>
              </p:cNvPr>
              <p:cNvSpPr/>
              <p:nvPr/>
            </p:nvSpPr>
            <p:spPr bwMode="gray">
              <a:xfrm>
                <a:off x="5892164" y="3406615"/>
                <a:ext cx="338327" cy="14287"/>
              </a:xfrm>
              <a:custGeom>
                <a:avLst/>
                <a:gdLst>
                  <a:gd name="connsiteX0" fmla="*/ 331184 w 338327"/>
                  <a:gd name="connsiteY0" fmla="*/ 14288 h 14287"/>
                  <a:gd name="connsiteX1" fmla="*/ 7144 w 338327"/>
                  <a:gd name="connsiteY1" fmla="*/ 14288 h 14287"/>
                  <a:gd name="connsiteX2" fmla="*/ 0 w 338327"/>
                  <a:gd name="connsiteY2" fmla="*/ 7144 h 14287"/>
                  <a:gd name="connsiteX3" fmla="*/ 7144 w 338327"/>
                  <a:gd name="connsiteY3" fmla="*/ 0 h 14287"/>
                  <a:gd name="connsiteX4" fmla="*/ 331184 w 338327"/>
                  <a:gd name="connsiteY4" fmla="*/ 0 h 14287"/>
                  <a:gd name="connsiteX5" fmla="*/ 338328 w 338327"/>
                  <a:gd name="connsiteY5" fmla="*/ 7144 h 14287"/>
                  <a:gd name="connsiteX6" fmla="*/ 331184 w 33832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38327" h="14287">
                    <a:moveTo>
                      <a:pt x="33118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31184" y="0"/>
                    </a:lnTo>
                    <a:cubicBezTo>
                      <a:pt x="335090" y="0"/>
                      <a:pt x="338328" y="3239"/>
                      <a:pt x="338328" y="7144"/>
                    </a:cubicBezTo>
                    <a:cubicBezTo>
                      <a:pt x="338328" y="11049"/>
                      <a:pt x="335090" y="14288"/>
                      <a:pt x="33118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05" name="Grafik 25">
                <a:extLst>
                  <a:ext uri="{FF2B5EF4-FFF2-40B4-BE49-F238E27FC236}">
                    <a16:creationId xmlns:a16="http://schemas.microsoft.com/office/drawing/2014/main" id="{BAE173BE-2207-E9AF-9C16-02C94B722194}"/>
                  </a:ext>
                </a:extLst>
              </p:cNvPr>
              <p:cNvSpPr/>
              <p:nvPr/>
            </p:nvSpPr>
            <p:spPr bwMode="gray">
              <a:xfrm>
                <a:off x="6188701" y="3379112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029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06" name="Grafik 25">
                <a:extLst>
                  <a:ext uri="{FF2B5EF4-FFF2-40B4-BE49-F238E27FC236}">
                    <a16:creationId xmlns:a16="http://schemas.microsoft.com/office/drawing/2014/main" id="{9954723F-D813-40B4-A82A-EB18567FE337}"/>
                  </a:ext>
                </a:extLst>
              </p:cNvPr>
              <p:cNvSpPr/>
              <p:nvPr/>
            </p:nvSpPr>
            <p:spPr bwMode="gray">
              <a:xfrm>
                <a:off x="6188701" y="3406544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835" y="41124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699" name="Grafik 25">
              <a:extLst>
                <a:ext uri="{FF2B5EF4-FFF2-40B4-BE49-F238E27FC236}">
                  <a16:creationId xmlns:a16="http://schemas.microsoft.com/office/drawing/2014/main" id="{823BB3EE-3E47-600E-A8AD-9F44E83C4880}"/>
                </a:ext>
              </a:extLst>
            </p:cNvPr>
            <p:cNvSpPr/>
            <p:nvPr/>
          </p:nvSpPr>
          <p:spPr bwMode="gray">
            <a:xfrm>
              <a:off x="5892164" y="3497389"/>
              <a:ext cx="273462" cy="14287"/>
            </a:xfrm>
            <a:custGeom>
              <a:avLst/>
              <a:gdLst>
                <a:gd name="connsiteX0" fmla="*/ 266414 w 273462"/>
                <a:gd name="connsiteY0" fmla="*/ 14288 h 14287"/>
                <a:gd name="connsiteX1" fmla="*/ 7144 w 273462"/>
                <a:gd name="connsiteY1" fmla="*/ 14288 h 14287"/>
                <a:gd name="connsiteX2" fmla="*/ 0 w 273462"/>
                <a:gd name="connsiteY2" fmla="*/ 7144 h 14287"/>
                <a:gd name="connsiteX3" fmla="*/ 7144 w 273462"/>
                <a:gd name="connsiteY3" fmla="*/ 0 h 14287"/>
                <a:gd name="connsiteX4" fmla="*/ 266319 w 273462"/>
                <a:gd name="connsiteY4" fmla="*/ 0 h 14287"/>
                <a:gd name="connsiteX5" fmla="*/ 273463 w 273462"/>
                <a:gd name="connsiteY5" fmla="*/ 7144 h 14287"/>
                <a:gd name="connsiteX6" fmla="*/ 266414 w 273462"/>
                <a:gd name="connsiteY6" fmla="*/ 14288 h 1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3462" h="14287">
                  <a:moveTo>
                    <a:pt x="266414" y="14288"/>
                  </a:move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239" y="0"/>
                    <a:pt x="7144" y="0"/>
                  </a:cubicBezTo>
                  <a:lnTo>
                    <a:pt x="266319" y="0"/>
                  </a:lnTo>
                  <a:cubicBezTo>
                    <a:pt x="270224" y="0"/>
                    <a:pt x="273463" y="3239"/>
                    <a:pt x="273463" y="7144"/>
                  </a:cubicBezTo>
                  <a:cubicBezTo>
                    <a:pt x="273463" y="11049"/>
                    <a:pt x="270320" y="14288"/>
                    <a:pt x="266414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700" name="Grafik 25">
              <a:extLst>
                <a:ext uri="{FF2B5EF4-FFF2-40B4-BE49-F238E27FC236}">
                  <a16:creationId xmlns:a16="http://schemas.microsoft.com/office/drawing/2014/main" id="{03663796-EA1C-CAB8-392D-81DD906F1541}"/>
                </a:ext>
              </a:extLst>
            </p:cNvPr>
            <p:cNvGrpSpPr/>
            <p:nvPr/>
          </p:nvGrpSpPr>
          <p:grpSpPr bwMode="gray">
            <a:xfrm>
              <a:off x="6074070" y="3497412"/>
              <a:ext cx="91627" cy="91606"/>
              <a:chOff x="6074070" y="3497412"/>
              <a:chExt cx="91627" cy="91606"/>
            </a:xfrm>
            <a:grpFill/>
          </p:grpSpPr>
          <p:sp>
            <p:nvSpPr>
              <p:cNvPr id="701" name="Grafik 25">
                <a:extLst>
                  <a:ext uri="{FF2B5EF4-FFF2-40B4-BE49-F238E27FC236}">
                    <a16:creationId xmlns:a16="http://schemas.microsoft.com/office/drawing/2014/main" id="{F16C34E5-9C91-07B7-B5A2-F247EC373D7C}"/>
                  </a:ext>
                </a:extLst>
              </p:cNvPr>
              <p:cNvSpPr/>
              <p:nvPr/>
            </p:nvSpPr>
            <p:spPr bwMode="gray">
              <a:xfrm>
                <a:off x="6074115" y="3497412"/>
                <a:ext cx="91582" cy="91606"/>
              </a:xfrm>
              <a:custGeom>
                <a:avLst/>
                <a:gdLst>
                  <a:gd name="connsiteX0" fmla="*/ 7120 w 91582"/>
                  <a:gd name="connsiteY0" fmla="*/ 91607 h 91606"/>
                  <a:gd name="connsiteX1" fmla="*/ 2072 w 91582"/>
                  <a:gd name="connsiteY1" fmla="*/ 89511 h 91606"/>
                  <a:gd name="connsiteX2" fmla="*/ 2072 w 91582"/>
                  <a:gd name="connsiteY2" fmla="*/ 79415 h 91606"/>
                  <a:gd name="connsiteX3" fmla="*/ 79415 w 91582"/>
                  <a:gd name="connsiteY3" fmla="*/ 2072 h 91606"/>
                  <a:gd name="connsiteX4" fmla="*/ 89511 w 91582"/>
                  <a:gd name="connsiteY4" fmla="*/ 2072 h 91606"/>
                  <a:gd name="connsiteX5" fmla="*/ 89511 w 91582"/>
                  <a:gd name="connsiteY5" fmla="*/ 12168 h 91606"/>
                  <a:gd name="connsiteX6" fmla="*/ 12168 w 91582"/>
                  <a:gd name="connsiteY6" fmla="*/ 89511 h 91606"/>
                  <a:gd name="connsiteX7" fmla="*/ 7120 w 91582"/>
                  <a:gd name="connsiteY7" fmla="*/ 91607 h 91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1582" h="91606">
                    <a:moveTo>
                      <a:pt x="7120" y="91607"/>
                    </a:moveTo>
                    <a:cubicBezTo>
                      <a:pt x="5310" y="91607"/>
                      <a:pt x="3500" y="90940"/>
                      <a:pt x="2072" y="89511"/>
                    </a:cubicBezTo>
                    <a:cubicBezTo>
                      <a:pt x="-691" y="86749"/>
                      <a:pt x="-691" y="82177"/>
                      <a:pt x="2072" y="79415"/>
                    </a:cubicBezTo>
                    <a:lnTo>
                      <a:pt x="79415" y="2072"/>
                    </a:lnTo>
                    <a:cubicBezTo>
                      <a:pt x="82177" y="-691"/>
                      <a:pt x="86749" y="-691"/>
                      <a:pt x="89511" y="2072"/>
                    </a:cubicBezTo>
                    <a:cubicBezTo>
                      <a:pt x="92273" y="4834"/>
                      <a:pt x="92273" y="9406"/>
                      <a:pt x="89511" y="12168"/>
                    </a:cubicBezTo>
                    <a:lnTo>
                      <a:pt x="12168" y="89511"/>
                    </a:lnTo>
                    <a:cubicBezTo>
                      <a:pt x="10739" y="90845"/>
                      <a:pt x="8930" y="91607"/>
                      <a:pt x="7120" y="9160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02" name="Grafik 25">
                <a:extLst>
                  <a:ext uri="{FF2B5EF4-FFF2-40B4-BE49-F238E27FC236}">
                    <a16:creationId xmlns:a16="http://schemas.microsoft.com/office/drawing/2014/main" id="{059CEAF2-955E-C69A-91DE-77A004B88B8B}"/>
                  </a:ext>
                </a:extLst>
              </p:cNvPr>
              <p:cNvSpPr/>
              <p:nvPr/>
            </p:nvSpPr>
            <p:spPr bwMode="gray">
              <a:xfrm>
                <a:off x="6074070" y="3560899"/>
                <a:ext cx="41952" cy="28119"/>
              </a:xfrm>
              <a:custGeom>
                <a:avLst/>
                <a:gdLst>
                  <a:gd name="connsiteX0" fmla="*/ 7165 w 41952"/>
                  <a:gd name="connsiteY0" fmla="*/ 28120 h 28119"/>
                  <a:gd name="connsiteX1" fmla="*/ 783 w 41952"/>
                  <a:gd name="connsiteY1" fmla="*/ 24119 h 28119"/>
                  <a:gd name="connsiteX2" fmla="*/ 4022 w 41952"/>
                  <a:gd name="connsiteY2" fmla="*/ 14499 h 28119"/>
                  <a:gd name="connsiteX3" fmla="*/ 31549 w 41952"/>
                  <a:gd name="connsiteY3" fmla="*/ 783 h 28119"/>
                  <a:gd name="connsiteX4" fmla="*/ 41169 w 41952"/>
                  <a:gd name="connsiteY4" fmla="*/ 4022 h 28119"/>
                  <a:gd name="connsiteX5" fmla="*/ 37931 w 41952"/>
                  <a:gd name="connsiteY5" fmla="*/ 13642 h 28119"/>
                  <a:gd name="connsiteX6" fmla="*/ 10403 w 41952"/>
                  <a:gd name="connsiteY6" fmla="*/ 27358 h 28119"/>
                  <a:gd name="connsiteX7" fmla="*/ 7165 w 41952"/>
                  <a:gd name="connsiteY7" fmla="*/ 28120 h 28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952" h="28119">
                    <a:moveTo>
                      <a:pt x="7165" y="28120"/>
                    </a:moveTo>
                    <a:cubicBezTo>
                      <a:pt x="4498" y="28120"/>
                      <a:pt x="2021" y="26691"/>
                      <a:pt x="783" y="24119"/>
                    </a:cubicBezTo>
                    <a:cubicBezTo>
                      <a:pt x="-1027" y="20595"/>
                      <a:pt x="402" y="16309"/>
                      <a:pt x="4022" y="14499"/>
                    </a:cubicBezTo>
                    <a:lnTo>
                      <a:pt x="31549" y="783"/>
                    </a:lnTo>
                    <a:cubicBezTo>
                      <a:pt x="35073" y="-1027"/>
                      <a:pt x="39359" y="402"/>
                      <a:pt x="41169" y="4022"/>
                    </a:cubicBezTo>
                    <a:cubicBezTo>
                      <a:pt x="42979" y="7546"/>
                      <a:pt x="41550" y="11832"/>
                      <a:pt x="37931" y="13642"/>
                    </a:cubicBezTo>
                    <a:lnTo>
                      <a:pt x="10403" y="27358"/>
                    </a:lnTo>
                    <a:cubicBezTo>
                      <a:pt x="9356" y="27834"/>
                      <a:pt x="8213" y="28120"/>
                      <a:pt x="7165" y="281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03" name="Grafik 25">
                <a:extLst>
                  <a:ext uri="{FF2B5EF4-FFF2-40B4-BE49-F238E27FC236}">
                    <a16:creationId xmlns:a16="http://schemas.microsoft.com/office/drawing/2014/main" id="{75C1CAE1-780B-1BE7-CAE3-64ECD78DCFBF}"/>
                  </a:ext>
                </a:extLst>
              </p:cNvPr>
              <p:cNvSpPr/>
              <p:nvPr/>
            </p:nvSpPr>
            <p:spPr bwMode="gray">
              <a:xfrm>
                <a:off x="6074092" y="3561016"/>
                <a:ext cx="14287" cy="28003"/>
              </a:xfrm>
              <a:custGeom>
                <a:avLst/>
                <a:gdLst>
                  <a:gd name="connsiteX0" fmla="*/ 7144 w 14287"/>
                  <a:gd name="connsiteY0" fmla="*/ 28003 h 28003"/>
                  <a:gd name="connsiteX1" fmla="*/ 0 w 14287"/>
                  <a:gd name="connsiteY1" fmla="*/ 20860 h 28003"/>
                  <a:gd name="connsiteX2" fmla="*/ 0 w 14287"/>
                  <a:gd name="connsiteY2" fmla="*/ 7144 h 28003"/>
                  <a:gd name="connsiteX3" fmla="*/ 7144 w 14287"/>
                  <a:gd name="connsiteY3" fmla="*/ 0 h 28003"/>
                  <a:gd name="connsiteX4" fmla="*/ 14288 w 14287"/>
                  <a:gd name="connsiteY4" fmla="*/ 7144 h 28003"/>
                  <a:gd name="connsiteX5" fmla="*/ 14288 w 14287"/>
                  <a:gd name="connsiteY5" fmla="*/ 20860 h 28003"/>
                  <a:gd name="connsiteX6" fmla="*/ 7144 w 14287"/>
                  <a:gd name="connsiteY6" fmla="*/ 28003 h 280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28003">
                    <a:moveTo>
                      <a:pt x="7144" y="28003"/>
                    </a:moveTo>
                    <a:cubicBezTo>
                      <a:pt x="3239" y="28003"/>
                      <a:pt x="0" y="24765"/>
                      <a:pt x="0" y="20860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0860"/>
                    </a:lnTo>
                    <a:cubicBezTo>
                      <a:pt x="14288" y="24765"/>
                      <a:pt x="11049" y="28003"/>
                      <a:pt x="7144" y="280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707" name="Grafik 2">
            <a:extLst>
              <a:ext uri="{FF2B5EF4-FFF2-40B4-BE49-F238E27FC236}">
                <a16:creationId xmlns:a16="http://schemas.microsoft.com/office/drawing/2014/main" id="{A829AC2C-95B9-286D-5567-483BFEEADB2C}"/>
              </a:ext>
            </a:extLst>
          </p:cNvPr>
          <p:cNvGrpSpPr>
            <a:grpSpLocks noChangeAspect="1"/>
          </p:cNvGrpSpPr>
          <p:nvPr/>
        </p:nvGrpSpPr>
        <p:grpSpPr>
          <a:xfrm>
            <a:off x="6609893" y="547886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708" name="Grafik 2">
              <a:extLst>
                <a:ext uri="{FF2B5EF4-FFF2-40B4-BE49-F238E27FC236}">
                  <a16:creationId xmlns:a16="http://schemas.microsoft.com/office/drawing/2014/main" id="{03C17B21-10FA-F51B-6968-6CEA9D65DB5B}"/>
                </a:ext>
              </a:extLst>
            </p:cNvPr>
            <p:cNvSpPr/>
            <p:nvPr/>
          </p:nvSpPr>
          <p:spPr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09" name="Grafik 2">
              <a:extLst>
                <a:ext uri="{FF2B5EF4-FFF2-40B4-BE49-F238E27FC236}">
                  <a16:creationId xmlns:a16="http://schemas.microsoft.com/office/drawing/2014/main" id="{542521D4-E44A-BCDF-D130-D1D7FF7D62AB}"/>
                </a:ext>
              </a:extLst>
            </p:cNvPr>
            <p:cNvSpPr/>
            <p:nvPr/>
          </p:nvSpPr>
          <p:spPr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10" name="Grafik 2">
              <a:extLst>
                <a:ext uri="{FF2B5EF4-FFF2-40B4-BE49-F238E27FC236}">
                  <a16:creationId xmlns:a16="http://schemas.microsoft.com/office/drawing/2014/main" id="{6123DC5D-0D88-40A9-9D24-772EC32C91F2}"/>
                </a:ext>
              </a:extLst>
            </p:cNvPr>
            <p:cNvSpPr/>
            <p:nvPr/>
          </p:nvSpPr>
          <p:spPr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11" name="Grafik 2">
              <a:extLst>
                <a:ext uri="{FF2B5EF4-FFF2-40B4-BE49-F238E27FC236}">
                  <a16:creationId xmlns:a16="http://schemas.microsoft.com/office/drawing/2014/main" id="{0AC401CA-18E1-55B1-EABF-0F8F00F159FE}"/>
                </a:ext>
              </a:extLst>
            </p:cNvPr>
            <p:cNvSpPr/>
            <p:nvPr/>
          </p:nvSpPr>
          <p:spPr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12" name="Grafik 2">
              <a:extLst>
                <a:ext uri="{FF2B5EF4-FFF2-40B4-BE49-F238E27FC236}">
                  <a16:creationId xmlns:a16="http://schemas.microsoft.com/office/drawing/2014/main" id="{9672D397-F292-5B8B-1762-C9BCB116B278}"/>
                </a:ext>
              </a:extLst>
            </p:cNvPr>
            <p:cNvSpPr/>
            <p:nvPr/>
          </p:nvSpPr>
          <p:spPr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713" name="Grafik 2">
              <a:extLst>
                <a:ext uri="{FF2B5EF4-FFF2-40B4-BE49-F238E27FC236}">
                  <a16:creationId xmlns:a16="http://schemas.microsoft.com/office/drawing/2014/main" id="{5B2AE877-E88B-01D8-09A2-722E26881BF7}"/>
                </a:ext>
              </a:extLst>
            </p:cNvPr>
            <p:cNvGrpSpPr/>
            <p:nvPr/>
          </p:nvGrpSpPr>
          <p:grpSpPr>
            <a:xfrm>
              <a:off x="5875995" y="3346655"/>
              <a:ext cx="370760" cy="224932"/>
              <a:chOff x="5875995" y="3346655"/>
              <a:chExt cx="370760" cy="224932"/>
            </a:xfrm>
            <a:grpFill/>
          </p:grpSpPr>
          <p:sp>
            <p:nvSpPr>
              <p:cNvPr id="714" name="Grafik 2">
                <a:extLst>
                  <a:ext uri="{FF2B5EF4-FFF2-40B4-BE49-F238E27FC236}">
                    <a16:creationId xmlns:a16="http://schemas.microsoft.com/office/drawing/2014/main" id="{73D55FD5-AAC9-1F5E-DAC2-098C1FC98A2F}"/>
                  </a:ext>
                </a:extLst>
              </p:cNvPr>
              <p:cNvSpPr/>
              <p:nvPr/>
            </p:nvSpPr>
            <p:spPr>
              <a:xfrm>
                <a:off x="5989414" y="3427666"/>
                <a:ext cx="143922" cy="143922"/>
              </a:xfrm>
              <a:custGeom>
                <a:avLst/>
                <a:gdLst>
                  <a:gd name="connsiteX0" fmla="*/ 136684 w 143922"/>
                  <a:gd name="connsiteY0" fmla="*/ 143923 h 143922"/>
                  <a:gd name="connsiteX1" fmla="*/ 7144 w 143922"/>
                  <a:gd name="connsiteY1" fmla="*/ 143923 h 143922"/>
                  <a:gd name="connsiteX2" fmla="*/ 0 w 143922"/>
                  <a:gd name="connsiteY2" fmla="*/ 136779 h 143922"/>
                  <a:gd name="connsiteX3" fmla="*/ 0 w 143922"/>
                  <a:gd name="connsiteY3" fmla="*/ 7144 h 143922"/>
                  <a:gd name="connsiteX4" fmla="*/ 7144 w 143922"/>
                  <a:gd name="connsiteY4" fmla="*/ 0 h 143922"/>
                  <a:gd name="connsiteX5" fmla="*/ 136779 w 143922"/>
                  <a:gd name="connsiteY5" fmla="*/ 0 h 143922"/>
                  <a:gd name="connsiteX6" fmla="*/ 143923 w 143922"/>
                  <a:gd name="connsiteY6" fmla="*/ 7144 h 143922"/>
                  <a:gd name="connsiteX7" fmla="*/ 143923 w 143922"/>
                  <a:gd name="connsiteY7" fmla="*/ 136779 h 143922"/>
                  <a:gd name="connsiteX8" fmla="*/ 136684 w 143922"/>
                  <a:gd name="connsiteY8" fmla="*/ 143923 h 143922"/>
                  <a:gd name="connsiteX9" fmla="*/ 14287 w 143922"/>
                  <a:gd name="connsiteY9" fmla="*/ 129635 h 143922"/>
                  <a:gd name="connsiteX10" fmla="*/ 129635 w 143922"/>
                  <a:gd name="connsiteY10" fmla="*/ 129635 h 143922"/>
                  <a:gd name="connsiteX11" fmla="*/ 129635 w 143922"/>
                  <a:gd name="connsiteY11" fmla="*/ 14288 h 143922"/>
                  <a:gd name="connsiteX12" fmla="*/ 14287 w 143922"/>
                  <a:gd name="connsiteY12" fmla="*/ 14288 h 143922"/>
                  <a:gd name="connsiteX13" fmla="*/ 14287 w 143922"/>
                  <a:gd name="connsiteY13" fmla="*/ 129635 h 143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3922" h="143922">
                    <a:moveTo>
                      <a:pt x="136684" y="143923"/>
                    </a:moveTo>
                    <a:lnTo>
                      <a:pt x="7144" y="143923"/>
                    </a:lnTo>
                    <a:cubicBezTo>
                      <a:pt x="3238" y="143923"/>
                      <a:pt x="0" y="140684"/>
                      <a:pt x="0" y="136779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lnTo>
                      <a:pt x="136779" y="0"/>
                    </a:lnTo>
                    <a:cubicBezTo>
                      <a:pt x="140684" y="0"/>
                      <a:pt x="143923" y="3239"/>
                      <a:pt x="143923" y="7144"/>
                    </a:cubicBezTo>
                    <a:lnTo>
                      <a:pt x="143923" y="136779"/>
                    </a:lnTo>
                    <a:cubicBezTo>
                      <a:pt x="143828" y="140684"/>
                      <a:pt x="140684" y="143923"/>
                      <a:pt x="136684" y="143923"/>
                    </a:cubicBezTo>
                    <a:close/>
                    <a:moveTo>
                      <a:pt x="14287" y="129635"/>
                    </a:moveTo>
                    <a:lnTo>
                      <a:pt x="129635" y="129635"/>
                    </a:lnTo>
                    <a:lnTo>
                      <a:pt x="129635" y="14288"/>
                    </a:lnTo>
                    <a:lnTo>
                      <a:pt x="14287" y="14288"/>
                    </a:lnTo>
                    <a:lnTo>
                      <a:pt x="14287" y="12963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15" name="Grafik 2">
                <a:extLst>
                  <a:ext uri="{FF2B5EF4-FFF2-40B4-BE49-F238E27FC236}">
                    <a16:creationId xmlns:a16="http://schemas.microsoft.com/office/drawing/2014/main" id="{2C5B141C-6290-DD6C-61C4-D08624B06C72}"/>
                  </a:ext>
                </a:extLst>
              </p:cNvPr>
              <p:cNvSpPr/>
              <p:nvPr/>
            </p:nvSpPr>
            <p:spPr>
              <a:xfrm>
                <a:off x="5978456" y="3346655"/>
                <a:ext cx="165929" cy="62912"/>
              </a:xfrm>
              <a:custGeom>
                <a:avLst/>
                <a:gdLst>
                  <a:gd name="connsiteX0" fmla="*/ 43057 w 165929"/>
                  <a:gd name="connsiteY0" fmla="*/ 62913 h 62912"/>
                  <a:gd name="connsiteX1" fmla="*/ 14292 w 165929"/>
                  <a:gd name="connsiteY1" fmla="*/ 62913 h 62912"/>
                  <a:gd name="connsiteX2" fmla="*/ 4005 w 165929"/>
                  <a:gd name="connsiteY2" fmla="*/ 58626 h 62912"/>
                  <a:gd name="connsiteX3" fmla="*/ 4 w 165929"/>
                  <a:gd name="connsiteY3" fmla="*/ 48435 h 62912"/>
                  <a:gd name="connsiteX4" fmla="*/ 100 w 165929"/>
                  <a:gd name="connsiteY4" fmla="*/ 31480 h 62912"/>
                  <a:gd name="connsiteX5" fmla="*/ 9910 w 165929"/>
                  <a:gd name="connsiteY5" fmla="*/ 16145 h 62912"/>
                  <a:gd name="connsiteX6" fmla="*/ 156214 w 165929"/>
                  <a:gd name="connsiteY6" fmla="*/ 16145 h 62912"/>
                  <a:gd name="connsiteX7" fmla="*/ 165930 w 165929"/>
                  <a:gd name="connsiteY7" fmla="*/ 31480 h 62912"/>
                  <a:gd name="connsiteX8" fmla="*/ 165930 w 165929"/>
                  <a:gd name="connsiteY8" fmla="*/ 48435 h 62912"/>
                  <a:gd name="connsiteX9" fmla="*/ 151547 w 165929"/>
                  <a:gd name="connsiteY9" fmla="*/ 62817 h 62912"/>
                  <a:gd name="connsiteX10" fmla="*/ 122782 w 165929"/>
                  <a:gd name="connsiteY10" fmla="*/ 62817 h 62912"/>
                  <a:gd name="connsiteX11" fmla="*/ 108399 w 165929"/>
                  <a:gd name="connsiteY11" fmla="*/ 48435 h 62912"/>
                  <a:gd name="connsiteX12" fmla="*/ 108399 w 165929"/>
                  <a:gd name="connsiteY12" fmla="*/ 33957 h 62912"/>
                  <a:gd name="connsiteX13" fmla="*/ 58012 w 165929"/>
                  <a:gd name="connsiteY13" fmla="*/ 33385 h 62912"/>
                  <a:gd name="connsiteX14" fmla="*/ 57535 w 165929"/>
                  <a:gd name="connsiteY14" fmla="*/ 48530 h 62912"/>
                  <a:gd name="connsiteX15" fmla="*/ 43057 w 165929"/>
                  <a:gd name="connsiteY15" fmla="*/ 62913 h 62912"/>
                  <a:gd name="connsiteX16" fmla="*/ 82967 w 165929"/>
                  <a:gd name="connsiteY16" fmla="*/ 14240 h 62912"/>
                  <a:gd name="connsiteX17" fmla="*/ 15721 w 165929"/>
                  <a:gd name="connsiteY17" fmla="*/ 29099 h 62912"/>
                  <a:gd name="connsiteX18" fmla="*/ 14292 w 165929"/>
                  <a:gd name="connsiteY18" fmla="*/ 31385 h 62912"/>
                  <a:gd name="connsiteX19" fmla="*/ 14197 w 165929"/>
                  <a:gd name="connsiteY19" fmla="*/ 48625 h 62912"/>
                  <a:gd name="connsiteX20" fmla="*/ 14292 w 165929"/>
                  <a:gd name="connsiteY20" fmla="*/ 48720 h 62912"/>
                  <a:gd name="connsiteX21" fmla="*/ 43057 w 165929"/>
                  <a:gd name="connsiteY21" fmla="*/ 48720 h 62912"/>
                  <a:gd name="connsiteX22" fmla="*/ 43153 w 165929"/>
                  <a:gd name="connsiteY22" fmla="*/ 34147 h 62912"/>
                  <a:gd name="connsiteX23" fmla="*/ 54678 w 165929"/>
                  <a:gd name="connsiteY23" fmla="*/ 19574 h 62912"/>
                  <a:gd name="connsiteX24" fmla="*/ 111066 w 165929"/>
                  <a:gd name="connsiteY24" fmla="*/ 19574 h 62912"/>
                  <a:gd name="connsiteX25" fmla="*/ 122591 w 165929"/>
                  <a:gd name="connsiteY25" fmla="*/ 34052 h 62912"/>
                  <a:gd name="connsiteX26" fmla="*/ 122591 w 165929"/>
                  <a:gd name="connsiteY26" fmla="*/ 48530 h 62912"/>
                  <a:gd name="connsiteX27" fmla="*/ 151452 w 165929"/>
                  <a:gd name="connsiteY27" fmla="*/ 48625 h 62912"/>
                  <a:gd name="connsiteX28" fmla="*/ 151547 w 165929"/>
                  <a:gd name="connsiteY28" fmla="*/ 31575 h 62912"/>
                  <a:gd name="connsiteX29" fmla="*/ 149928 w 165929"/>
                  <a:gd name="connsiteY29" fmla="*/ 29099 h 62912"/>
                  <a:gd name="connsiteX30" fmla="*/ 82967 w 165929"/>
                  <a:gd name="connsiteY30" fmla="*/ 14240 h 62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165929" h="62912">
                    <a:moveTo>
                      <a:pt x="43057" y="62913"/>
                    </a:moveTo>
                    <a:lnTo>
                      <a:pt x="14292" y="62913"/>
                    </a:lnTo>
                    <a:cubicBezTo>
                      <a:pt x="10387" y="62913"/>
                      <a:pt x="6672" y="61389"/>
                      <a:pt x="4005" y="58626"/>
                    </a:cubicBezTo>
                    <a:cubicBezTo>
                      <a:pt x="1338" y="55864"/>
                      <a:pt x="-91" y="52245"/>
                      <a:pt x="4" y="48435"/>
                    </a:cubicBezTo>
                    <a:lnTo>
                      <a:pt x="100" y="31480"/>
                    </a:lnTo>
                    <a:cubicBezTo>
                      <a:pt x="4" y="25003"/>
                      <a:pt x="3814" y="18907"/>
                      <a:pt x="9910" y="16145"/>
                    </a:cubicBezTo>
                    <a:cubicBezTo>
                      <a:pt x="56392" y="-5382"/>
                      <a:pt x="109732" y="-5382"/>
                      <a:pt x="156214" y="16145"/>
                    </a:cubicBezTo>
                    <a:cubicBezTo>
                      <a:pt x="162120" y="19098"/>
                      <a:pt x="165930" y="25098"/>
                      <a:pt x="165930" y="31480"/>
                    </a:cubicBezTo>
                    <a:lnTo>
                      <a:pt x="165930" y="48435"/>
                    </a:lnTo>
                    <a:cubicBezTo>
                      <a:pt x="165930" y="56340"/>
                      <a:pt x="159453" y="62817"/>
                      <a:pt x="151547" y="62817"/>
                    </a:cubicBezTo>
                    <a:lnTo>
                      <a:pt x="122782" y="62817"/>
                    </a:lnTo>
                    <a:cubicBezTo>
                      <a:pt x="114876" y="62817"/>
                      <a:pt x="108399" y="56340"/>
                      <a:pt x="108399" y="48435"/>
                    </a:cubicBezTo>
                    <a:lnTo>
                      <a:pt x="108399" y="33957"/>
                    </a:lnTo>
                    <a:cubicBezTo>
                      <a:pt x="91921" y="29670"/>
                      <a:pt x="74680" y="29670"/>
                      <a:pt x="58012" y="33385"/>
                    </a:cubicBezTo>
                    <a:lnTo>
                      <a:pt x="57535" y="48530"/>
                    </a:lnTo>
                    <a:cubicBezTo>
                      <a:pt x="57440" y="56436"/>
                      <a:pt x="50963" y="62913"/>
                      <a:pt x="43057" y="62913"/>
                    </a:cubicBezTo>
                    <a:close/>
                    <a:moveTo>
                      <a:pt x="82967" y="14240"/>
                    </a:moveTo>
                    <a:cubicBezTo>
                      <a:pt x="60012" y="14240"/>
                      <a:pt x="37152" y="19193"/>
                      <a:pt x="15721" y="29099"/>
                    </a:cubicBezTo>
                    <a:cubicBezTo>
                      <a:pt x="14768" y="29480"/>
                      <a:pt x="14292" y="30337"/>
                      <a:pt x="14292" y="31385"/>
                    </a:cubicBezTo>
                    <a:lnTo>
                      <a:pt x="14197" y="48625"/>
                    </a:lnTo>
                    <a:lnTo>
                      <a:pt x="14292" y="48720"/>
                    </a:lnTo>
                    <a:lnTo>
                      <a:pt x="43057" y="48720"/>
                    </a:lnTo>
                    <a:lnTo>
                      <a:pt x="43153" y="34147"/>
                    </a:lnTo>
                    <a:cubicBezTo>
                      <a:pt x="43153" y="27194"/>
                      <a:pt x="47915" y="21193"/>
                      <a:pt x="54678" y="19574"/>
                    </a:cubicBezTo>
                    <a:cubicBezTo>
                      <a:pt x="73537" y="15383"/>
                      <a:pt x="92968" y="15383"/>
                      <a:pt x="111066" y="19574"/>
                    </a:cubicBezTo>
                    <a:cubicBezTo>
                      <a:pt x="117733" y="21098"/>
                      <a:pt x="122591" y="27194"/>
                      <a:pt x="122591" y="34052"/>
                    </a:cubicBezTo>
                    <a:lnTo>
                      <a:pt x="122591" y="48530"/>
                    </a:lnTo>
                    <a:lnTo>
                      <a:pt x="151452" y="48625"/>
                    </a:lnTo>
                    <a:lnTo>
                      <a:pt x="151547" y="31575"/>
                    </a:lnTo>
                    <a:cubicBezTo>
                      <a:pt x="151547" y="30528"/>
                      <a:pt x="150976" y="29575"/>
                      <a:pt x="149928" y="29099"/>
                    </a:cubicBezTo>
                    <a:cubicBezTo>
                      <a:pt x="128687" y="19193"/>
                      <a:pt x="105827" y="14240"/>
                      <a:pt x="82967" y="1424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grpSp>
            <p:nvGrpSpPr>
              <p:cNvPr id="716" name="Grafik 2">
                <a:extLst>
                  <a:ext uri="{FF2B5EF4-FFF2-40B4-BE49-F238E27FC236}">
                    <a16:creationId xmlns:a16="http://schemas.microsoft.com/office/drawing/2014/main" id="{BAB5AC1D-A33D-B684-CB5F-102079E827EE}"/>
                  </a:ext>
                </a:extLst>
              </p:cNvPr>
              <p:cNvGrpSpPr/>
              <p:nvPr/>
            </p:nvGrpSpPr>
            <p:grpSpPr>
              <a:xfrm>
                <a:off x="6151434" y="3469695"/>
                <a:ext cx="95321" cy="59983"/>
                <a:chOff x="6151434" y="3469695"/>
                <a:chExt cx="95321" cy="59983"/>
              </a:xfrm>
              <a:grpFill/>
            </p:grpSpPr>
            <p:grpSp>
              <p:nvGrpSpPr>
                <p:cNvPr id="730" name="Grafik 2">
                  <a:extLst>
                    <a:ext uri="{FF2B5EF4-FFF2-40B4-BE49-F238E27FC236}">
                      <a16:creationId xmlns:a16="http://schemas.microsoft.com/office/drawing/2014/main" id="{F91DDEAD-B622-8919-6B4D-F71D774C433D}"/>
                    </a:ext>
                  </a:extLst>
                </p:cNvPr>
                <p:cNvGrpSpPr/>
                <p:nvPr/>
              </p:nvGrpSpPr>
              <p:grpSpPr>
                <a:xfrm>
                  <a:off x="6151434" y="3469695"/>
                  <a:ext cx="95321" cy="59983"/>
                  <a:chOff x="6151434" y="3469695"/>
                  <a:chExt cx="95321" cy="59983"/>
                </a:xfrm>
                <a:grpFill/>
              </p:grpSpPr>
              <p:sp>
                <p:nvSpPr>
                  <p:cNvPr id="734" name="Grafik 2">
                    <a:extLst>
                      <a:ext uri="{FF2B5EF4-FFF2-40B4-BE49-F238E27FC236}">
                        <a16:creationId xmlns:a16="http://schemas.microsoft.com/office/drawing/2014/main" id="{444B4D9C-BE6B-AB93-6AC8-5D92302FB2D9}"/>
                      </a:ext>
                    </a:extLst>
                  </p:cNvPr>
                  <p:cNvSpPr/>
                  <p:nvPr/>
                </p:nvSpPr>
                <p:spPr>
                  <a:xfrm>
                    <a:off x="6151434" y="3492531"/>
                    <a:ext cx="95250" cy="14287"/>
                  </a:xfrm>
                  <a:custGeom>
                    <a:avLst/>
                    <a:gdLst>
                      <a:gd name="connsiteX0" fmla="*/ 88106 w 95250"/>
                      <a:gd name="connsiteY0" fmla="*/ 14288 h 14287"/>
                      <a:gd name="connsiteX1" fmla="*/ 7144 w 95250"/>
                      <a:gd name="connsiteY1" fmla="*/ 14288 h 14287"/>
                      <a:gd name="connsiteX2" fmla="*/ 0 w 95250"/>
                      <a:gd name="connsiteY2" fmla="*/ 7144 h 14287"/>
                      <a:gd name="connsiteX3" fmla="*/ 7144 w 95250"/>
                      <a:gd name="connsiteY3" fmla="*/ 0 h 14287"/>
                      <a:gd name="connsiteX4" fmla="*/ 88106 w 95250"/>
                      <a:gd name="connsiteY4" fmla="*/ 0 h 14287"/>
                      <a:gd name="connsiteX5" fmla="*/ 95250 w 95250"/>
                      <a:gd name="connsiteY5" fmla="*/ 7144 h 14287"/>
                      <a:gd name="connsiteX6" fmla="*/ 88106 w 95250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250" h="14287">
                        <a:moveTo>
                          <a:pt x="8810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8106" y="0"/>
                        </a:lnTo>
                        <a:cubicBezTo>
                          <a:pt x="92012" y="0"/>
                          <a:pt x="95250" y="3239"/>
                          <a:pt x="95250" y="7144"/>
                        </a:cubicBezTo>
                        <a:cubicBezTo>
                          <a:pt x="95250" y="11049"/>
                          <a:pt x="92107" y="14288"/>
                          <a:pt x="8810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35" name="Grafik 2">
                    <a:extLst>
                      <a:ext uri="{FF2B5EF4-FFF2-40B4-BE49-F238E27FC236}">
                        <a16:creationId xmlns:a16="http://schemas.microsoft.com/office/drawing/2014/main" id="{1D0D6A54-0177-9430-8086-199EA849D262}"/>
                      </a:ext>
                    </a:extLst>
                  </p:cNvPr>
                  <p:cNvSpPr/>
                  <p:nvPr/>
                </p:nvSpPr>
                <p:spPr>
                  <a:xfrm>
                    <a:off x="6209466" y="3469695"/>
                    <a:ext cx="37195" cy="37123"/>
                  </a:xfrm>
                  <a:custGeom>
                    <a:avLst/>
                    <a:gdLst>
                      <a:gd name="connsiteX0" fmla="*/ 30075 w 37195"/>
                      <a:gd name="connsiteY0" fmla="*/ 37124 h 37123"/>
                      <a:gd name="connsiteX1" fmla="*/ 25027 w 37195"/>
                      <a:gd name="connsiteY1" fmla="*/ 35028 h 37123"/>
                      <a:gd name="connsiteX2" fmla="*/ 2072 w 37195"/>
                      <a:gd name="connsiteY2" fmla="*/ 12168 h 37123"/>
                      <a:gd name="connsiteX3" fmla="*/ 2072 w 37195"/>
                      <a:gd name="connsiteY3" fmla="*/ 2072 h 37123"/>
                      <a:gd name="connsiteX4" fmla="*/ 12168 w 37195"/>
                      <a:gd name="connsiteY4" fmla="*/ 2072 h 37123"/>
                      <a:gd name="connsiteX5" fmla="*/ 35123 w 37195"/>
                      <a:gd name="connsiteY5" fmla="*/ 24932 h 37123"/>
                      <a:gd name="connsiteX6" fmla="*/ 35123 w 37195"/>
                      <a:gd name="connsiteY6" fmla="*/ 35028 h 37123"/>
                      <a:gd name="connsiteX7" fmla="*/ 30075 w 37195"/>
                      <a:gd name="connsiteY7" fmla="*/ 37124 h 371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195" h="37123">
                        <a:moveTo>
                          <a:pt x="30075" y="37124"/>
                        </a:moveTo>
                        <a:cubicBezTo>
                          <a:pt x="28265" y="37124"/>
                          <a:pt x="26456" y="36457"/>
                          <a:pt x="25027" y="35028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5123" y="24932"/>
                        </a:lnTo>
                        <a:cubicBezTo>
                          <a:pt x="37886" y="27694"/>
                          <a:pt x="37886" y="32266"/>
                          <a:pt x="35123" y="35028"/>
                        </a:cubicBezTo>
                        <a:cubicBezTo>
                          <a:pt x="33790" y="36362"/>
                          <a:pt x="31885" y="37124"/>
                          <a:pt x="30075" y="3712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36" name="Grafik 2">
                    <a:extLst>
                      <a:ext uri="{FF2B5EF4-FFF2-40B4-BE49-F238E27FC236}">
                        <a16:creationId xmlns:a16="http://schemas.microsoft.com/office/drawing/2014/main" id="{D2B0DBC7-ECD6-B4FA-3259-761475049AE3}"/>
                      </a:ext>
                    </a:extLst>
                  </p:cNvPr>
                  <p:cNvSpPr/>
                  <p:nvPr/>
                </p:nvSpPr>
                <p:spPr>
                  <a:xfrm>
                    <a:off x="6209561" y="3492459"/>
                    <a:ext cx="37195" cy="37218"/>
                  </a:xfrm>
                  <a:custGeom>
                    <a:avLst/>
                    <a:gdLst>
                      <a:gd name="connsiteX0" fmla="*/ 7120 w 37195"/>
                      <a:gd name="connsiteY0" fmla="*/ 37219 h 37218"/>
                      <a:gd name="connsiteX1" fmla="*/ 2072 w 37195"/>
                      <a:gd name="connsiteY1" fmla="*/ 35123 h 37218"/>
                      <a:gd name="connsiteX2" fmla="*/ 2072 w 37195"/>
                      <a:gd name="connsiteY2" fmla="*/ 25027 h 37218"/>
                      <a:gd name="connsiteX3" fmla="*/ 25027 w 37195"/>
                      <a:gd name="connsiteY3" fmla="*/ 2072 h 37218"/>
                      <a:gd name="connsiteX4" fmla="*/ 35123 w 37195"/>
                      <a:gd name="connsiteY4" fmla="*/ 2072 h 37218"/>
                      <a:gd name="connsiteX5" fmla="*/ 35123 w 37195"/>
                      <a:gd name="connsiteY5" fmla="*/ 12168 h 37218"/>
                      <a:gd name="connsiteX6" fmla="*/ 12168 w 37195"/>
                      <a:gd name="connsiteY6" fmla="*/ 35123 h 37218"/>
                      <a:gd name="connsiteX7" fmla="*/ 7120 w 37195"/>
                      <a:gd name="connsiteY7" fmla="*/ 37219 h 372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195" h="37218">
                        <a:moveTo>
                          <a:pt x="7120" y="37219"/>
                        </a:moveTo>
                        <a:cubicBezTo>
                          <a:pt x="5310" y="37219"/>
                          <a:pt x="3500" y="36552"/>
                          <a:pt x="2072" y="35123"/>
                        </a:cubicBezTo>
                        <a:cubicBezTo>
                          <a:pt x="-691" y="32361"/>
                          <a:pt x="-691" y="27789"/>
                          <a:pt x="2072" y="25027"/>
                        </a:cubicBezTo>
                        <a:lnTo>
                          <a:pt x="25027" y="2072"/>
                        </a:lnTo>
                        <a:cubicBezTo>
                          <a:pt x="27789" y="-691"/>
                          <a:pt x="32361" y="-691"/>
                          <a:pt x="35123" y="2072"/>
                        </a:cubicBezTo>
                        <a:cubicBezTo>
                          <a:pt x="37886" y="4834"/>
                          <a:pt x="37886" y="9406"/>
                          <a:pt x="35123" y="12168"/>
                        </a:cubicBezTo>
                        <a:lnTo>
                          <a:pt x="12168" y="35123"/>
                        </a:lnTo>
                        <a:cubicBezTo>
                          <a:pt x="10739" y="36552"/>
                          <a:pt x="8930" y="37219"/>
                          <a:pt x="7120" y="3721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731" name="Grafik 2">
                  <a:extLst>
                    <a:ext uri="{FF2B5EF4-FFF2-40B4-BE49-F238E27FC236}">
                      <a16:creationId xmlns:a16="http://schemas.microsoft.com/office/drawing/2014/main" id="{55B757CC-FE21-4613-D9D3-D3A4D340AA4E}"/>
                    </a:ext>
                  </a:extLst>
                </p:cNvPr>
                <p:cNvGrpSpPr/>
                <p:nvPr/>
              </p:nvGrpSpPr>
              <p:grpSpPr>
                <a:xfrm>
                  <a:off x="6151458" y="3469695"/>
                  <a:ext cx="37099" cy="59983"/>
                  <a:chOff x="6151458" y="3469695"/>
                  <a:chExt cx="37099" cy="59983"/>
                </a:xfrm>
                <a:grpFill/>
              </p:grpSpPr>
              <p:sp>
                <p:nvSpPr>
                  <p:cNvPr id="732" name="Grafik 2">
                    <a:extLst>
                      <a:ext uri="{FF2B5EF4-FFF2-40B4-BE49-F238E27FC236}">
                        <a16:creationId xmlns:a16="http://schemas.microsoft.com/office/drawing/2014/main" id="{D87C1C10-D7F6-3422-4DF8-20382183CC54}"/>
                      </a:ext>
                    </a:extLst>
                  </p:cNvPr>
                  <p:cNvSpPr/>
                  <p:nvPr/>
                </p:nvSpPr>
                <p:spPr>
                  <a:xfrm>
                    <a:off x="6151458" y="3492459"/>
                    <a:ext cx="37099" cy="37218"/>
                  </a:xfrm>
                  <a:custGeom>
                    <a:avLst/>
                    <a:gdLst>
                      <a:gd name="connsiteX0" fmla="*/ 29980 w 37099"/>
                      <a:gd name="connsiteY0" fmla="*/ 37219 h 37218"/>
                      <a:gd name="connsiteX1" fmla="*/ 24932 w 37099"/>
                      <a:gd name="connsiteY1" fmla="*/ 35123 h 37218"/>
                      <a:gd name="connsiteX2" fmla="*/ 2072 w 37099"/>
                      <a:gd name="connsiteY2" fmla="*/ 12168 h 37218"/>
                      <a:gd name="connsiteX3" fmla="*/ 2072 w 37099"/>
                      <a:gd name="connsiteY3" fmla="*/ 2072 h 37218"/>
                      <a:gd name="connsiteX4" fmla="*/ 12168 w 37099"/>
                      <a:gd name="connsiteY4" fmla="*/ 2072 h 37218"/>
                      <a:gd name="connsiteX5" fmla="*/ 35028 w 37099"/>
                      <a:gd name="connsiteY5" fmla="*/ 25027 h 37218"/>
                      <a:gd name="connsiteX6" fmla="*/ 35028 w 37099"/>
                      <a:gd name="connsiteY6" fmla="*/ 35123 h 37218"/>
                      <a:gd name="connsiteX7" fmla="*/ 29980 w 37099"/>
                      <a:gd name="connsiteY7" fmla="*/ 37219 h 372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099" h="37218">
                        <a:moveTo>
                          <a:pt x="29980" y="37219"/>
                        </a:moveTo>
                        <a:cubicBezTo>
                          <a:pt x="28170" y="37219"/>
                          <a:pt x="26360" y="36552"/>
                          <a:pt x="24932" y="35123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5028" y="25027"/>
                        </a:lnTo>
                        <a:cubicBezTo>
                          <a:pt x="37790" y="27789"/>
                          <a:pt x="37790" y="32361"/>
                          <a:pt x="35028" y="35123"/>
                        </a:cubicBezTo>
                        <a:cubicBezTo>
                          <a:pt x="33695" y="36552"/>
                          <a:pt x="31790" y="37219"/>
                          <a:pt x="29980" y="3721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33" name="Grafik 2">
                    <a:extLst>
                      <a:ext uri="{FF2B5EF4-FFF2-40B4-BE49-F238E27FC236}">
                        <a16:creationId xmlns:a16="http://schemas.microsoft.com/office/drawing/2014/main" id="{BE0328FA-B1B0-1416-823E-9B5AEA54EEF6}"/>
                      </a:ext>
                    </a:extLst>
                  </p:cNvPr>
                  <p:cNvSpPr/>
                  <p:nvPr/>
                </p:nvSpPr>
                <p:spPr>
                  <a:xfrm>
                    <a:off x="6151458" y="3469695"/>
                    <a:ext cx="37099" cy="37123"/>
                  </a:xfrm>
                  <a:custGeom>
                    <a:avLst/>
                    <a:gdLst>
                      <a:gd name="connsiteX0" fmla="*/ 7120 w 37099"/>
                      <a:gd name="connsiteY0" fmla="*/ 37124 h 37123"/>
                      <a:gd name="connsiteX1" fmla="*/ 2072 w 37099"/>
                      <a:gd name="connsiteY1" fmla="*/ 35028 h 37123"/>
                      <a:gd name="connsiteX2" fmla="*/ 2072 w 37099"/>
                      <a:gd name="connsiteY2" fmla="*/ 24932 h 37123"/>
                      <a:gd name="connsiteX3" fmla="*/ 24932 w 37099"/>
                      <a:gd name="connsiteY3" fmla="*/ 2072 h 37123"/>
                      <a:gd name="connsiteX4" fmla="*/ 35028 w 37099"/>
                      <a:gd name="connsiteY4" fmla="*/ 2072 h 37123"/>
                      <a:gd name="connsiteX5" fmla="*/ 35028 w 37099"/>
                      <a:gd name="connsiteY5" fmla="*/ 12168 h 37123"/>
                      <a:gd name="connsiteX6" fmla="*/ 12168 w 37099"/>
                      <a:gd name="connsiteY6" fmla="*/ 35028 h 37123"/>
                      <a:gd name="connsiteX7" fmla="*/ 7120 w 37099"/>
                      <a:gd name="connsiteY7" fmla="*/ 37124 h 371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099" h="37123">
                        <a:moveTo>
                          <a:pt x="7120" y="37124"/>
                        </a:moveTo>
                        <a:cubicBezTo>
                          <a:pt x="5310" y="37124"/>
                          <a:pt x="3500" y="36457"/>
                          <a:pt x="2072" y="35028"/>
                        </a:cubicBezTo>
                        <a:cubicBezTo>
                          <a:pt x="-691" y="32266"/>
                          <a:pt x="-691" y="27694"/>
                          <a:pt x="2072" y="24932"/>
                        </a:cubicBezTo>
                        <a:lnTo>
                          <a:pt x="24932" y="2072"/>
                        </a:lnTo>
                        <a:cubicBezTo>
                          <a:pt x="27694" y="-691"/>
                          <a:pt x="32266" y="-691"/>
                          <a:pt x="35028" y="2072"/>
                        </a:cubicBezTo>
                        <a:cubicBezTo>
                          <a:pt x="37790" y="4834"/>
                          <a:pt x="37790" y="9406"/>
                          <a:pt x="35028" y="12168"/>
                        </a:cubicBezTo>
                        <a:lnTo>
                          <a:pt x="12168" y="35028"/>
                        </a:lnTo>
                        <a:cubicBezTo>
                          <a:pt x="10739" y="36362"/>
                          <a:pt x="8930" y="37124"/>
                          <a:pt x="7120" y="3712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717" name="Grafik 2">
                <a:extLst>
                  <a:ext uri="{FF2B5EF4-FFF2-40B4-BE49-F238E27FC236}">
                    <a16:creationId xmlns:a16="http://schemas.microsoft.com/office/drawing/2014/main" id="{AD115607-56F3-6BE0-DFE5-62D8827DA8D0}"/>
                  </a:ext>
                </a:extLst>
              </p:cNvPr>
              <p:cNvGrpSpPr/>
              <p:nvPr/>
            </p:nvGrpSpPr>
            <p:grpSpPr>
              <a:xfrm>
                <a:off x="5875995" y="3469695"/>
                <a:ext cx="95321" cy="59983"/>
                <a:chOff x="5875995" y="3469695"/>
                <a:chExt cx="95321" cy="59983"/>
              </a:xfrm>
              <a:grpFill/>
            </p:grpSpPr>
            <p:grpSp>
              <p:nvGrpSpPr>
                <p:cNvPr id="723" name="Grafik 2">
                  <a:extLst>
                    <a:ext uri="{FF2B5EF4-FFF2-40B4-BE49-F238E27FC236}">
                      <a16:creationId xmlns:a16="http://schemas.microsoft.com/office/drawing/2014/main" id="{71507DF6-C0D5-A4FB-2BAF-33B961F22313}"/>
                    </a:ext>
                  </a:extLst>
                </p:cNvPr>
                <p:cNvGrpSpPr/>
                <p:nvPr/>
              </p:nvGrpSpPr>
              <p:grpSpPr>
                <a:xfrm>
                  <a:off x="5876067" y="3469695"/>
                  <a:ext cx="95249" cy="59983"/>
                  <a:chOff x="5876067" y="3469695"/>
                  <a:chExt cx="95249" cy="59983"/>
                </a:xfrm>
                <a:grpFill/>
              </p:grpSpPr>
              <p:sp>
                <p:nvSpPr>
                  <p:cNvPr id="727" name="Grafik 2">
                    <a:extLst>
                      <a:ext uri="{FF2B5EF4-FFF2-40B4-BE49-F238E27FC236}">
                        <a16:creationId xmlns:a16="http://schemas.microsoft.com/office/drawing/2014/main" id="{77AA7935-D376-A31B-13C5-4123CBB91105}"/>
                      </a:ext>
                    </a:extLst>
                  </p:cNvPr>
                  <p:cNvSpPr/>
                  <p:nvPr/>
                </p:nvSpPr>
                <p:spPr>
                  <a:xfrm>
                    <a:off x="5876067" y="3492531"/>
                    <a:ext cx="95249" cy="14287"/>
                  </a:xfrm>
                  <a:custGeom>
                    <a:avLst/>
                    <a:gdLst>
                      <a:gd name="connsiteX0" fmla="*/ 88106 w 95249"/>
                      <a:gd name="connsiteY0" fmla="*/ 14288 h 14287"/>
                      <a:gd name="connsiteX1" fmla="*/ 7144 w 95249"/>
                      <a:gd name="connsiteY1" fmla="*/ 14288 h 14287"/>
                      <a:gd name="connsiteX2" fmla="*/ 0 w 95249"/>
                      <a:gd name="connsiteY2" fmla="*/ 7144 h 14287"/>
                      <a:gd name="connsiteX3" fmla="*/ 7144 w 95249"/>
                      <a:gd name="connsiteY3" fmla="*/ 0 h 14287"/>
                      <a:gd name="connsiteX4" fmla="*/ 88106 w 95249"/>
                      <a:gd name="connsiteY4" fmla="*/ 0 h 14287"/>
                      <a:gd name="connsiteX5" fmla="*/ 95250 w 95249"/>
                      <a:gd name="connsiteY5" fmla="*/ 7144 h 14287"/>
                      <a:gd name="connsiteX6" fmla="*/ 88106 w 9524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249" h="14287">
                        <a:moveTo>
                          <a:pt x="8810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8106" y="0"/>
                        </a:lnTo>
                        <a:cubicBezTo>
                          <a:pt x="92012" y="0"/>
                          <a:pt x="95250" y="3239"/>
                          <a:pt x="95250" y="7144"/>
                        </a:cubicBezTo>
                        <a:cubicBezTo>
                          <a:pt x="95250" y="11049"/>
                          <a:pt x="92012" y="14288"/>
                          <a:pt x="8810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28" name="Grafik 2">
                    <a:extLst>
                      <a:ext uri="{FF2B5EF4-FFF2-40B4-BE49-F238E27FC236}">
                        <a16:creationId xmlns:a16="http://schemas.microsoft.com/office/drawing/2014/main" id="{95C8568A-2FD8-F56E-11B8-DE7827041564}"/>
                      </a:ext>
                    </a:extLst>
                  </p:cNvPr>
                  <p:cNvSpPr/>
                  <p:nvPr/>
                </p:nvSpPr>
                <p:spPr>
                  <a:xfrm>
                    <a:off x="5934193" y="3469695"/>
                    <a:ext cx="37099" cy="37123"/>
                  </a:xfrm>
                  <a:custGeom>
                    <a:avLst/>
                    <a:gdLst>
                      <a:gd name="connsiteX0" fmla="*/ 29980 w 37099"/>
                      <a:gd name="connsiteY0" fmla="*/ 37124 h 37123"/>
                      <a:gd name="connsiteX1" fmla="*/ 24932 w 37099"/>
                      <a:gd name="connsiteY1" fmla="*/ 35028 h 37123"/>
                      <a:gd name="connsiteX2" fmla="*/ 2072 w 37099"/>
                      <a:gd name="connsiteY2" fmla="*/ 12168 h 37123"/>
                      <a:gd name="connsiteX3" fmla="*/ 2072 w 37099"/>
                      <a:gd name="connsiteY3" fmla="*/ 2072 h 37123"/>
                      <a:gd name="connsiteX4" fmla="*/ 12168 w 37099"/>
                      <a:gd name="connsiteY4" fmla="*/ 2072 h 37123"/>
                      <a:gd name="connsiteX5" fmla="*/ 35028 w 37099"/>
                      <a:gd name="connsiteY5" fmla="*/ 24932 h 37123"/>
                      <a:gd name="connsiteX6" fmla="*/ 35028 w 37099"/>
                      <a:gd name="connsiteY6" fmla="*/ 35028 h 37123"/>
                      <a:gd name="connsiteX7" fmla="*/ 29980 w 37099"/>
                      <a:gd name="connsiteY7" fmla="*/ 37124 h 371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099" h="37123">
                        <a:moveTo>
                          <a:pt x="29980" y="37124"/>
                        </a:moveTo>
                        <a:cubicBezTo>
                          <a:pt x="28170" y="37124"/>
                          <a:pt x="26360" y="36457"/>
                          <a:pt x="24932" y="35028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5028" y="24932"/>
                        </a:lnTo>
                        <a:cubicBezTo>
                          <a:pt x="37790" y="27694"/>
                          <a:pt x="37790" y="32266"/>
                          <a:pt x="35028" y="35028"/>
                        </a:cubicBezTo>
                        <a:cubicBezTo>
                          <a:pt x="33599" y="36362"/>
                          <a:pt x="31790" y="37124"/>
                          <a:pt x="29980" y="3712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29" name="Grafik 2">
                    <a:extLst>
                      <a:ext uri="{FF2B5EF4-FFF2-40B4-BE49-F238E27FC236}">
                        <a16:creationId xmlns:a16="http://schemas.microsoft.com/office/drawing/2014/main" id="{AEA6B2A7-365F-7A5F-26BE-52FAB85FC2A1}"/>
                      </a:ext>
                    </a:extLst>
                  </p:cNvPr>
                  <p:cNvSpPr/>
                  <p:nvPr/>
                </p:nvSpPr>
                <p:spPr>
                  <a:xfrm>
                    <a:off x="5934098" y="3492459"/>
                    <a:ext cx="37099" cy="37218"/>
                  </a:xfrm>
                  <a:custGeom>
                    <a:avLst/>
                    <a:gdLst>
                      <a:gd name="connsiteX0" fmla="*/ 7120 w 37099"/>
                      <a:gd name="connsiteY0" fmla="*/ 37219 h 37218"/>
                      <a:gd name="connsiteX1" fmla="*/ 2072 w 37099"/>
                      <a:gd name="connsiteY1" fmla="*/ 35123 h 37218"/>
                      <a:gd name="connsiteX2" fmla="*/ 2072 w 37099"/>
                      <a:gd name="connsiteY2" fmla="*/ 25027 h 37218"/>
                      <a:gd name="connsiteX3" fmla="*/ 24932 w 37099"/>
                      <a:gd name="connsiteY3" fmla="*/ 2072 h 37218"/>
                      <a:gd name="connsiteX4" fmla="*/ 35028 w 37099"/>
                      <a:gd name="connsiteY4" fmla="*/ 2072 h 37218"/>
                      <a:gd name="connsiteX5" fmla="*/ 35028 w 37099"/>
                      <a:gd name="connsiteY5" fmla="*/ 12168 h 37218"/>
                      <a:gd name="connsiteX6" fmla="*/ 12168 w 37099"/>
                      <a:gd name="connsiteY6" fmla="*/ 35123 h 37218"/>
                      <a:gd name="connsiteX7" fmla="*/ 7120 w 37099"/>
                      <a:gd name="connsiteY7" fmla="*/ 37219 h 372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099" h="37218">
                        <a:moveTo>
                          <a:pt x="7120" y="37219"/>
                        </a:moveTo>
                        <a:cubicBezTo>
                          <a:pt x="5310" y="37219"/>
                          <a:pt x="3500" y="36552"/>
                          <a:pt x="2072" y="35123"/>
                        </a:cubicBezTo>
                        <a:cubicBezTo>
                          <a:pt x="-691" y="32361"/>
                          <a:pt x="-691" y="27789"/>
                          <a:pt x="2072" y="25027"/>
                        </a:cubicBezTo>
                        <a:lnTo>
                          <a:pt x="24932" y="2072"/>
                        </a:lnTo>
                        <a:cubicBezTo>
                          <a:pt x="27694" y="-691"/>
                          <a:pt x="32266" y="-691"/>
                          <a:pt x="35028" y="2072"/>
                        </a:cubicBezTo>
                        <a:cubicBezTo>
                          <a:pt x="37790" y="4834"/>
                          <a:pt x="37790" y="9406"/>
                          <a:pt x="35028" y="12168"/>
                        </a:cubicBezTo>
                        <a:lnTo>
                          <a:pt x="12168" y="35123"/>
                        </a:lnTo>
                        <a:cubicBezTo>
                          <a:pt x="10835" y="36552"/>
                          <a:pt x="9025" y="37219"/>
                          <a:pt x="7120" y="3721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724" name="Grafik 2">
                  <a:extLst>
                    <a:ext uri="{FF2B5EF4-FFF2-40B4-BE49-F238E27FC236}">
                      <a16:creationId xmlns:a16="http://schemas.microsoft.com/office/drawing/2014/main" id="{B86FBB2B-4557-EB2F-C355-0B4F77F9C3DB}"/>
                    </a:ext>
                  </a:extLst>
                </p:cNvPr>
                <p:cNvGrpSpPr/>
                <p:nvPr/>
              </p:nvGrpSpPr>
              <p:grpSpPr>
                <a:xfrm>
                  <a:off x="5875995" y="3469695"/>
                  <a:ext cx="37195" cy="59983"/>
                  <a:chOff x="5875995" y="3469695"/>
                  <a:chExt cx="37195" cy="59983"/>
                </a:xfrm>
                <a:grpFill/>
              </p:grpSpPr>
              <p:sp>
                <p:nvSpPr>
                  <p:cNvPr id="725" name="Grafik 2">
                    <a:extLst>
                      <a:ext uri="{FF2B5EF4-FFF2-40B4-BE49-F238E27FC236}">
                        <a16:creationId xmlns:a16="http://schemas.microsoft.com/office/drawing/2014/main" id="{FA59640B-E58D-A3C6-C35A-2C021F767B13}"/>
                      </a:ext>
                    </a:extLst>
                  </p:cNvPr>
                  <p:cNvSpPr/>
                  <p:nvPr/>
                </p:nvSpPr>
                <p:spPr>
                  <a:xfrm>
                    <a:off x="5875995" y="3492459"/>
                    <a:ext cx="37195" cy="37218"/>
                  </a:xfrm>
                  <a:custGeom>
                    <a:avLst/>
                    <a:gdLst>
                      <a:gd name="connsiteX0" fmla="*/ 30075 w 37195"/>
                      <a:gd name="connsiteY0" fmla="*/ 37219 h 37218"/>
                      <a:gd name="connsiteX1" fmla="*/ 25027 w 37195"/>
                      <a:gd name="connsiteY1" fmla="*/ 35123 h 37218"/>
                      <a:gd name="connsiteX2" fmla="*/ 2072 w 37195"/>
                      <a:gd name="connsiteY2" fmla="*/ 12168 h 37218"/>
                      <a:gd name="connsiteX3" fmla="*/ 2072 w 37195"/>
                      <a:gd name="connsiteY3" fmla="*/ 2072 h 37218"/>
                      <a:gd name="connsiteX4" fmla="*/ 12168 w 37195"/>
                      <a:gd name="connsiteY4" fmla="*/ 2072 h 37218"/>
                      <a:gd name="connsiteX5" fmla="*/ 35123 w 37195"/>
                      <a:gd name="connsiteY5" fmla="*/ 25027 h 37218"/>
                      <a:gd name="connsiteX6" fmla="*/ 35123 w 37195"/>
                      <a:gd name="connsiteY6" fmla="*/ 35123 h 37218"/>
                      <a:gd name="connsiteX7" fmla="*/ 30075 w 37195"/>
                      <a:gd name="connsiteY7" fmla="*/ 37219 h 372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195" h="37218">
                        <a:moveTo>
                          <a:pt x="30075" y="37219"/>
                        </a:moveTo>
                        <a:cubicBezTo>
                          <a:pt x="28265" y="37219"/>
                          <a:pt x="26456" y="36552"/>
                          <a:pt x="25027" y="35123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5123" y="25027"/>
                        </a:lnTo>
                        <a:cubicBezTo>
                          <a:pt x="37886" y="27789"/>
                          <a:pt x="37886" y="32361"/>
                          <a:pt x="35123" y="35123"/>
                        </a:cubicBezTo>
                        <a:cubicBezTo>
                          <a:pt x="33695" y="36552"/>
                          <a:pt x="31885" y="37219"/>
                          <a:pt x="30075" y="3721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26" name="Grafik 2">
                    <a:extLst>
                      <a:ext uri="{FF2B5EF4-FFF2-40B4-BE49-F238E27FC236}">
                        <a16:creationId xmlns:a16="http://schemas.microsoft.com/office/drawing/2014/main" id="{113D1465-2060-8706-0E9D-799F769384D6}"/>
                      </a:ext>
                    </a:extLst>
                  </p:cNvPr>
                  <p:cNvSpPr/>
                  <p:nvPr/>
                </p:nvSpPr>
                <p:spPr>
                  <a:xfrm>
                    <a:off x="5875995" y="3469695"/>
                    <a:ext cx="37195" cy="37123"/>
                  </a:xfrm>
                  <a:custGeom>
                    <a:avLst/>
                    <a:gdLst>
                      <a:gd name="connsiteX0" fmla="*/ 7120 w 37195"/>
                      <a:gd name="connsiteY0" fmla="*/ 37124 h 37123"/>
                      <a:gd name="connsiteX1" fmla="*/ 2072 w 37195"/>
                      <a:gd name="connsiteY1" fmla="*/ 35028 h 37123"/>
                      <a:gd name="connsiteX2" fmla="*/ 2072 w 37195"/>
                      <a:gd name="connsiteY2" fmla="*/ 24932 h 37123"/>
                      <a:gd name="connsiteX3" fmla="*/ 25027 w 37195"/>
                      <a:gd name="connsiteY3" fmla="*/ 2072 h 37123"/>
                      <a:gd name="connsiteX4" fmla="*/ 35123 w 37195"/>
                      <a:gd name="connsiteY4" fmla="*/ 2072 h 37123"/>
                      <a:gd name="connsiteX5" fmla="*/ 35123 w 37195"/>
                      <a:gd name="connsiteY5" fmla="*/ 12168 h 37123"/>
                      <a:gd name="connsiteX6" fmla="*/ 12168 w 37195"/>
                      <a:gd name="connsiteY6" fmla="*/ 35028 h 37123"/>
                      <a:gd name="connsiteX7" fmla="*/ 7120 w 37195"/>
                      <a:gd name="connsiteY7" fmla="*/ 37124 h 371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195" h="37123">
                        <a:moveTo>
                          <a:pt x="7120" y="37124"/>
                        </a:moveTo>
                        <a:cubicBezTo>
                          <a:pt x="5310" y="37124"/>
                          <a:pt x="3500" y="36457"/>
                          <a:pt x="2072" y="35028"/>
                        </a:cubicBezTo>
                        <a:cubicBezTo>
                          <a:pt x="-691" y="32266"/>
                          <a:pt x="-691" y="27694"/>
                          <a:pt x="2072" y="24932"/>
                        </a:cubicBezTo>
                        <a:lnTo>
                          <a:pt x="25027" y="2072"/>
                        </a:lnTo>
                        <a:cubicBezTo>
                          <a:pt x="27789" y="-691"/>
                          <a:pt x="32361" y="-691"/>
                          <a:pt x="35123" y="2072"/>
                        </a:cubicBezTo>
                        <a:cubicBezTo>
                          <a:pt x="37886" y="4834"/>
                          <a:pt x="37886" y="9406"/>
                          <a:pt x="35123" y="12168"/>
                        </a:cubicBezTo>
                        <a:lnTo>
                          <a:pt x="12168" y="35028"/>
                        </a:lnTo>
                        <a:cubicBezTo>
                          <a:pt x="10835" y="36362"/>
                          <a:pt x="8930" y="37124"/>
                          <a:pt x="7120" y="3712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718" name="Grafik 2">
                <a:extLst>
                  <a:ext uri="{FF2B5EF4-FFF2-40B4-BE49-F238E27FC236}">
                    <a16:creationId xmlns:a16="http://schemas.microsoft.com/office/drawing/2014/main" id="{AFFADB72-8A16-D7ED-A5BC-203C53686890}"/>
                  </a:ext>
                </a:extLst>
              </p:cNvPr>
              <p:cNvGrpSpPr/>
              <p:nvPr/>
            </p:nvGrpSpPr>
            <p:grpSpPr>
              <a:xfrm>
                <a:off x="6026752" y="3456621"/>
                <a:ext cx="69151" cy="85915"/>
                <a:chOff x="6026752" y="3456621"/>
                <a:chExt cx="69151" cy="85915"/>
              </a:xfrm>
              <a:grpFill/>
            </p:grpSpPr>
            <p:sp>
              <p:nvSpPr>
                <p:cNvPr id="719" name="Grafik 2">
                  <a:extLst>
                    <a:ext uri="{FF2B5EF4-FFF2-40B4-BE49-F238E27FC236}">
                      <a16:creationId xmlns:a16="http://schemas.microsoft.com/office/drawing/2014/main" id="{7F1C62A7-A36C-BC6D-6686-6B1F19485697}"/>
                    </a:ext>
                  </a:extLst>
                </p:cNvPr>
                <p:cNvSpPr/>
                <p:nvPr/>
              </p:nvSpPr>
              <p:spPr>
                <a:xfrm>
                  <a:off x="6026752" y="3456621"/>
                  <a:ext cx="14287" cy="85915"/>
                </a:xfrm>
                <a:custGeom>
                  <a:avLst/>
                  <a:gdLst>
                    <a:gd name="connsiteX0" fmla="*/ 7144 w 14287"/>
                    <a:gd name="connsiteY0" fmla="*/ 85915 h 85915"/>
                    <a:gd name="connsiteX1" fmla="*/ 0 w 14287"/>
                    <a:gd name="connsiteY1" fmla="*/ 78772 h 85915"/>
                    <a:gd name="connsiteX2" fmla="*/ 0 w 14287"/>
                    <a:gd name="connsiteY2" fmla="*/ 7144 h 85915"/>
                    <a:gd name="connsiteX3" fmla="*/ 7144 w 14287"/>
                    <a:gd name="connsiteY3" fmla="*/ 0 h 85915"/>
                    <a:gd name="connsiteX4" fmla="*/ 14288 w 14287"/>
                    <a:gd name="connsiteY4" fmla="*/ 7144 h 85915"/>
                    <a:gd name="connsiteX5" fmla="*/ 14288 w 14287"/>
                    <a:gd name="connsiteY5" fmla="*/ 78772 h 85915"/>
                    <a:gd name="connsiteX6" fmla="*/ 7144 w 14287"/>
                    <a:gd name="connsiteY6" fmla="*/ 85915 h 859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85915">
                      <a:moveTo>
                        <a:pt x="7144" y="85915"/>
                      </a:moveTo>
                      <a:cubicBezTo>
                        <a:pt x="3239" y="85915"/>
                        <a:pt x="0" y="82677"/>
                        <a:pt x="0" y="78772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8772"/>
                      </a:lnTo>
                      <a:cubicBezTo>
                        <a:pt x="14288" y="82772"/>
                        <a:pt x="11144" y="85915"/>
                        <a:pt x="7144" y="8591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20" name="Grafik 2">
                  <a:extLst>
                    <a:ext uri="{FF2B5EF4-FFF2-40B4-BE49-F238E27FC236}">
                      <a16:creationId xmlns:a16="http://schemas.microsoft.com/office/drawing/2014/main" id="{E23D91AA-D920-61B9-A147-F3DFD2E7905B}"/>
                    </a:ext>
                  </a:extLst>
                </p:cNvPr>
                <p:cNvSpPr/>
                <p:nvPr/>
              </p:nvSpPr>
              <p:spPr>
                <a:xfrm>
                  <a:off x="6081616" y="3456621"/>
                  <a:ext cx="14287" cy="85915"/>
                </a:xfrm>
                <a:custGeom>
                  <a:avLst/>
                  <a:gdLst>
                    <a:gd name="connsiteX0" fmla="*/ 7144 w 14287"/>
                    <a:gd name="connsiteY0" fmla="*/ 85915 h 85915"/>
                    <a:gd name="connsiteX1" fmla="*/ 0 w 14287"/>
                    <a:gd name="connsiteY1" fmla="*/ 78772 h 85915"/>
                    <a:gd name="connsiteX2" fmla="*/ 0 w 14287"/>
                    <a:gd name="connsiteY2" fmla="*/ 7144 h 85915"/>
                    <a:gd name="connsiteX3" fmla="*/ 7144 w 14287"/>
                    <a:gd name="connsiteY3" fmla="*/ 0 h 85915"/>
                    <a:gd name="connsiteX4" fmla="*/ 14288 w 14287"/>
                    <a:gd name="connsiteY4" fmla="*/ 7144 h 85915"/>
                    <a:gd name="connsiteX5" fmla="*/ 14288 w 14287"/>
                    <a:gd name="connsiteY5" fmla="*/ 78772 h 85915"/>
                    <a:gd name="connsiteX6" fmla="*/ 7144 w 14287"/>
                    <a:gd name="connsiteY6" fmla="*/ 85915 h 859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85915">
                      <a:moveTo>
                        <a:pt x="7144" y="85915"/>
                      </a:moveTo>
                      <a:cubicBezTo>
                        <a:pt x="3239" y="85915"/>
                        <a:pt x="0" y="82677"/>
                        <a:pt x="0" y="78772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8772"/>
                      </a:lnTo>
                      <a:cubicBezTo>
                        <a:pt x="14288" y="82772"/>
                        <a:pt x="11049" y="85915"/>
                        <a:pt x="7144" y="8591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21" name="Grafik 2">
                  <a:extLst>
                    <a:ext uri="{FF2B5EF4-FFF2-40B4-BE49-F238E27FC236}">
                      <a16:creationId xmlns:a16="http://schemas.microsoft.com/office/drawing/2014/main" id="{3CA63241-53B4-5D36-1ECD-6EE0E030B6D6}"/>
                    </a:ext>
                  </a:extLst>
                </p:cNvPr>
                <p:cNvSpPr/>
                <p:nvPr/>
              </p:nvSpPr>
              <p:spPr>
                <a:xfrm>
                  <a:off x="6028594" y="3456749"/>
                  <a:ext cx="39559" cy="45306"/>
                </a:xfrm>
                <a:custGeom>
                  <a:avLst/>
                  <a:gdLst>
                    <a:gd name="connsiteX0" fmla="*/ 32448 w 39559"/>
                    <a:gd name="connsiteY0" fmla="*/ 45307 h 45306"/>
                    <a:gd name="connsiteX1" fmla="*/ 26924 w 39559"/>
                    <a:gd name="connsiteY1" fmla="*/ 42640 h 45306"/>
                    <a:gd name="connsiteX2" fmla="*/ 1587 w 39559"/>
                    <a:gd name="connsiteY2" fmla="*/ 11588 h 45306"/>
                    <a:gd name="connsiteX3" fmla="*/ 2635 w 39559"/>
                    <a:gd name="connsiteY3" fmla="*/ 1587 h 45306"/>
                    <a:gd name="connsiteX4" fmla="*/ 12636 w 39559"/>
                    <a:gd name="connsiteY4" fmla="*/ 2635 h 45306"/>
                    <a:gd name="connsiteX5" fmla="*/ 37973 w 39559"/>
                    <a:gd name="connsiteY5" fmla="*/ 33686 h 45306"/>
                    <a:gd name="connsiteX6" fmla="*/ 36925 w 39559"/>
                    <a:gd name="connsiteY6" fmla="*/ 43688 h 45306"/>
                    <a:gd name="connsiteX7" fmla="*/ 32448 w 39559"/>
                    <a:gd name="connsiteY7" fmla="*/ 45307 h 453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559" h="45306">
                      <a:moveTo>
                        <a:pt x="32448" y="45307"/>
                      </a:moveTo>
                      <a:cubicBezTo>
                        <a:pt x="30353" y="45307"/>
                        <a:pt x="28352" y="44450"/>
                        <a:pt x="26924" y="42640"/>
                      </a:cubicBezTo>
                      <a:lnTo>
                        <a:pt x="1587" y="11588"/>
                      </a:lnTo>
                      <a:cubicBezTo>
                        <a:pt x="-889" y="8540"/>
                        <a:pt x="-413" y="4064"/>
                        <a:pt x="2635" y="1587"/>
                      </a:cubicBezTo>
                      <a:cubicBezTo>
                        <a:pt x="5683" y="-889"/>
                        <a:pt x="10160" y="-413"/>
                        <a:pt x="12636" y="2635"/>
                      </a:cubicBezTo>
                      <a:lnTo>
                        <a:pt x="37973" y="33686"/>
                      </a:lnTo>
                      <a:cubicBezTo>
                        <a:pt x="40449" y="36734"/>
                        <a:pt x="39973" y="41211"/>
                        <a:pt x="36925" y="43688"/>
                      </a:cubicBezTo>
                      <a:cubicBezTo>
                        <a:pt x="35687" y="44735"/>
                        <a:pt x="34067" y="45307"/>
                        <a:pt x="32448" y="4530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22" name="Grafik 2">
                  <a:extLst>
                    <a:ext uri="{FF2B5EF4-FFF2-40B4-BE49-F238E27FC236}">
                      <a16:creationId xmlns:a16="http://schemas.microsoft.com/office/drawing/2014/main" id="{05F9FA8B-F9E6-AB2F-CBBD-E1910D0CDB3A}"/>
                    </a:ext>
                  </a:extLst>
                </p:cNvPr>
                <p:cNvSpPr/>
                <p:nvPr/>
              </p:nvSpPr>
              <p:spPr>
                <a:xfrm>
                  <a:off x="6055264" y="3456749"/>
                  <a:ext cx="39559" cy="45306"/>
                </a:xfrm>
                <a:custGeom>
                  <a:avLst/>
                  <a:gdLst>
                    <a:gd name="connsiteX0" fmla="*/ 7112 w 39559"/>
                    <a:gd name="connsiteY0" fmla="*/ 45307 h 45306"/>
                    <a:gd name="connsiteX1" fmla="*/ 2635 w 39559"/>
                    <a:gd name="connsiteY1" fmla="*/ 43688 h 45306"/>
                    <a:gd name="connsiteX2" fmla="*/ 1587 w 39559"/>
                    <a:gd name="connsiteY2" fmla="*/ 33686 h 45306"/>
                    <a:gd name="connsiteX3" fmla="*/ 26924 w 39559"/>
                    <a:gd name="connsiteY3" fmla="*/ 2635 h 45306"/>
                    <a:gd name="connsiteX4" fmla="*/ 36925 w 39559"/>
                    <a:gd name="connsiteY4" fmla="*/ 1587 h 45306"/>
                    <a:gd name="connsiteX5" fmla="*/ 37973 w 39559"/>
                    <a:gd name="connsiteY5" fmla="*/ 11588 h 45306"/>
                    <a:gd name="connsiteX6" fmla="*/ 12636 w 39559"/>
                    <a:gd name="connsiteY6" fmla="*/ 42640 h 45306"/>
                    <a:gd name="connsiteX7" fmla="*/ 7112 w 39559"/>
                    <a:gd name="connsiteY7" fmla="*/ 45307 h 453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559" h="45306">
                      <a:moveTo>
                        <a:pt x="7112" y="45307"/>
                      </a:moveTo>
                      <a:cubicBezTo>
                        <a:pt x="5492" y="45307"/>
                        <a:pt x="3968" y="44735"/>
                        <a:pt x="2635" y="43688"/>
                      </a:cubicBezTo>
                      <a:cubicBezTo>
                        <a:pt x="-413" y="41211"/>
                        <a:pt x="-889" y="36734"/>
                        <a:pt x="1587" y="33686"/>
                      </a:cubicBezTo>
                      <a:lnTo>
                        <a:pt x="26924" y="2635"/>
                      </a:lnTo>
                      <a:cubicBezTo>
                        <a:pt x="29400" y="-413"/>
                        <a:pt x="33972" y="-889"/>
                        <a:pt x="36925" y="1587"/>
                      </a:cubicBezTo>
                      <a:cubicBezTo>
                        <a:pt x="39973" y="4064"/>
                        <a:pt x="40449" y="8540"/>
                        <a:pt x="37973" y="11588"/>
                      </a:cubicBezTo>
                      <a:lnTo>
                        <a:pt x="12636" y="42640"/>
                      </a:lnTo>
                      <a:cubicBezTo>
                        <a:pt x="11303" y="44354"/>
                        <a:pt x="9207" y="45307"/>
                        <a:pt x="7112" y="4530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737" name="Grafik 5">
            <a:extLst>
              <a:ext uri="{FF2B5EF4-FFF2-40B4-BE49-F238E27FC236}">
                <a16:creationId xmlns:a16="http://schemas.microsoft.com/office/drawing/2014/main" id="{C27704E2-8B3D-BB92-C467-5ACAE0EE9100}"/>
              </a:ext>
            </a:extLst>
          </p:cNvPr>
          <p:cNvGrpSpPr>
            <a:grpSpLocks noChangeAspect="1"/>
          </p:cNvGrpSpPr>
          <p:nvPr/>
        </p:nvGrpSpPr>
        <p:grpSpPr>
          <a:xfrm>
            <a:off x="6611784" y="5937499"/>
            <a:ext cx="370619" cy="374399"/>
            <a:chOff x="5910262" y="3176587"/>
            <a:chExt cx="370619" cy="500253"/>
          </a:xfrm>
          <a:solidFill>
            <a:schemeClr val="tx1"/>
          </a:solidFill>
        </p:grpSpPr>
        <p:sp>
          <p:nvSpPr>
            <p:cNvPr id="738" name="Grafik 5">
              <a:extLst>
                <a:ext uri="{FF2B5EF4-FFF2-40B4-BE49-F238E27FC236}">
                  <a16:creationId xmlns:a16="http://schemas.microsoft.com/office/drawing/2014/main" id="{7927AA63-892F-0B87-2AED-E9521365447E}"/>
                </a:ext>
              </a:extLst>
            </p:cNvPr>
            <p:cNvSpPr/>
            <p:nvPr/>
          </p:nvSpPr>
          <p:spPr>
            <a:xfrm>
              <a:off x="5910262" y="3370992"/>
              <a:ext cx="305847" cy="305847"/>
            </a:xfrm>
            <a:custGeom>
              <a:avLst/>
              <a:gdLst>
                <a:gd name="connsiteX0" fmla="*/ 298704 w 305847"/>
                <a:gd name="connsiteY0" fmla="*/ 305848 h 305847"/>
                <a:gd name="connsiteX1" fmla="*/ 7144 w 305847"/>
                <a:gd name="connsiteY1" fmla="*/ 305848 h 305847"/>
                <a:gd name="connsiteX2" fmla="*/ 0 w 305847"/>
                <a:gd name="connsiteY2" fmla="*/ 298704 h 305847"/>
                <a:gd name="connsiteX3" fmla="*/ 0 w 305847"/>
                <a:gd name="connsiteY3" fmla="*/ 7144 h 305847"/>
                <a:gd name="connsiteX4" fmla="*/ 7144 w 305847"/>
                <a:gd name="connsiteY4" fmla="*/ 0 h 305847"/>
                <a:gd name="connsiteX5" fmla="*/ 298704 w 305847"/>
                <a:gd name="connsiteY5" fmla="*/ 0 h 305847"/>
                <a:gd name="connsiteX6" fmla="*/ 305848 w 305847"/>
                <a:gd name="connsiteY6" fmla="*/ 7144 h 305847"/>
                <a:gd name="connsiteX7" fmla="*/ 305848 w 305847"/>
                <a:gd name="connsiteY7" fmla="*/ 298704 h 305847"/>
                <a:gd name="connsiteX8" fmla="*/ 298704 w 305847"/>
                <a:gd name="connsiteY8" fmla="*/ 305848 h 305847"/>
                <a:gd name="connsiteX9" fmla="*/ 14288 w 305847"/>
                <a:gd name="connsiteY9" fmla="*/ 291560 h 305847"/>
                <a:gd name="connsiteX10" fmla="*/ 291560 w 305847"/>
                <a:gd name="connsiteY10" fmla="*/ 291560 h 305847"/>
                <a:gd name="connsiteX11" fmla="*/ 291560 w 305847"/>
                <a:gd name="connsiteY11" fmla="*/ 14288 h 305847"/>
                <a:gd name="connsiteX12" fmla="*/ 14288 w 305847"/>
                <a:gd name="connsiteY12" fmla="*/ 14288 h 305847"/>
                <a:gd name="connsiteX13" fmla="*/ 14288 w 305847"/>
                <a:gd name="connsiteY13" fmla="*/ 291560 h 305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5847" h="305847">
                  <a:moveTo>
                    <a:pt x="298704" y="305848"/>
                  </a:moveTo>
                  <a:lnTo>
                    <a:pt x="7144" y="305848"/>
                  </a:lnTo>
                  <a:cubicBezTo>
                    <a:pt x="3239" y="305848"/>
                    <a:pt x="0" y="302705"/>
                    <a:pt x="0" y="298704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298704" y="0"/>
                  </a:lnTo>
                  <a:cubicBezTo>
                    <a:pt x="302609" y="0"/>
                    <a:pt x="305848" y="3239"/>
                    <a:pt x="305848" y="7144"/>
                  </a:cubicBezTo>
                  <a:lnTo>
                    <a:pt x="305848" y="298704"/>
                  </a:lnTo>
                  <a:cubicBezTo>
                    <a:pt x="305848" y="302705"/>
                    <a:pt x="302705" y="305848"/>
                    <a:pt x="298704" y="305848"/>
                  </a:cubicBezTo>
                  <a:close/>
                  <a:moveTo>
                    <a:pt x="14288" y="291560"/>
                  </a:moveTo>
                  <a:lnTo>
                    <a:pt x="291560" y="291560"/>
                  </a:lnTo>
                  <a:lnTo>
                    <a:pt x="291560" y="14288"/>
                  </a:lnTo>
                  <a:lnTo>
                    <a:pt x="14288" y="14288"/>
                  </a:lnTo>
                  <a:lnTo>
                    <a:pt x="14288" y="2915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39" name="Grafik 5">
              <a:extLst>
                <a:ext uri="{FF2B5EF4-FFF2-40B4-BE49-F238E27FC236}">
                  <a16:creationId xmlns:a16="http://schemas.microsoft.com/office/drawing/2014/main" id="{1A83FEFA-4339-A72D-6D53-BD7E5A34F9F1}"/>
                </a:ext>
              </a:extLst>
            </p:cNvPr>
            <p:cNvSpPr/>
            <p:nvPr/>
          </p:nvSpPr>
          <p:spPr>
            <a:xfrm>
              <a:off x="5958839" y="3419569"/>
              <a:ext cx="208692" cy="208692"/>
            </a:xfrm>
            <a:custGeom>
              <a:avLst/>
              <a:gdLst>
                <a:gd name="connsiteX0" fmla="*/ 201549 w 208692"/>
                <a:gd name="connsiteY0" fmla="*/ 208693 h 208692"/>
                <a:gd name="connsiteX1" fmla="*/ 7144 w 208692"/>
                <a:gd name="connsiteY1" fmla="*/ 208693 h 208692"/>
                <a:gd name="connsiteX2" fmla="*/ 0 w 208692"/>
                <a:gd name="connsiteY2" fmla="*/ 201549 h 208692"/>
                <a:gd name="connsiteX3" fmla="*/ 0 w 208692"/>
                <a:gd name="connsiteY3" fmla="*/ 7144 h 208692"/>
                <a:gd name="connsiteX4" fmla="*/ 7144 w 208692"/>
                <a:gd name="connsiteY4" fmla="*/ 0 h 208692"/>
                <a:gd name="connsiteX5" fmla="*/ 201549 w 208692"/>
                <a:gd name="connsiteY5" fmla="*/ 0 h 208692"/>
                <a:gd name="connsiteX6" fmla="*/ 208693 w 208692"/>
                <a:gd name="connsiteY6" fmla="*/ 7144 h 208692"/>
                <a:gd name="connsiteX7" fmla="*/ 208693 w 208692"/>
                <a:gd name="connsiteY7" fmla="*/ 201549 h 208692"/>
                <a:gd name="connsiteX8" fmla="*/ 201549 w 208692"/>
                <a:gd name="connsiteY8" fmla="*/ 208693 h 208692"/>
                <a:gd name="connsiteX9" fmla="*/ 14288 w 208692"/>
                <a:gd name="connsiteY9" fmla="*/ 194405 h 208692"/>
                <a:gd name="connsiteX10" fmla="*/ 194405 w 208692"/>
                <a:gd name="connsiteY10" fmla="*/ 194405 h 208692"/>
                <a:gd name="connsiteX11" fmla="*/ 194405 w 208692"/>
                <a:gd name="connsiteY11" fmla="*/ 14288 h 208692"/>
                <a:gd name="connsiteX12" fmla="*/ 14288 w 208692"/>
                <a:gd name="connsiteY12" fmla="*/ 14288 h 208692"/>
                <a:gd name="connsiteX13" fmla="*/ 14288 w 208692"/>
                <a:gd name="connsiteY13" fmla="*/ 194405 h 208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8692" h="208692">
                  <a:moveTo>
                    <a:pt x="201549" y="208693"/>
                  </a:moveTo>
                  <a:lnTo>
                    <a:pt x="7144" y="208693"/>
                  </a:lnTo>
                  <a:cubicBezTo>
                    <a:pt x="3239" y="208693"/>
                    <a:pt x="0" y="205454"/>
                    <a:pt x="0" y="20154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201549" y="0"/>
                  </a:lnTo>
                  <a:cubicBezTo>
                    <a:pt x="205454" y="0"/>
                    <a:pt x="208693" y="3239"/>
                    <a:pt x="208693" y="7144"/>
                  </a:cubicBezTo>
                  <a:lnTo>
                    <a:pt x="208693" y="201549"/>
                  </a:lnTo>
                  <a:cubicBezTo>
                    <a:pt x="208693" y="205454"/>
                    <a:pt x="205550" y="208693"/>
                    <a:pt x="201549" y="208693"/>
                  </a:cubicBezTo>
                  <a:close/>
                  <a:moveTo>
                    <a:pt x="14288" y="194405"/>
                  </a:moveTo>
                  <a:lnTo>
                    <a:pt x="194405" y="194405"/>
                  </a:lnTo>
                  <a:lnTo>
                    <a:pt x="194405" y="14288"/>
                  </a:lnTo>
                  <a:lnTo>
                    <a:pt x="14288" y="14288"/>
                  </a:lnTo>
                  <a:lnTo>
                    <a:pt x="14288" y="1944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40" name="Grafik 5">
              <a:extLst>
                <a:ext uri="{FF2B5EF4-FFF2-40B4-BE49-F238E27FC236}">
                  <a16:creationId xmlns:a16="http://schemas.microsoft.com/office/drawing/2014/main" id="{C1CEF334-9D28-BE9F-73C0-774FA218B073}"/>
                </a:ext>
              </a:extLst>
            </p:cNvPr>
            <p:cNvSpPr/>
            <p:nvPr/>
          </p:nvSpPr>
          <p:spPr>
            <a:xfrm>
              <a:off x="5991224" y="3451954"/>
              <a:ext cx="143922" cy="143922"/>
            </a:xfrm>
            <a:custGeom>
              <a:avLst/>
              <a:gdLst>
                <a:gd name="connsiteX0" fmla="*/ 136779 w 143922"/>
                <a:gd name="connsiteY0" fmla="*/ 143923 h 143922"/>
                <a:gd name="connsiteX1" fmla="*/ 7144 w 143922"/>
                <a:gd name="connsiteY1" fmla="*/ 143923 h 143922"/>
                <a:gd name="connsiteX2" fmla="*/ 0 w 143922"/>
                <a:gd name="connsiteY2" fmla="*/ 136779 h 143922"/>
                <a:gd name="connsiteX3" fmla="*/ 0 w 143922"/>
                <a:gd name="connsiteY3" fmla="*/ 7144 h 143922"/>
                <a:gd name="connsiteX4" fmla="*/ 7144 w 143922"/>
                <a:gd name="connsiteY4" fmla="*/ 0 h 143922"/>
                <a:gd name="connsiteX5" fmla="*/ 136779 w 143922"/>
                <a:gd name="connsiteY5" fmla="*/ 0 h 143922"/>
                <a:gd name="connsiteX6" fmla="*/ 143923 w 143922"/>
                <a:gd name="connsiteY6" fmla="*/ 7144 h 143922"/>
                <a:gd name="connsiteX7" fmla="*/ 143923 w 143922"/>
                <a:gd name="connsiteY7" fmla="*/ 136779 h 143922"/>
                <a:gd name="connsiteX8" fmla="*/ 136779 w 143922"/>
                <a:gd name="connsiteY8" fmla="*/ 143923 h 143922"/>
                <a:gd name="connsiteX9" fmla="*/ 14288 w 143922"/>
                <a:gd name="connsiteY9" fmla="*/ 129635 h 143922"/>
                <a:gd name="connsiteX10" fmla="*/ 129635 w 143922"/>
                <a:gd name="connsiteY10" fmla="*/ 129635 h 143922"/>
                <a:gd name="connsiteX11" fmla="*/ 129635 w 143922"/>
                <a:gd name="connsiteY11" fmla="*/ 14288 h 143922"/>
                <a:gd name="connsiteX12" fmla="*/ 14288 w 143922"/>
                <a:gd name="connsiteY12" fmla="*/ 14288 h 143922"/>
                <a:gd name="connsiteX13" fmla="*/ 14288 w 143922"/>
                <a:gd name="connsiteY13" fmla="*/ 129635 h 143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3922" h="143922">
                  <a:moveTo>
                    <a:pt x="136779" y="143923"/>
                  </a:moveTo>
                  <a:lnTo>
                    <a:pt x="7144" y="143923"/>
                  </a:lnTo>
                  <a:cubicBezTo>
                    <a:pt x="3239" y="143923"/>
                    <a:pt x="0" y="140684"/>
                    <a:pt x="0" y="13677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136779" y="0"/>
                  </a:lnTo>
                  <a:cubicBezTo>
                    <a:pt x="140684" y="0"/>
                    <a:pt x="143923" y="3239"/>
                    <a:pt x="143923" y="7144"/>
                  </a:cubicBezTo>
                  <a:lnTo>
                    <a:pt x="143923" y="136779"/>
                  </a:lnTo>
                  <a:cubicBezTo>
                    <a:pt x="143923" y="140684"/>
                    <a:pt x="140684" y="143923"/>
                    <a:pt x="136779" y="143923"/>
                  </a:cubicBezTo>
                  <a:close/>
                  <a:moveTo>
                    <a:pt x="14288" y="129635"/>
                  </a:moveTo>
                  <a:lnTo>
                    <a:pt x="129635" y="129635"/>
                  </a:lnTo>
                  <a:lnTo>
                    <a:pt x="129635" y="14288"/>
                  </a:lnTo>
                  <a:lnTo>
                    <a:pt x="14288" y="14288"/>
                  </a:lnTo>
                  <a:lnTo>
                    <a:pt x="14288" y="1296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41" name="Grafik 5">
              <a:extLst>
                <a:ext uri="{FF2B5EF4-FFF2-40B4-BE49-F238E27FC236}">
                  <a16:creationId xmlns:a16="http://schemas.microsoft.com/office/drawing/2014/main" id="{FAA39D12-C664-4603-54B2-A8A0163C5FCF}"/>
                </a:ext>
              </a:extLst>
            </p:cNvPr>
            <p:cNvSpPr/>
            <p:nvPr/>
          </p:nvSpPr>
          <p:spPr>
            <a:xfrm>
              <a:off x="5975032" y="3176587"/>
              <a:ext cx="305849" cy="435483"/>
            </a:xfrm>
            <a:custGeom>
              <a:avLst/>
              <a:gdLst>
                <a:gd name="connsiteX0" fmla="*/ 298799 w 305849"/>
                <a:gd name="connsiteY0" fmla="*/ 435483 h 435483"/>
                <a:gd name="connsiteX1" fmla="*/ 291655 w 305849"/>
                <a:gd name="connsiteY1" fmla="*/ 428339 h 435483"/>
                <a:gd name="connsiteX2" fmla="*/ 291655 w 305849"/>
                <a:gd name="connsiteY2" fmla="*/ 14288 h 435483"/>
                <a:gd name="connsiteX3" fmla="*/ 7144 w 305849"/>
                <a:gd name="connsiteY3" fmla="*/ 14288 h 435483"/>
                <a:gd name="connsiteX4" fmla="*/ 0 w 305849"/>
                <a:gd name="connsiteY4" fmla="*/ 7144 h 435483"/>
                <a:gd name="connsiteX5" fmla="*/ 7144 w 305849"/>
                <a:gd name="connsiteY5" fmla="*/ 0 h 435483"/>
                <a:gd name="connsiteX6" fmla="*/ 298704 w 305849"/>
                <a:gd name="connsiteY6" fmla="*/ 0 h 435483"/>
                <a:gd name="connsiteX7" fmla="*/ 305848 w 305849"/>
                <a:gd name="connsiteY7" fmla="*/ 7144 h 435483"/>
                <a:gd name="connsiteX8" fmla="*/ 305848 w 305849"/>
                <a:gd name="connsiteY8" fmla="*/ 428339 h 435483"/>
                <a:gd name="connsiteX9" fmla="*/ 298799 w 305849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5849" h="435483">
                  <a:moveTo>
                    <a:pt x="298799" y="435483"/>
                  </a:moveTo>
                  <a:cubicBezTo>
                    <a:pt x="294894" y="435483"/>
                    <a:pt x="291655" y="432245"/>
                    <a:pt x="291655" y="428339"/>
                  </a:cubicBezTo>
                  <a:lnTo>
                    <a:pt x="291655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298704" y="0"/>
                  </a:lnTo>
                  <a:cubicBezTo>
                    <a:pt x="302609" y="0"/>
                    <a:pt x="305848" y="3239"/>
                    <a:pt x="305848" y="7144"/>
                  </a:cubicBezTo>
                  <a:lnTo>
                    <a:pt x="305848" y="428339"/>
                  </a:lnTo>
                  <a:cubicBezTo>
                    <a:pt x="305943" y="432245"/>
                    <a:pt x="302705" y="435483"/>
                    <a:pt x="29879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42" name="Grafik 5">
              <a:extLst>
                <a:ext uri="{FF2B5EF4-FFF2-40B4-BE49-F238E27FC236}">
                  <a16:creationId xmlns:a16="http://schemas.microsoft.com/office/drawing/2014/main" id="{A6469684-F8BB-C6B3-1997-5A25D9FE99EA}"/>
                </a:ext>
              </a:extLst>
            </p:cNvPr>
            <p:cNvSpPr/>
            <p:nvPr/>
          </p:nvSpPr>
          <p:spPr>
            <a:xfrm>
              <a:off x="620184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9025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43" name="Grafik 5">
              <a:extLst>
                <a:ext uri="{FF2B5EF4-FFF2-40B4-BE49-F238E27FC236}">
                  <a16:creationId xmlns:a16="http://schemas.microsoft.com/office/drawing/2014/main" id="{4CB6BB14-12F6-5D68-9D97-C129DDD6B291}"/>
                </a:ext>
              </a:extLst>
            </p:cNvPr>
            <p:cNvSpPr/>
            <p:nvPr/>
          </p:nvSpPr>
          <p:spPr>
            <a:xfrm>
              <a:off x="6201846" y="330624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9025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44" name="Grafik 5">
              <a:extLst>
                <a:ext uri="{FF2B5EF4-FFF2-40B4-BE49-F238E27FC236}">
                  <a16:creationId xmlns:a16="http://schemas.microsoft.com/office/drawing/2014/main" id="{90BB99F6-C160-9975-1F8B-FF0F1545F658}"/>
                </a:ext>
              </a:extLst>
            </p:cNvPr>
            <p:cNvSpPr/>
            <p:nvPr/>
          </p:nvSpPr>
          <p:spPr>
            <a:xfrm>
              <a:off x="5910285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45" name="Grafik 5">
              <a:extLst>
                <a:ext uri="{FF2B5EF4-FFF2-40B4-BE49-F238E27FC236}">
                  <a16:creationId xmlns:a16="http://schemas.microsoft.com/office/drawing/2014/main" id="{FB92C667-59AC-6BD1-9A57-1C4683560284}"/>
                </a:ext>
              </a:extLst>
            </p:cNvPr>
            <p:cNvSpPr/>
            <p:nvPr/>
          </p:nvSpPr>
          <p:spPr>
            <a:xfrm>
              <a:off x="620184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9025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746" name="Grafik 5">
              <a:extLst>
                <a:ext uri="{FF2B5EF4-FFF2-40B4-BE49-F238E27FC236}">
                  <a16:creationId xmlns:a16="http://schemas.microsoft.com/office/drawing/2014/main" id="{C4AA5A0B-D8A4-5DA8-00C4-18AA1472A6B0}"/>
                </a:ext>
              </a:extLst>
            </p:cNvPr>
            <p:cNvGrpSpPr/>
            <p:nvPr/>
          </p:nvGrpSpPr>
          <p:grpSpPr>
            <a:xfrm>
              <a:off x="5991248" y="3451978"/>
              <a:ext cx="143875" cy="143898"/>
              <a:chOff x="5991248" y="3451978"/>
              <a:chExt cx="143875" cy="143898"/>
            </a:xfrm>
            <a:grpFill/>
          </p:grpSpPr>
          <p:sp>
            <p:nvSpPr>
              <p:cNvPr id="753" name="Grafik 5">
                <a:extLst>
                  <a:ext uri="{FF2B5EF4-FFF2-40B4-BE49-F238E27FC236}">
                    <a16:creationId xmlns:a16="http://schemas.microsoft.com/office/drawing/2014/main" id="{1964FA42-0DB5-0589-3AAD-26CDA63593F2}"/>
                  </a:ext>
                </a:extLst>
              </p:cNvPr>
              <p:cNvSpPr/>
              <p:nvPr/>
            </p:nvSpPr>
            <p:spPr>
              <a:xfrm>
                <a:off x="5991248" y="3451978"/>
                <a:ext cx="143875" cy="143898"/>
              </a:xfrm>
              <a:custGeom>
                <a:avLst/>
                <a:gdLst>
                  <a:gd name="connsiteX0" fmla="*/ 136755 w 143875"/>
                  <a:gd name="connsiteY0" fmla="*/ 143899 h 143898"/>
                  <a:gd name="connsiteX1" fmla="*/ 131707 w 143875"/>
                  <a:gd name="connsiteY1" fmla="*/ 141803 h 143898"/>
                  <a:gd name="connsiteX2" fmla="*/ 2072 w 143875"/>
                  <a:gd name="connsiteY2" fmla="*/ 12168 h 143898"/>
                  <a:gd name="connsiteX3" fmla="*/ 2072 w 143875"/>
                  <a:gd name="connsiteY3" fmla="*/ 2072 h 143898"/>
                  <a:gd name="connsiteX4" fmla="*/ 12168 w 143875"/>
                  <a:gd name="connsiteY4" fmla="*/ 2072 h 143898"/>
                  <a:gd name="connsiteX5" fmla="*/ 141803 w 143875"/>
                  <a:gd name="connsiteY5" fmla="*/ 131707 h 143898"/>
                  <a:gd name="connsiteX6" fmla="*/ 141803 w 143875"/>
                  <a:gd name="connsiteY6" fmla="*/ 141803 h 143898"/>
                  <a:gd name="connsiteX7" fmla="*/ 136755 w 143875"/>
                  <a:gd name="connsiteY7" fmla="*/ 143899 h 143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3875" h="143898">
                    <a:moveTo>
                      <a:pt x="136755" y="143899"/>
                    </a:moveTo>
                    <a:cubicBezTo>
                      <a:pt x="134945" y="143899"/>
                      <a:pt x="133136" y="143232"/>
                      <a:pt x="131707" y="14180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41803" y="131707"/>
                    </a:lnTo>
                    <a:cubicBezTo>
                      <a:pt x="144566" y="134469"/>
                      <a:pt x="144566" y="139041"/>
                      <a:pt x="141803" y="141803"/>
                    </a:cubicBezTo>
                    <a:cubicBezTo>
                      <a:pt x="140375" y="143232"/>
                      <a:pt x="138565" y="143899"/>
                      <a:pt x="136755" y="14389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54" name="Grafik 5">
                <a:extLst>
                  <a:ext uri="{FF2B5EF4-FFF2-40B4-BE49-F238E27FC236}">
                    <a16:creationId xmlns:a16="http://schemas.microsoft.com/office/drawing/2014/main" id="{B90C4F94-6EA3-EE18-AF99-D3BB16F5C3EE}"/>
                  </a:ext>
                </a:extLst>
              </p:cNvPr>
              <p:cNvSpPr/>
              <p:nvPr/>
            </p:nvSpPr>
            <p:spPr>
              <a:xfrm>
                <a:off x="5991248" y="3516843"/>
                <a:ext cx="79009" cy="79033"/>
              </a:xfrm>
              <a:custGeom>
                <a:avLst/>
                <a:gdLst>
                  <a:gd name="connsiteX0" fmla="*/ 71985 w 79009"/>
                  <a:gd name="connsiteY0" fmla="*/ 79034 h 79033"/>
                  <a:gd name="connsiteX1" fmla="*/ 66937 w 79009"/>
                  <a:gd name="connsiteY1" fmla="*/ 76938 h 79033"/>
                  <a:gd name="connsiteX2" fmla="*/ 2072 w 79009"/>
                  <a:gd name="connsiteY2" fmla="*/ 12168 h 79033"/>
                  <a:gd name="connsiteX3" fmla="*/ 2072 w 79009"/>
                  <a:gd name="connsiteY3" fmla="*/ 2072 h 79033"/>
                  <a:gd name="connsiteX4" fmla="*/ 12168 w 79009"/>
                  <a:gd name="connsiteY4" fmla="*/ 2072 h 79033"/>
                  <a:gd name="connsiteX5" fmla="*/ 76938 w 79009"/>
                  <a:gd name="connsiteY5" fmla="*/ 66842 h 79033"/>
                  <a:gd name="connsiteX6" fmla="*/ 76938 w 79009"/>
                  <a:gd name="connsiteY6" fmla="*/ 76938 h 79033"/>
                  <a:gd name="connsiteX7" fmla="*/ 71985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985" y="79034"/>
                    </a:moveTo>
                    <a:cubicBezTo>
                      <a:pt x="70175" y="79034"/>
                      <a:pt x="68366" y="78367"/>
                      <a:pt x="66937" y="76938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76938" y="66842"/>
                    </a:lnTo>
                    <a:cubicBezTo>
                      <a:pt x="79700" y="69604"/>
                      <a:pt x="79700" y="74176"/>
                      <a:pt x="76938" y="76938"/>
                    </a:cubicBezTo>
                    <a:cubicBezTo>
                      <a:pt x="75605" y="78367"/>
                      <a:pt x="73795" y="79034"/>
                      <a:pt x="71985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55" name="Grafik 5">
                <a:extLst>
                  <a:ext uri="{FF2B5EF4-FFF2-40B4-BE49-F238E27FC236}">
                    <a16:creationId xmlns:a16="http://schemas.microsoft.com/office/drawing/2014/main" id="{41080CF3-B365-479A-E6ED-0EEA2BD9E0F1}"/>
                  </a:ext>
                </a:extLst>
              </p:cNvPr>
              <p:cNvSpPr/>
              <p:nvPr/>
            </p:nvSpPr>
            <p:spPr>
              <a:xfrm>
                <a:off x="6056113" y="3452073"/>
                <a:ext cx="79009" cy="79033"/>
              </a:xfrm>
              <a:custGeom>
                <a:avLst/>
                <a:gdLst>
                  <a:gd name="connsiteX0" fmla="*/ 71890 w 79009"/>
                  <a:gd name="connsiteY0" fmla="*/ 79034 h 79033"/>
                  <a:gd name="connsiteX1" fmla="*/ 66842 w 79009"/>
                  <a:gd name="connsiteY1" fmla="*/ 76938 h 79033"/>
                  <a:gd name="connsiteX2" fmla="*/ 2072 w 79009"/>
                  <a:gd name="connsiteY2" fmla="*/ 12168 h 79033"/>
                  <a:gd name="connsiteX3" fmla="*/ 2072 w 79009"/>
                  <a:gd name="connsiteY3" fmla="*/ 2072 h 79033"/>
                  <a:gd name="connsiteX4" fmla="*/ 12168 w 79009"/>
                  <a:gd name="connsiteY4" fmla="*/ 2072 h 79033"/>
                  <a:gd name="connsiteX5" fmla="*/ 76938 w 79009"/>
                  <a:gd name="connsiteY5" fmla="*/ 66842 h 79033"/>
                  <a:gd name="connsiteX6" fmla="*/ 76938 w 79009"/>
                  <a:gd name="connsiteY6" fmla="*/ 76938 h 79033"/>
                  <a:gd name="connsiteX7" fmla="*/ 7189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890" y="79034"/>
                    </a:moveTo>
                    <a:cubicBezTo>
                      <a:pt x="70080" y="79034"/>
                      <a:pt x="68270" y="78367"/>
                      <a:pt x="66842" y="76938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76938" y="66842"/>
                    </a:lnTo>
                    <a:cubicBezTo>
                      <a:pt x="79700" y="69604"/>
                      <a:pt x="79700" y="74176"/>
                      <a:pt x="76938" y="76938"/>
                    </a:cubicBezTo>
                    <a:cubicBezTo>
                      <a:pt x="75509" y="78272"/>
                      <a:pt x="73700" y="79034"/>
                      <a:pt x="7189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56" name="Grafik 5">
                <a:extLst>
                  <a:ext uri="{FF2B5EF4-FFF2-40B4-BE49-F238E27FC236}">
                    <a16:creationId xmlns:a16="http://schemas.microsoft.com/office/drawing/2014/main" id="{1F6D84F5-9F0A-1C29-C5F8-56C336207A75}"/>
                  </a:ext>
                </a:extLst>
              </p:cNvPr>
              <p:cNvSpPr/>
              <p:nvPr/>
            </p:nvSpPr>
            <p:spPr>
              <a:xfrm>
                <a:off x="5991248" y="3451978"/>
                <a:ext cx="143875" cy="143898"/>
              </a:xfrm>
              <a:custGeom>
                <a:avLst/>
                <a:gdLst>
                  <a:gd name="connsiteX0" fmla="*/ 7120 w 143875"/>
                  <a:gd name="connsiteY0" fmla="*/ 143899 h 143898"/>
                  <a:gd name="connsiteX1" fmla="*/ 2072 w 143875"/>
                  <a:gd name="connsiteY1" fmla="*/ 141803 h 143898"/>
                  <a:gd name="connsiteX2" fmla="*/ 2072 w 143875"/>
                  <a:gd name="connsiteY2" fmla="*/ 131707 h 143898"/>
                  <a:gd name="connsiteX3" fmla="*/ 131707 w 143875"/>
                  <a:gd name="connsiteY3" fmla="*/ 2072 h 143898"/>
                  <a:gd name="connsiteX4" fmla="*/ 141803 w 143875"/>
                  <a:gd name="connsiteY4" fmla="*/ 2072 h 143898"/>
                  <a:gd name="connsiteX5" fmla="*/ 141803 w 143875"/>
                  <a:gd name="connsiteY5" fmla="*/ 12168 h 143898"/>
                  <a:gd name="connsiteX6" fmla="*/ 12168 w 143875"/>
                  <a:gd name="connsiteY6" fmla="*/ 141803 h 143898"/>
                  <a:gd name="connsiteX7" fmla="*/ 7120 w 143875"/>
                  <a:gd name="connsiteY7" fmla="*/ 143899 h 143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3875" h="143898">
                    <a:moveTo>
                      <a:pt x="7120" y="143899"/>
                    </a:moveTo>
                    <a:cubicBezTo>
                      <a:pt x="5310" y="143899"/>
                      <a:pt x="3500" y="143232"/>
                      <a:pt x="2072" y="141803"/>
                    </a:cubicBezTo>
                    <a:cubicBezTo>
                      <a:pt x="-691" y="139041"/>
                      <a:pt x="-691" y="134469"/>
                      <a:pt x="2072" y="131707"/>
                    </a:cubicBezTo>
                    <a:lnTo>
                      <a:pt x="131707" y="2072"/>
                    </a:lnTo>
                    <a:cubicBezTo>
                      <a:pt x="134469" y="-691"/>
                      <a:pt x="139041" y="-691"/>
                      <a:pt x="141803" y="2072"/>
                    </a:cubicBezTo>
                    <a:cubicBezTo>
                      <a:pt x="144566" y="4834"/>
                      <a:pt x="144566" y="9406"/>
                      <a:pt x="141803" y="12168"/>
                    </a:cubicBezTo>
                    <a:lnTo>
                      <a:pt x="12168" y="141803"/>
                    </a:lnTo>
                    <a:cubicBezTo>
                      <a:pt x="10835" y="143232"/>
                      <a:pt x="9025" y="143899"/>
                      <a:pt x="7120" y="14389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57" name="Grafik 5">
                <a:extLst>
                  <a:ext uri="{FF2B5EF4-FFF2-40B4-BE49-F238E27FC236}">
                    <a16:creationId xmlns:a16="http://schemas.microsoft.com/office/drawing/2014/main" id="{6D917CAD-9CCF-A486-6653-DD47A38B73CF}"/>
                  </a:ext>
                </a:extLst>
              </p:cNvPr>
              <p:cNvSpPr/>
              <p:nvPr/>
            </p:nvSpPr>
            <p:spPr>
              <a:xfrm>
                <a:off x="6056113" y="3516843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58" name="Grafik 5">
                <a:extLst>
                  <a:ext uri="{FF2B5EF4-FFF2-40B4-BE49-F238E27FC236}">
                    <a16:creationId xmlns:a16="http://schemas.microsoft.com/office/drawing/2014/main" id="{FBB2B35F-7E92-61DD-FB96-199BECA3EAC0}"/>
                  </a:ext>
                </a:extLst>
              </p:cNvPr>
              <p:cNvSpPr/>
              <p:nvPr/>
            </p:nvSpPr>
            <p:spPr>
              <a:xfrm>
                <a:off x="5991248" y="3452073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835" y="78272"/>
                      <a:pt x="9025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747" name="Grafik 5">
              <a:extLst>
                <a:ext uri="{FF2B5EF4-FFF2-40B4-BE49-F238E27FC236}">
                  <a16:creationId xmlns:a16="http://schemas.microsoft.com/office/drawing/2014/main" id="{DE2392E0-A275-A904-F058-EDAF57959AAA}"/>
                </a:ext>
              </a:extLst>
            </p:cNvPr>
            <p:cNvSpPr/>
            <p:nvPr/>
          </p:nvSpPr>
          <p:spPr>
            <a:xfrm>
              <a:off x="5910262" y="3241357"/>
              <a:ext cx="305847" cy="143922"/>
            </a:xfrm>
            <a:custGeom>
              <a:avLst/>
              <a:gdLst>
                <a:gd name="connsiteX0" fmla="*/ 298704 w 305847"/>
                <a:gd name="connsiteY0" fmla="*/ 143923 h 143922"/>
                <a:gd name="connsiteX1" fmla="*/ 7144 w 305847"/>
                <a:gd name="connsiteY1" fmla="*/ 143923 h 143922"/>
                <a:gd name="connsiteX2" fmla="*/ 0 w 305847"/>
                <a:gd name="connsiteY2" fmla="*/ 136779 h 143922"/>
                <a:gd name="connsiteX3" fmla="*/ 0 w 305847"/>
                <a:gd name="connsiteY3" fmla="*/ 7144 h 143922"/>
                <a:gd name="connsiteX4" fmla="*/ 7144 w 305847"/>
                <a:gd name="connsiteY4" fmla="*/ 0 h 143922"/>
                <a:gd name="connsiteX5" fmla="*/ 298704 w 305847"/>
                <a:gd name="connsiteY5" fmla="*/ 0 h 143922"/>
                <a:gd name="connsiteX6" fmla="*/ 305848 w 305847"/>
                <a:gd name="connsiteY6" fmla="*/ 7144 h 143922"/>
                <a:gd name="connsiteX7" fmla="*/ 305848 w 305847"/>
                <a:gd name="connsiteY7" fmla="*/ 136779 h 143922"/>
                <a:gd name="connsiteX8" fmla="*/ 298704 w 305847"/>
                <a:gd name="connsiteY8" fmla="*/ 143923 h 143922"/>
                <a:gd name="connsiteX9" fmla="*/ 14288 w 305847"/>
                <a:gd name="connsiteY9" fmla="*/ 129635 h 143922"/>
                <a:gd name="connsiteX10" fmla="*/ 291560 w 305847"/>
                <a:gd name="connsiteY10" fmla="*/ 129635 h 143922"/>
                <a:gd name="connsiteX11" fmla="*/ 291560 w 305847"/>
                <a:gd name="connsiteY11" fmla="*/ 14288 h 143922"/>
                <a:gd name="connsiteX12" fmla="*/ 14288 w 305847"/>
                <a:gd name="connsiteY12" fmla="*/ 14288 h 143922"/>
                <a:gd name="connsiteX13" fmla="*/ 14288 w 305847"/>
                <a:gd name="connsiteY13" fmla="*/ 129635 h 143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5847" h="143922">
                  <a:moveTo>
                    <a:pt x="298704" y="143923"/>
                  </a:moveTo>
                  <a:lnTo>
                    <a:pt x="7144" y="143923"/>
                  </a:lnTo>
                  <a:cubicBezTo>
                    <a:pt x="3239" y="143923"/>
                    <a:pt x="0" y="140684"/>
                    <a:pt x="0" y="13677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98704" y="0"/>
                  </a:lnTo>
                  <a:cubicBezTo>
                    <a:pt x="302609" y="0"/>
                    <a:pt x="305848" y="3238"/>
                    <a:pt x="305848" y="7144"/>
                  </a:cubicBezTo>
                  <a:lnTo>
                    <a:pt x="305848" y="136779"/>
                  </a:lnTo>
                  <a:cubicBezTo>
                    <a:pt x="305848" y="140684"/>
                    <a:pt x="302705" y="143923"/>
                    <a:pt x="298704" y="143923"/>
                  </a:cubicBezTo>
                  <a:close/>
                  <a:moveTo>
                    <a:pt x="14288" y="129635"/>
                  </a:moveTo>
                  <a:lnTo>
                    <a:pt x="291560" y="129635"/>
                  </a:lnTo>
                  <a:lnTo>
                    <a:pt x="291560" y="14288"/>
                  </a:lnTo>
                  <a:lnTo>
                    <a:pt x="14288" y="14288"/>
                  </a:lnTo>
                  <a:lnTo>
                    <a:pt x="14288" y="1296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48" name="Grafik 5">
              <a:extLst>
                <a:ext uri="{FF2B5EF4-FFF2-40B4-BE49-F238E27FC236}">
                  <a16:creationId xmlns:a16="http://schemas.microsoft.com/office/drawing/2014/main" id="{94807E92-6EBA-9CE6-3F05-F0598F8EB322}"/>
                </a:ext>
              </a:extLst>
            </p:cNvPr>
            <p:cNvSpPr/>
            <p:nvPr/>
          </p:nvSpPr>
          <p:spPr>
            <a:xfrm>
              <a:off x="5942647" y="3273741"/>
              <a:ext cx="46672" cy="30479"/>
            </a:xfrm>
            <a:custGeom>
              <a:avLst/>
              <a:gdLst>
                <a:gd name="connsiteX0" fmla="*/ 39529 w 46672"/>
                <a:gd name="connsiteY0" fmla="*/ 30480 h 30479"/>
                <a:gd name="connsiteX1" fmla="*/ 7144 w 46672"/>
                <a:gd name="connsiteY1" fmla="*/ 30480 h 30479"/>
                <a:gd name="connsiteX2" fmla="*/ 0 w 46672"/>
                <a:gd name="connsiteY2" fmla="*/ 23336 h 30479"/>
                <a:gd name="connsiteX3" fmla="*/ 0 w 46672"/>
                <a:gd name="connsiteY3" fmla="*/ 7144 h 30479"/>
                <a:gd name="connsiteX4" fmla="*/ 7144 w 46672"/>
                <a:gd name="connsiteY4" fmla="*/ 0 h 30479"/>
                <a:gd name="connsiteX5" fmla="*/ 39529 w 46672"/>
                <a:gd name="connsiteY5" fmla="*/ 0 h 30479"/>
                <a:gd name="connsiteX6" fmla="*/ 46673 w 46672"/>
                <a:gd name="connsiteY6" fmla="*/ 7144 h 30479"/>
                <a:gd name="connsiteX7" fmla="*/ 46673 w 46672"/>
                <a:gd name="connsiteY7" fmla="*/ 23336 h 30479"/>
                <a:gd name="connsiteX8" fmla="*/ 39529 w 46672"/>
                <a:gd name="connsiteY8" fmla="*/ 30480 h 30479"/>
                <a:gd name="connsiteX9" fmla="*/ 14288 w 46672"/>
                <a:gd name="connsiteY9" fmla="*/ 16192 h 30479"/>
                <a:gd name="connsiteX10" fmla="*/ 32385 w 46672"/>
                <a:gd name="connsiteY10" fmla="*/ 16192 h 30479"/>
                <a:gd name="connsiteX11" fmla="*/ 32385 w 46672"/>
                <a:gd name="connsiteY11" fmla="*/ 14288 h 30479"/>
                <a:gd name="connsiteX12" fmla="*/ 14288 w 46672"/>
                <a:gd name="connsiteY12" fmla="*/ 14288 h 30479"/>
                <a:gd name="connsiteX13" fmla="*/ 14288 w 46672"/>
                <a:gd name="connsiteY13" fmla="*/ 16192 h 30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30479">
                  <a:moveTo>
                    <a:pt x="39529" y="30480"/>
                  </a:moveTo>
                  <a:lnTo>
                    <a:pt x="7144" y="30480"/>
                  </a:lnTo>
                  <a:cubicBezTo>
                    <a:pt x="3238" y="30480"/>
                    <a:pt x="0" y="27242"/>
                    <a:pt x="0" y="23336"/>
                  </a:cubicBezTo>
                  <a:lnTo>
                    <a:pt x="0" y="7144"/>
                  </a:lnTo>
                  <a:cubicBezTo>
                    <a:pt x="0" y="3239"/>
                    <a:pt x="3238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3" y="3239"/>
                    <a:pt x="46673" y="7144"/>
                  </a:cubicBezTo>
                  <a:lnTo>
                    <a:pt x="46673" y="23336"/>
                  </a:lnTo>
                  <a:cubicBezTo>
                    <a:pt x="46673" y="27337"/>
                    <a:pt x="43529" y="30480"/>
                    <a:pt x="39529" y="30480"/>
                  </a:cubicBezTo>
                  <a:close/>
                  <a:moveTo>
                    <a:pt x="14288" y="16192"/>
                  </a:moveTo>
                  <a:lnTo>
                    <a:pt x="32385" y="16192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1619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49" name="Grafik 5">
              <a:extLst>
                <a:ext uri="{FF2B5EF4-FFF2-40B4-BE49-F238E27FC236}">
                  <a16:creationId xmlns:a16="http://schemas.microsoft.com/office/drawing/2014/main" id="{69D7318E-F2AF-FCBB-494D-6ED8DB415177}"/>
                </a:ext>
              </a:extLst>
            </p:cNvPr>
            <p:cNvSpPr/>
            <p:nvPr/>
          </p:nvSpPr>
          <p:spPr>
            <a:xfrm>
              <a:off x="5942647" y="3322414"/>
              <a:ext cx="46672" cy="30479"/>
            </a:xfrm>
            <a:custGeom>
              <a:avLst/>
              <a:gdLst>
                <a:gd name="connsiteX0" fmla="*/ 39529 w 46672"/>
                <a:gd name="connsiteY0" fmla="*/ 30480 h 30479"/>
                <a:gd name="connsiteX1" fmla="*/ 7144 w 46672"/>
                <a:gd name="connsiteY1" fmla="*/ 30480 h 30479"/>
                <a:gd name="connsiteX2" fmla="*/ 0 w 46672"/>
                <a:gd name="connsiteY2" fmla="*/ 23336 h 30479"/>
                <a:gd name="connsiteX3" fmla="*/ 0 w 46672"/>
                <a:gd name="connsiteY3" fmla="*/ 7144 h 30479"/>
                <a:gd name="connsiteX4" fmla="*/ 7144 w 46672"/>
                <a:gd name="connsiteY4" fmla="*/ 0 h 30479"/>
                <a:gd name="connsiteX5" fmla="*/ 39529 w 46672"/>
                <a:gd name="connsiteY5" fmla="*/ 0 h 30479"/>
                <a:gd name="connsiteX6" fmla="*/ 46673 w 46672"/>
                <a:gd name="connsiteY6" fmla="*/ 7144 h 30479"/>
                <a:gd name="connsiteX7" fmla="*/ 46673 w 46672"/>
                <a:gd name="connsiteY7" fmla="*/ 23336 h 30479"/>
                <a:gd name="connsiteX8" fmla="*/ 39529 w 46672"/>
                <a:gd name="connsiteY8" fmla="*/ 30480 h 30479"/>
                <a:gd name="connsiteX9" fmla="*/ 14288 w 46672"/>
                <a:gd name="connsiteY9" fmla="*/ 16192 h 30479"/>
                <a:gd name="connsiteX10" fmla="*/ 32385 w 46672"/>
                <a:gd name="connsiteY10" fmla="*/ 16192 h 30479"/>
                <a:gd name="connsiteX11" fmla="*/ 32385 w 46672"/>
                <a:gd name="connsiteY11" fmla="*/ 14287 h 30479"/>
                <a:gd name="connsiteX12" fmla="*/ 14288 w 46672"/>
                <a:gd name="connsiteY12" fmla="*/ 14287 h 30479"/>
                <a:gd name="connsiteX13" fmla="*/ 14288 w 46672"/>
                <a:gd name="connsiteY13" fmla="*/ 16192 h 30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30479">
                  <a:moveTo>
                    <a:pt x="39529" y="30480"/>
                  </a:moveTo>
                  <a:lnTo>
                    <a:pt x="7144" y="30480"/>
                  </a:lnTo>
                  <a:cubicBezTo>
                    <a:pt x="3238" y="30480"/>
                    <a:pt x="0" y="27241"/>
                    <a:pt x="0" y="23336"/>
                  </a:cubicBezTo>
                  <a:lnTo>
                    <a:pt x="0" y="7144"/>
                  </a:lnTo>
                  <a:cubicBezTo>
                    <a:pt x="0" y="3238"/>
                    <a:pt x="3238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3" y="3238"/>
                    <a:pt x="46673" y="7144"/>
                  </a:cubicBezTo>
                  <a:lnTo>
                    <a:pt x="46673" y="23336"/>
                  </a:lnTo>
                  <a:cubicBezTo>
                    <a:pt x="46673" y="27241"/>
                    <a:pt x="43529" y="30480"/>
                    <a:pt x="39529" y="30480"/>
                  </a:cubicBezTo>
                  <a:close/>
                  <a:moveTo>
                    <a:pt x="14288" y="16192"/>
                  </a:moveTo>
                  <a:lnTo>
                    <a:pt x="32385" y="16192"/>
                  </a:lnTo>
                  <a:lnTo>
                    <a:pt x="32385" y="14287"/>
                  </a:lnTo>
                  <a:lnTo>
                    <a:pt x="14288" y="14287"/>
                  </a:lnTo>
                  <a:lnTo>
                    <a:pt x="14288" y="1619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50" name="Grafik 5">
              <a:extLst>
                <a:ext uri="{FF2B5EF4-FFF2-40B4-BE49-F238E27FC236}">
                  <a16:creationId xmlns:a16="http://schemas.microsoft.com/office/drawing/2014/main" id="{AB67D47E-562E-0750-3A6E-D85E0A04959B}"/>
                </a:ext>
              </a:extLst>
            </p:cNvPr>
            <p:cNvSpPr/>
            <p:nvPr/>
          </p:nvSpPr>
          <p:spPr>
            <a:xfrm>
              <a:off x="6137052" y="3273741"/>
              <a:ext cx="46672" cy="30479"/>
            </a:xfrm>
            <a:custGeom>
              <a:avLst/>
              <a:gdLst>
                <a:gd name="connsiteX0" fmla="*/ 39529 w 46672"/>
                <a:gd name="connsiteY0" fmla="*/ 30480 h 30479"/>
                <a:gd name="connsiteX1" fmla="*/ 7144 w 46672"/>
                <a:gd name="connsiteY1" fmla="*/ 30480 h 30479"/>
                <a:gd name="connsiteX2" fmla="*/ 0 w 46672"/>
                <a:gd name="connsiteY2" fmla="*/ 23336 h 30479"/>
                <a:gd name="connsiteX3" fmla="*/ 0 w 46672"/>
                <a:gd name="connsiteY3" fmla="*/ 7144 h 30479"/>
                <a:gd name="connsiteX4" fmla="*/ 7144 w 46672"/>
                <a:gd name="connsiteY4" fmla="*/ 0 h 30479"/>
                <a:gd name="connsiteX5" fmla="*/ 39529 w 46672"/>
                <a:gd name="connsiteY5" fmla="*/ 0 h 30479"/>
                <a:gd name="connsiteX6" fmla="*/ 46672 w 46672"/>
                <a:gd name="connsiteY6" fmla="*/ 7144 h 30479"/>
                <a:gd name="connsiteX7" fmla="*/ 46672 w 46672"/>
                <a:gd name="connsiteY7" fmla="*/ 23336 h 30479"/>
                <a:gd name="connsiteX8" fmla="*/ 39529 w 46672"/>
                <a:gd name="connsiteY8" fmla="*/ 30480 h 30479"/>
                <a:gd name="connsiteX9" fmla="*/ 14288 w 46672"/>
                <a:gd name="connsiteY9" fmla="*/ 16192 h 30479"/>
                <a:gd name="connsiteX10" fmla="*/ 32385 w 46672"/>
                <a:gd name="connsiteY10" fmla="*/ 16192 h 30479"/>
                <a:gd name="connsiteX11" fmla="*/ 32385 w 46672"/>
                <a:gd name="connsiteY11" fmla="*/ 14288 h 30479"/>
                <a:gd name="connsiteX12" fmla="*/ 14288 w 46672"/>
                <a:gd name="connsiteY12" fmla="*/ 14288 h 30479"/>
                <a:gd name="connsiteX13" fmla="*/ 14288 w 46672"/>
                <a:gd name="connsiteY13" fmla="*/ 16192 h 30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30479">
                  <a:moveTo>
                    <a:pt x="39529" y="30480"/>
                  </a:moveTo>
                  <a:lnTo>
                    <a:pt x="7144" y="30480"/>
                  </a:lnTo>
                  <a:cubicBezTo>
                    <a:pt x="3239" y="30480"/>
                    <a:pt x="0" y="27242"/>
                    <a:pt x="0" y="23336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23336"/>
                  </a:lnTo>
                  <a:cubicBezTo>
                    <a:pt x="46672" y="27337"/>
                    <a:pt x="43529" y="30480"/>
                    <a:pt x="39529" y="30480"/>
                  </a:cubicBezTo>
                  <a:close/>
                  <a:moveTo>
                    <a:pt x="14288" y="16192"/>
                  </a:moveTo>
                  <a:lnTo>
                    <a:pt x="32385" y="16192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1619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51" name="Grafik 5">
              <a:extLst>
                <a:ext uri="{FF2B5EF4-FFF2-40B4-BE49-F238E27FC236}">
                  <a16:creationId xmlns:a16="http://schemas.microsoft.com/office/drawing/2014/main" id="{6ECE201E-F615-CC49-3C86-525FF49B7BBE}"/>
                </a:ext>
              </a:extLst>
            </p:cNvPr>
            <p:cNvSpPr/>
            <p:nvPr/>
          </p:nvSpPr>
          <p:spPr>
            <a:xfrm>
              <a:off x="6137052" y="3322414"/>
              <a:ext cx="46672" cy="30479"/>
            </a:xfrm>
            <a:custGeom>
              <a:avLst/>
              <a:gdLst>
                <a:gd name="connsiteX0" fmla="*/ 39529 w 46672"/>
                <a:gd name="connsiteY0" fmla="*/ 30480 h 30479"/>
                <a:gd name="connsiteX1" fmla="*/ 7144 w 46672"/>
                <a:gd name="connsiteY1" fmla="*/ 30480 h 30479"/>
                <a:gd name="connsiteX2" fmla="*/ 0 w 46672"/>
                <a:gd name="connsiteY2" fmla="*/ 23336 h 30479"/>
                <a:gd name="connsiteX3" fmla="*/ 0 w 46672"/>
                <a:gd name="connsiteY3" fmla="*/ 7144 h 30479"/>
                <a:gd name="connsiteX4" fmla="*/ 7144 w 46672"/>
                <a:gd name="connsiteY4" fmla="*/ 0 h 30479"/>
                <a:gd name="connsiteX5" fmla="*/ 39529 w 46672"/>
                <a:gd name="connsiteY5" fmla="*/ 0 h 30479"/>
                <a:gd name="connsiteX6" fmla="*/ 46672 w 46672"/>
                <a:gd name="connsiteY6" fmla="*/ 7144 h 30479"/>
                <a:gd name="connsiteX7" fmla="*/ 46672 w 46672"/>
                <a:gd name="connsiteY7" fmla="*/ 23336 h 30479"/>
                <a:gd name="connsiteX8" fmla="*/ 39529 w 46672"/>
                <a:gd name="connsiteY8" fmla="*/ 30480 h 30479"/>
                <a:gd name="connsiteX9" fmla="*/ 14288 w 46672"/>
                <a:gd name="connsiteY9" fmla="*/ 16192 h 30479"/>
                <a:gd name="connsiteX10" fmla="*/ 32385 w 46672"/>
                <a:gd name="connsiteY10" fmla="*/ 16192 h 30479"/>
                <a:gd name="connsiteX11" fmla="*/ 32385 w 46672"/>
                <a:gd name="connsiteY11" fmla="*/ 14287 h 30479"/>
                <a:gd name="connsiteX12" fmla="*/ 14288 w 46672"/>
                <a:gd name="connsiteY12" fmla="*/ 14287 h 30479"/>
                <a:gd name="connsiteX13" fmla="*/ 14288 w 46672"/>
                <a:gd name="connsiteY13" fmla="*/ 16192 h 30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30479">
                  <a:moveTo>
                    <a:pt x="39529" y="30480"/>
                  </a:moveTo>
                  <a:lnTo>
                    <a:pt x="7144" y="30480"/>
                  </a:lnTo>
                  <a:cubicBezTo>
                    <a:pt x="3239" y="30480"/>
                    <a:pt x="0" y="27241"/>
                    <a:pt x="0" y="23336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8"/>
                    <a:pt x="46672" y="7144"/>
                  </a:cubicBezTo>
                  <a:lnTo>
                    <a:pt x="46672" y="23336"/>
                  </a:lnTo>
                  <a:cubicBezTo>
                    <a:pt x="46672" y="27241"/>
                    <a:pt x="43529" y="30480"/>
                    <a:pt x="39529" y="30480"/>
                  </a:cubicBezTo>
                  <a:close/>
                  <a:moveTo>
                    <a:pt x="14288" y="16192"/>
                  </a:moveTo>
                  <a:lnTo>
                    <a:pt x="32385" y="16192"/>
                  </a:lnTo>
                  <a:lnTo>
                    <a:pt x="32385" y="14287"/>
                  </a:lnTo>
                  <a:lnTo>
                    <a:pt x="14288" y="14287"/>
                  </a:lnTo>
                  <a:lnTo>
                    <a:pt x="14288" y="1619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52" name="Grafik 5">
              <a:extLst>
                <a:ext uri="{FF2B5EF4-FFF2-40B4-BE49-F238E27FC236}">
                  <a16:creationId xmlns:a16="http://schemas.microsoft.com/office/drawing/2014/main" id="{A0A335FB-FCE1-B376-1E11-A693389C5B77}"/>
                </a:ext>
              </a:extLst>
            </p:cNvPr>
            <p:cNvSpPr/>
            <p:nvPr/>
          </p:nvSpPr>
          <p:spPr>
            <a:xfrm>
              <a:off x="5975060" y="3281933"/>
              <a:ext cx="176251" cy="62864"/>
            </a:xfrm>
            <a:custGeom>
              <a:avLst/>
              <a:gdLst>
                <a:gd name="connsiteX0" fmla="*/ 169136 w 176251"/>
                <a:gd name="connsiteY0" fmla="*/ 62865 h 62864"/>
                <a:gd name="connsiteX1" fmla="*/ 7116 w 176251"/>
                <a:gd name="connsiteY1" fmla="*/ 62865 h 62864"/>
                <a:gd name="connsiteX2" fmla="*/ 67 w 176251"/>
                <a:gd name="connsiteY2" fmla="*/ 56769 h 62864"/>
                <a:gd name="connsiteX3" fmla="*/ 5115 w 176251"/>
                <a:gd name="connsiteY3" fmla="*/ 48863 h 62864"/>
                <a:gd name="connsiteX4" fmla="*/ 63313 w 176251"/>
                <a:gd name="connsiteY4" fmla="*/ 31432 h 62864"/>
                <a:gd name="connsiteX5" fmla="*/ 5115 w 176251"/>
                <a:gd name="connsiteY5" fmla="*/ 14002 h 62864"/>
                <a:gd name="connsiteX6" fmla="*/ 67 w 176251"/>
                <a:gd name="connsiteY6" fmla="*/ 6096 h 62864"/>
                <a:gd name="connsiteX7" fmla="*/ 7116 w 176251"/>
                <a:gd name="connsiteY7" fmla="*/ 0 h 62864"/>
                <a:gd name="connsiteX8" fmla="*/ 169136 w 176251"/>
                <a:gd name="connsiteY8" fmla="*/ 0 h 62864"/>
                <a:gd name="connsiteX9" fmla="*/ 176184 w 176251"/>
                <a:gd name="connsiteY9" fmla="*/ 6096 h 62864"/>
                <a:gd name="connsiteX10" fmla="*/ 171136 w 176251"/>
                <a:gd name="connsiteY10" fmla="*/ 14002 h 62864"/>
                <a:gd name="connsiteX11" fmla="*/ 112938 w 176251"/>
                <a:gd name="connsiteY11" fmla="*/ 31432 h 62864"/>
                <a:gd name="connsiteX12" fmla="*/ 171136 w 176251"/>
                <a:gd name="connsiteY12" fmla="*/ 48863 h 62864"/>
                <a:gd name="connsiteX13" fmla="*/ 176184 w 176251"/>
                <a:gd name="connsiteY13" fmla="*/ 56769 h 62864"/>
                <a:gd name="connsiteX14" fmla="*/ 169136 w 176251"/>
                <a:gd name="connsiteY14" fmla="*/ 62865 h 62864"/>
                <a:gd name="connsiteX15" fmla="*/ 55788 w 176251"/>
                <a:gd name="connsiteY15" fmla="*/ 48577 h 62864"/>
                <a:gd name="connsiteX16" fmla="*/ 120463 w 176251"/>
                <a:gd name="connsiteY16" fmla="*/ 48577 h 62864"/>
                <a:gd name="connsiteX17" fmla="*/ 88173 w 176251"/>
                <a:gd name="connsiteY17" fmla="*/ 38862 h 62864"/>
                <a:gd name="connsiteX18" fmla="*/ 55788 w 176251"/>
                <a:gd name="connsiteY18" fmla="*/ 48577 h 62864"/>
                <a:gd name="connsiteX19" fmla="*/ 55788 w 176251"/>
                <a:gd name="connsiteY19" fmla="*/ 14192 h 62864"/>
                <a:gd name="connsiteX20" fmla="*/ 88078 w 176251"/>
                <a:gd name="connsiteY20" fmla="*/ 23908 h 62864"/>
                <a:gd name="connsiteX21" fmla="*/ 120368 w 176251"/>
                <a:gd name="connsiteY21" fmla="*/ 14192 h 62864"/>
                <a:gd name="connsiteX22" fmla="*/ 55788 w 176251"/>
                <a:gd name="connsiteY22" fmla="*/ 14192 h 62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76251" h="62864">
                  <a:moveTo>
                    <a:pt x="169136" y="62865"/>
                  </a:moveTo>
                  <a:lnTo>
                    <a:pt x="7116" y="62865"/>
                  </a:lnTo>
                  <a:cubicBezTo>
                    <a:pt x="3591" y="62865"/>
                    <a:pt x="543" y="60293"/>
                    <a:pt x="67" y="56769"/>
                  </a:cubicBezTo>
                  <a:cubicBezTo>
                    <a:pt x="-409" y="53245"/>
                    <a:pt x="1686" y="49911"/>
                    <a:pt x="5115" y="48863"/>
                  </a:cubicBezTo>
                  <a:lnTo>
                    <a:pt x="63313" y="31432"/>
                  </a:lnTo>
                  <a:lnTo>
                    <a:pt x="5115" y="14002"/>
                  </a:lnTo>
                  <a:cubicBezTo>
                    <a:pt x="1686" y="12954"/>
                    <a:pt x="-409" y="9620"/>
                    <a:pt x="67" y="6096"/>
                  </a:cubicBezTo>
                  <a:cubicBezTo>
                    <a:pt x="543" y="2572"/>
                    <a:pt x="3591" y="0"/>
                    <a:pt x="7116" y="0"/>
                  </a:cubicBezTo>
                  <a:lnTo>
                    <a:pt x="169136" y="0"/>
                  </a:lnTo>
                  <a:cubicBezTo>
                    <a:pt x="172660" y="0"/>
                    <a:pt x="175708" y="2572"/>
                    <a:pt x="176184" y="6096"/>
                  </a:cubicBezTo>
                  <a:cubicBezTo>
                    <a:pt x="176661" y="9620"/>
                    <a:pt x="174565" y="12954"/>
                    <a:pt x="171136" y="14002"/>
                  </a:cubicBezTo>
                  <a:lnTo>
                    <a:pt x="112938" y="31432"/>
                  </a:lnTo>
                  <a:lnTo>
                    <a:pt x="171136" y="48863"/>
                  </a:lnTo>
                  <a:cubicBezTo>
                    <a:pt x="174565" y="49911"/>
                    <a:pt x="176661" y="53245"/>
                    <a:pt x="176184" y="56769"/>
                  </a:cubicBezTo>
                  <a:cubicBezTo>
                    <a:pt x="175708" y="60198"/>
                    <a:pt x="172660" y="62865"/>
                    <a:pt x="169136" y="62865"/>
                  </a:cubicBezTo>
                  <a:close/>
                  <a:moveTo>
                    <a:pt x="55788" y="48577"/>
                  </a:moveTo>
                  <a:lnTo>
                    <a:pt x="120463" y="48577"/>
                  </a:lnTo>
                  <a:lnTo>
                    <a:pt x="88173" y="38862"/>
                  </a:lnTo>
                  <a:lnTo>
                    <a:pt x="55788" y="48577"/>
                  </a:lnTo>
                  <a:close/>
                  <a:moveTo>
                    <a:pt x="55788" y="14192"/>
                  </a:moveTo>
                  <a:lnTo>
                    <a:pt x="88078" y="23908"/>
                  </a:lnTo>
                  <a:lnTo>
                    <a:pt x="120368" y="14192"/>
                  </a:lnTo>
                  <a:lnTo>
                    <a:pt x="55788" y="1419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438916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1F18619C-C7AF-847E-2477-42C18F755F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61485" y="1654810"/>
            <a:ext cx="3669030" cy="354838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807D037A-F79F-11F2-8223-2DF77E101B72}"/>
              </a:ext>
            </a:extLst>
          </p:cNvPr>
          <p:cNvSpPr/>
          <p:nvPr/>
        </p:nvSpPr>
        <p:spPr>
          <a:xfrm>
            <a:off x="4265945" y="2756581"/>
            <a:ext cx="3664569" cy="36576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D816606-87CE-E5C6-8CE0-63D73A606E3B}"/>
              </a:ext>
            </a:extLst>
          </p:cNvPr>
          <p:cNvSpPr/>
          <p:nvPr/>
        </p:nvSpPr>
        <p:spPr>
          <a:xfrm>
            <a:off x="4261485" y="4568283"/>
            <a:ext cx="3664569" cy="25350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215B222-8207-D6B6-3D6F-450D49DF386F}"/>
              </a:ext>
            </a:extLst>
          </p:cNvPr>
          <p:cNvSpPr/>
          <p:nvPr/>
        </p:nvSpPr>
        <p:spPr>
          <a:xfrm>
            <a:off x="4261485" y="4834811"/>
            <a:ext cx="3664569" cy="36576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AACB35D-3089-23E3-490B-E83B5CAD70F3}"/>
              </a:ext>
            </a:extLst>
          </p:cNvPr>
          <p:cNvSpPr/>
          <p:nvPr/>
        </p:nvSpPr>
        <p:spPr>
          <a:xfrm>
            <a:off x="4261484" y="3135365"/>
            <a:ext cx="3664569" cy="25350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DDBE1D0-0938-6885-A50F-67756DAC1854}"/>
              </a:ext>
            </a:extLst>
          </p:cNvPr>
          <p:cNvCxnSpPr>
            <a:cxnSpLocks/>
          </p:cNvCxnSpPr>
          <p:nvPr/>
        </p:nvCxnSpPr>
        <p:spPr>
          <a:xfrm>
            <a:off x="4261484" y="3975039"/>
            <a:ext cx="2451550" cy="0"/>
          </a:xfrm>
          <a:prstGeom prst="line">
            <a:avLst/>
          </a:prstGeom>
          <a:ln w="127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F161854-6DEA-B0D0-1630-09B23C46D599}"/>
              </a:ext>
            </a:extLst>
          </p:cNvPr>
          <p:cNvCxnSpPr>
            <a:cxnSpLocks/>
          </p:cNvCxnSpPr>
          <p:nvPr/>
        </p:nvCxnSpPr>
        <p:spPr>
          <a:xfrm>
            <a:off x="4261484" y="2160364"/>
            <a:ext cx="2451550" cy="0"/>
          </a:xfrm>
          <a:prstGeom prst="line">
            <a:avLst/>
          </a:prstGeom>
          <a:ln w="127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70574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Chart&#10;&#10;Description automatically generated">
            <a:extLst>
              <a:ext uri="{FF2B5EF4-FFF2-40B4-BE49-F238E27FC236}">
                <a16:creationId xmlns:a16="http://schemas.microsoft.com/office/drawing/2014/main" id="{AFF917A3-3554-EC00-B9FB-8F99E1B0F65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25" t="12954" r="879" b="805"/>
          <a:stretch/>
        </p:blipFill>
        <p:spPr bwMode="auto">
          <a:xfrm>
            <a:off x="3259772" y="1416685"/>
            <a:ext cx="5672455" cy="402463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A8FE217-F855-3E71-9435-E97A155748B6}"/>
              </a:ext>
            </a:extLst>
          </p:cNvPr>
          <p:cNvSpPr txBox="1"/>
          <p:nvPr/>
        </p:nvSpPr>
        <p:spPr>
          <a:xfrm>
            <a:off x="3363849" y="3250307"/>
            <a:ext cx="564578" cy="27699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200" dirty="0"/>
              <a:t>VPLS1</a:t>
            </a:r>
            <a:endParaRPr lang="en-DE" sz="12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C7BB033-55DF-EDC1-1282-5F5F6F068C5E}"/>
              </a:ext>
            </a:extLst>
          </p:cNvPr>
          <p:cNvSpPr txBox="1"/>
          <p:nvPr/>
        </p:nvSpPr>
        <p:spPr>
          <a:xfrm>
            <a:off x="6962834" y="5090830"/>
            <a:ext cx="564578" cy="27699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200" dirty="0"/>
              <a:t>VPLS1</a:t>
            </a:r>
            <a:endParaRPr lang="en-DE" sz="12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B8A5582-64A9-3BF9-9032-0AF99A0CE9CA}"/>
              </a:ext>
            </a:extLst>
          </p:cNvPr>
          <p:cNvSpPr txBox="1"/>
          <p:nvPr/>
        </p:nvSpPr>
        <p:spPr>
          <a:xfrm>
            <a:off x="3363849" y="5146731"/>
            <a:ext cx="564578" cy="276999"/>
          </a:xfrm>
          <a:prstGeom prst="rect">
            <a:avLst/>
          </a:prstGeom>
          <a:solidFill>
            <a:srgbClr val="E6B4BF"/>
          </a:solidFill>
        </p:spPr>
        <p:txBody>
          <a:bodyPr wrap="square" rtlCol="0">
            <a:spAutoFit/>
          </a:bodyPr>
          <a:lstStyle/>
          <a:p>
            <a:r>
              <a:rPr lang="en-US" sz="1200" dirty="0"/>
              <a:t>VPLS2</a:t>
            </a:r>
            <a:endParaRPr lang="en-DE" sz="12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BF32DAC-5C5B-989E-0241-EBEECA9F3EBD}"/>
              </a:ext>
            </a:extLst>
          </p:cNvPr>
          <p:cNvSpPr txBox="1"/>
          <p:nvPr/>
        </p:nvSpPr>
        <p:spPr>
          <a:xfrm>
            <a:off x="6756842" y="3152001"/>
            <a:ext cx="564578" cy="276999"/>
          </a:xfrm>
          <a:prstGeom prst="rect">
            <a:avLst/>
          </a:prstGeom>
          <a:solidFill>
            <a:srgbClr val="E6B4BF"/>
          </a:solidFill>
        </p:spPr>
        <p:txBody>
          <a:bodyPr wrap="square" rtlCol="0">
            <a:spAutoFit/>
          </a:bodyPr>
          <a:lstStyle/>
          <a:p>
            <a:r>
              <a:rPr lang="en-US" sz="1200" dirty="0"/>
              <a:t>VPLS2</a:t>
            </a:r>
            <a:endParaRPr lang="en-DE" sz="12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05894C8-CFB8-E8C7-E671-52D7BD08491C}"/>
              </a:ext>
            </a:extLst>
          </p:cNvPr>
          <p:cNvSpPr txBox="1"/>
          <p:nvPr/>
        </p:nvSpPr>
        <p:spPr>
          <a:xfrm>
            <a:off x="3136826" y="3980169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1</a:t>
            </a:r>
            <a:endParaRPr lang="en-DE" sz="12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99CBF04-A566-64CB-B133-0967A3BD996E}"/>
              </a:ext>
            </a:extLst>
          </p:cNvPr>
          <p:cNvSpPr txBox="1"/>
          <p:nvPr/>
        </p:nvSpPr>
        <p:spPr>
          <a:xfrm>
            <a:off x="3136826" y="4369023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2</a:t>
            </a:r>
            <a:endParaRPr lang="en-DE" sz="12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B819FD5-0B57-201E-BA0F-24C23616331F}"/>
              </a:ext>
            </a:extLst>
          </p:cNvPr>
          <p:cNvSpPr txBox="1"/>
          <p:nvPr/>
        </p:nvSpPr>
        <p:spPr>
          <a:xfrm>
            <a:off x="4538571" y="3613722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3</a:t>
            </a:r>
            <a:endParaRPr lang="en-DE" sz="12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381E299-9BEB-FBD4-F631-D41A8221E7DE}"/>
              </a:ext>
            </a:extLst>
          </p:cNvPr>
          <p:cNvSpPr txBox="1"/>
          <p:nvPr/>
        </p:nvSpPr>
        <p:spPr>
          <a:xfrm>
            <a:off x="4538571" y="4646022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4</a:t>
            </a:r>
            <a:endParaRPr lang="en-DE" sz="12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3AE91C7-6274-574B-FF94-3AADD9F78B7C}"/>
              </a:ext>
            </a:extLst>
          </p:cNvPr>
          <p:cNvSpPr txBox="1"/>
          <p:nvPr/>
        </p:nvSpPr>
        <p:spPr>
          <a:xfrm>
            <a:off x="5741024" y="3613721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5</a:t>
            </a:r>
            <a:endParaRPr lang="en-DE" sz="12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BD79E4D-4A7F-3AAB-8C11-9997CCC2140F}"/>
              </a:ext>
            </a:extLst>
          </p:cNvPr>
          <p:cNvSpPr txBox="1"/>
          <p:nvPr/>
        </p:nvSpPr>
        <p:spPr>
          <a:xfrm>
            <a:off x="5752237" y="4646021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6</a:t>
            </a:r>
            <a:endParaRPr lang="en-DE" sz="12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31F625C-F999-9216-4168-F948A40E551B}"/>
              </a:ext>
            </a:extLst>
          </p:cNvPr>
          <p:cNvSpPr txBox="1"/>
          <p:nvPr/>
        </p:nvSpPr>
        <p:spPr>
          <a:xfrm>
            <a:off x="7167890" y="3977153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7</a:t>
            </a:r>
            <a:endParaRPr lang="en-DE" sz="12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0471018-0BC1-7BC0-94F6-A54B8E768672}"/>
              </a:ext>
            </a:extLst>
          </p:cNvPr>
          <p:cNvSpPr txBox="1"/>
          <p:nvPr/>
        </p:nvSpPr>
        <p:spPr>
          <a:xfrm>
            <a:off x="7167890" y="4335928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8</a:t>
            </a:r>
            <a:endParaRPr lang="en-DE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6924B0F-FDDB-59A4-2454-E6CEB8F58F0D}"/>
              </a:ext>
            </a:extLst>
          </p:cNvPr>
          <p:cNvSpPr txBox="1"/>
          <p:nvPr/>
        </p:nvSpPr>
        <p:spPr>
          <a:xfrm>
            <a:off x="3629391" y="3475221"/>
            <a:ext cx="3934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H1</a:t>
            </a:r>
            <a:endParaRPr lang="en-DE" sz="12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2C4D054-2261-22FD-4D99-4AE0B75A7223}"/>
              </a:ext>
            </a:extLst>
          </p:cNvPr>
          <p:cNvSpPr txBox="1"/>
          <p:nvPr/>
        </p:nvSpPr>
        <p:spPr>
          <a:xfrm>
            <a:off x="3623785" y="4864790"/>
            <a:ext cx="3934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H2</a:t>
            </a:r>
            <a:endParaRPr lang="en-DE" sz="12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6C442B2-CC6A-F136-39EE-A22CCFC676BF}"/>
              </a:ext>
            </a:extLst>
          </p:cNvPr>
          <p:cNvSpPr txBox="1"/>
          <p:nvPr/>
        </p:nvSpPr>
        <p:spPr>
          <a:xfrm>
            <a:off x="6851628" y="3388806"/>
            <a:ext cx="3934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1</a:t>
            </a:r>
            <a:endParaRPr lang="en-DE" sz="12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A79BE21-5316-6E49-8C78-672F9580DE00}"/>
              </a:ext>
            </a:extLst>
          </p:cNvPr>
          <p:cNvSpPr txBox="1"/>
          <p:nvPr/>
        </p:nvSpPr>
        <p:spPr>
          <a:xfrm>
            <a:off x="6892105" y="4813831"/>
            <a:ext cx="3934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2</a:t>
            </a:r>
            <a:endParaRPr lang="en-DE" sz="1200" dirty="0"/>
          </a:p>
        </p:txBody>
      </p:sp>
    </p:spTree>
    <p:extLst>
      <p:ext uri="{BB962C8B-B14F-4D97-AF65-F5344CB8AC3E}">
        <p14:creationId xmlns:p14="http://schemas.microsoft.com/office/powerpoint/2010/main" val="5095696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Timeline&#10;&#10;Description automatically generated">
            <a:extLst>
              <a:ext uri="{FF2B5EF4-FFF2-40B4-BE49-F238E27FC236}">
                <a16:creationId xmlns:a16="http://schemas.microsoft.com/office/drawing/2014/main" id="{F52AC3C3-CCE5-8555-6603-A9F667C504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15854" y="1586648"/>
            <a:ext cx="6403705" cy="415831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A8FE217-F855-3E71-9435-E97A155748B6}"/>
              </a:ext>
            </a:extLst>
          </p:cNvPr>
          <p:cNvSpPr txBox="1"/>
          <p:nvPr/>
        </p:nvSpPr>
        <p:spPr>
          <a:xfrm>
            <a:off x="3136826" y="2856889"/>
            <a:ext cx="564578" cy="27699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200" dirty="0"/>
              <a:t>VPLS1</a:t>
            </a:r>
            <a:endParaRPr lang="en-DE" sz="12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C7BB033-55DF-EDC1-1282-5F5F6F068C5E}"/>
              </a:ext>
            </a:extLst>
          </p:cNvPr>
          <p:cNvSpPr txBox="1"/>
          <p:nvPr/>
        </p:nvSpPr>
        <p:spPr>
          <a:xfrm>
            <a:off x="7106373" y="5429916"/>
            <a:ext cx="564578" cy="27699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200" dirty="0"/>
              <a:t>VPLS1</a:t>
            </a:r>
            <a:endParaRPr lang="en-DE" sz="12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B8A5582-64A9-3BF9-9032-0AF99A0CE9CA}"/>
              </a:ext>
            </a:extLst>
          </p:cNvPr>
          <p:cNvSpPr txBox="1"/>
          <p:nvPr/>
        </p:nvSpPr>
        <p:spPr>
          <a:xfrm>
            <a:off x="3055841" y="5438848"/>
            <a:ext cx="564578" cy="276999"/>
          </a:xfrm>
          <a:prstGeom prst="rect">
            <a:avLst/>
          </a:prstGeom>
          <a:solidFill>
            <a:srgbClr val="E6B4BF"/>
          </a:solidFill>
        </p:spPr>
        <p:txBody>
          <a:bodyPr wrap="square" rtlCol="0">
            <a:spAutoFit/>
          </a:bodyPr>
          <a:lstStyle/>
          <a:p>
            <a:r>
              <a:rPr lang="en-US" sz="1200" dirty="0"/>
              <a:t>VPLS2</a:t>
            </a:r>
            <a:endParaRPr lang="en-DE" sz="12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BF32DAC-5C5B-989E-0241-EBEECA9F3EBD}"/>
              </a:ext>
            </a:extLst>
          </p:cNvPr>
          <p:cNvSpPr txBox="1"/>
          <p:nvPr/>
        </p:nvSpPr>
        <p:spPr>
          <a:xfrm>
            <a:off x="7088852" y="2856889"/>
            <a:ext cx="564578" cy="276999"/>
          </a:xfrm>
          <a:prstGeom prst="rect">
            <a:avLst/>
          </a:prstGeom>
          <a:solidFill>
            <a:srgbClr val="E6B4BF"/>
          </a:solidFill>
        </p:spPr>
        <p:txBody>
          <a:bodyPr wrap="square" rtlCol="0">
            <a:spAutoFit/>
          </a:bodyPr>
          <a:lstStyle/>
          <a:p>
            <a:r>
              <a:rPr lang="en-US" sz="1200" dirty="0"/>
              <a:t>VPLS2</a:t>
            </a:r>
            <a:endParaRPr lang="en-DE" sz="12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05894C8-CFB8-E8C7-E671-52D7BD08491C}"/>
              </a:ext>
            </a:extLst>
          </p:cNvPr>
          <p:cNvSpPr txBox="1"/>
          <p:nvPr/>
        </p:nvSpPr>
        <p:spPr>
          <a:xfrm>
            <a:off x="2935342" y="3950739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1</a:t>
            </a:r>
            <a:endParaRPr lang="en-DE" sz="12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99CBF04-A566-64CB-B133-0967A3BD996E}"/>
              </a:ext>
            </a:extLst>
          </p:cNvPr>
          <p:cNvSpPr txBox="1"/>
          <p:nvPr/>
        </p:nvSpPr>
        <p:spPr>
          <a:xfrm>
            <a:off x="2935342" y="4426535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2</a:t>
            </a:r>
            <a:endParaRPr lang="en-DE" sz="12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B819FD5-0B57-201E-BA0F-24C23616331F}"/>
              </a:ext>
            </a:extLst>
          </p:cNvPr>
          <p:cNvSpPr txBox="1"/>
          <p:nvPr/>
        </p:nvSpPr>
        <p:spPr>
          <a:xfrm>
            <a:off x="4368530" y="3613721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3</a:t>
            </a:r>
            <a:endParaRPr lang="en-DE" sz="12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381E299-9BEB-FBD4-F631-D41A8221E7DE}"/>
              </a:ext>
            </a:extLst>
          </p:cNvPr>
          <p:cNvSpPr txBox="1"/>
          <p:nvPr/>
        </p:nvSpPr>
        <p:spPr>
          <a:xfrm>
            <a:off x="4587234" y="4761775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4</a:t>
            </a:r>
            <a:endParaRPr lang="en-DE" sz="12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3AE91C7-6274-574B-FF94-3AADD9F78B7C}"/>
              </a:ext>
            </a:extLst>
          </p:cNvPr>
          <p:cNvSpPr txBox="1"/>
          <p:nvPr/>
        </p:nvSpPr>
        <p:spPr>
          <a:xfrm>
            <a:off x="5752237" y="3613721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5</a:t>
            </a:r>
            <a:endParaRPr lang="en-DE" sz="12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BD79E4D-4A7F-3AAB-8C11-9997CCC2140F}"/>
              </a:ext>
            </a:extLst>
          </p:cNvPr>
          <p:cNvSpPr txBox="1"/>
          <p:nvPr/>
        </p:nvSpPr>
        <p:spPr>
          <a:xfrm>
            <a:off x="5986288" y="4761775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6</a:t>
            </a:r>
            <a:endParaRPr lang="en-DE" sz="12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31F625C-F999-9216-4168-F948A40E551B}"/>
              </a:ext>
            </a:extLst>
          </p:cNvPr>
          <p:cNvSpPr txBox="1"/>
          <p:nvPr/>
        </p:nvSpPr>
        <p:spPr>
          <a:xfrm>
            <a:off x="7371141" y="3943868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7</a:t>
            </a:r>
            <a:endParaRPr lang="en-DE" sz="12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0471018-0BC1-7BC0-94F6-A54B8E768672}"/>
              </a:ext>
            </a:extLst>
          </p:cNvPr>
          <p:cNvSpPr txBox="1"/>
          <p:nvPr/>
        </p:nvSpPr>
        <p:spPr>
          <a:xfrm>
            <a:off x="7371141" y="4426535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8</a:t>
            </a:r>
            <a:endParaRPr lang="en-DE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6924B0F-FDDB-59A4-2454-E6CEB8F58F0D}"/>
              </a:ext>
            </a:extLst>
          </p:cNvPr>
          <p:cNvSpPr txBox="1"/>
          <p:nvPr/>
        </p:nvSpPr>
        <p:spPr>
          <a:xfrm>
            <a:off x="3338130" y="3131583"/>
            <a:ext cx="3934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H1</a:t>
            </a:r>
            <a:endParaRPr lang="en-DE" sz="12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2C4D054-2261-22FD-4D99-4AE0B75A7223}"/>
              </a:ext>
            </a:extLst>
          </p:cNvPr>
          <p:cNvSpPr txBox="1"/>
          <p:nvPr/>
        </p:nvSpPr>
        <p:spPr>
          <a:xfrm>
            <a:off x="3338130" y="5114870"/>
            <a:ext cx="3934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H2</a:t>
            </a:r>
            <a:endParaRPr lang="en-DE" sz="12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6C442B2-CC6A-F136-39EE-A22CCFC676BF}"/>
              </a:ext>
            </a:extLst>
          </p:cNvPr>
          <p:cNvSpPr txBox="1"/>
          <p:nvPr/>
        </p:nvSpPr>
        <p:spPr>
          <a:xfrm>
            <a:off x="6995167" y="3127405"/>
            <a:ext cx="3934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1</a:t>
            </a:r>
            <a:endParaRPr lang="en-DE" sz="12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A79BE21-5316-6E49-8C78-672F9580DE00}"/>
              </a:ext>
            </a:extLst>
          </p:cNvPr>
          <p:cNvSpPr txBox="1"/>
          <p:nvPr/>
        </p:nvSpPr>
        <p:spPr>
          <a:xfrm>
            <a:off x="6995167" y="5114870"/>
            <a:ext cx="3934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2</a:t>
            </a:r>
            <a:endParaRPr lang="en-DE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047CF0F-E2C6-9053-9CE8-22F0F971C864}"/>
              </a:ext>
            </a:extLst>
          </p:cNvPr>
          <p:cNvSpPr txBox="1"/>
          <p:nvPr/>
        </p:nvSpPr>
        <p:spPr>
          <a:xfrm>
            <a:off x="4368530" y="5429915"/>
            <a:ext cx="564578" cy="276999"/>
          </a:xfrm>
          <a:prstGeom prst="rect">
            <a:avLst/>
          </a:prstGeom>
          <a:solidFill>
            <a:srgbClr val="E6B4BF"/>
          </a:solidFill>
        </p:spPr>
        <p:txBody>
          <a:bodyPr wrap="square" rtlCol="0">
            <a:spAutoFit/>
          </a:bodyPr>
          <a:lstStyle/>
          <a:p>
            <a:r>
              <a:rPr lang="en-US" sz="1200" dirty="0"/>
              <a:t>VPLS2</a:t>
            </a:r>
            <a:endParaRPr lang="en-DE" sz="12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616DAB3-DD96-F824-AC98-C10A6D1F801C}"/>
              </a:ext>
            </a:extLst>
          </p:cNvPr>
          <p:cNvSpPr txBox="1"/>
          <p:nvPr/>
        </p:nvSpPr>
        <p:spPr>
          <a:xfrm>
            <a:off x="5752237" y="5438847"/>
            <a:ext cx="564578" cy="27699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200" dirty="0"/>
              <a:t>VPLS1</a:t>
            </a:r>
            <a:endParaRPr lang="en-DE" sz="120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8BA4288-124B-6C3B-4C60-6778631F94FD}"/>
              </a:ext>
            </a:extLst>
          </p:cNvPr>
          <p:cNvSpPr txBox="1"/>
          <p:nvPr/>
        </p:nvSpPr>
        <p:spPr>
          <a:xfrm>
            <a:off x="4261467" y="5114870"/>
            <a:ext cx="3934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H3</a:t>
            </a:r>
            <a:endParaRPr lang="en-DE" sz="12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2BC52AE-E372-07A0-C9C1-7C140A94A378}"/>
              </a:ext>
            </a:extLst>
          </p:cNvPr>
          <p:cNvSpPr txBox="1"/>
          <p:nvPr/>
        </p:nvSpPr>
        <p:spPr>
          <a:xfrm>
            <a:off x="6071830" y="5114869"/>
            <a:ext cx="3934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3</a:t>
            </a:r>
            <a:endParaRPr lang="en-DE" sz="1200" dirty="0"/>
          </a:p>
        </p:txBody>
      </p:sp>
    </p:spTree>
    <p:extLst>
      <p:ext uri="{BB962C8B-B14F-4D97-AF65-F5344CB8AC3E}">
        <p14:creationId xmlns:p14="http://schemas.microsoft.com/office/powerpoint/2010/main" val="38255075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A02CAD-32B4-F5EF-6457-A5434BA24A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9103" y="129396"/>
            <a:ext cx="11761839" cy="6650966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Atomix Cluster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{ 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Set the cluster ID : {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onos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Set the node ID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atomix-number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}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Set the IP address of atomix container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x.x.y.y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}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Set the port number to lister to onos : {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5679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endParaRPr lang="en-US" sz="2000" dirty="0">
              <a:solidFill>
                <a:schemeClr val="accent2">
                  <a:lumMod val="75000"/>
                </a:schemeClr>
              </a:solidFill>
              <a:latin typeface="Bahnschrift Light Condensed" panose="020B0502040204020203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# List of atomix containers part of the cluster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</a:t>
            </a:r>
            <a:r>
              <a:rPr lang="en-US" sz="2000" i="1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Discovery: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	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node ID and IP address of atomix container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endParaRPr lang="en-US" sz="2000" dirty="0">
              <a:solidFill>
                <a:schemeClr val="accent2">
                  <a:lumMod val="75000"/>
                </a:schemeClr>
              </a:solidFill>
              <a:latin typeface="Bahnschrift Light Condensed" panose="020B0502040204020203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 # Specify the management group information for configuration of managing primitives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</a:t>
            </a: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type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raft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</a:t>
            </a: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partitions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number of partitions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</a:t>
            </a: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members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node IDs of atomix container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endParaRPr lang="en-US" sz="2000" dirty="0">
              <a:latin typeface="Bahnschrift Light Condensed" panose="020B0502040204020203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 # Specify the partition group information for configuration of primitive storage and replication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</a:t>
            </a: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type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raft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</a:t>
            </a: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partitions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number of partitions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</a:t>
            </a: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members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node IDs of atomix container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} </a:t>
            </a:r>
            <a:endParaRPr lang="en-DE" sz="2000" dirty="0">
              <a:latin typeface="Bahnschrift Light Condensed" panose="020B0502040204020203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93829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A02CAD-32B4-F5EF-6457-A5434BA24A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9103" y="129396"/>
            <a:ext cx="11761839" cy="665096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ONOS Cluster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{ 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Set the name : {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onos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        Set the node ID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onos-number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}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Set the IP address of onos container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x.x.y.y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}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Set the port number : {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9876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endParaRPr lang="en-US" sz="2000" dirty="0">
              <a:solidFill>
                <a:schemeClr val="accent2">
                  <a:lumMod val="75000"/>
                </a:schemeClr>
              </a:solidFill>
              <a:latin typeface="Bahnschrift Light Condensed" panose="020B0502040204020203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# Specify the information about atomix cluster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        </a:t>
            </a:r>
            <a:r>
              <a:rPr lang="en-US" sz="2000" i="1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Storage: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	{</a:t>
            </a:r>
            <a:endParaRPr lang="en-US" sz="2000" dirty="0">
              <a:solidFill>
                <a:schemeClr val="accent2">
                  <a:lumMod val="75000"/>
                </a:schemeClr>
              </a:solidFill>
              <a:latin typeface="Bahnschrift Light Condensed" panose="020B0502040204020203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	</a:t>
            </a: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IP address of atomix container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raft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	</a:t>
            </a: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node ID of atomix container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raft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	         port number of atomix container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5679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	}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}</a:t>
            </a:r>
            <a:endParaRPr lang="en-DE" sz="2000" dirty="0">
              <a:latin typeface="Bahnschrift Light Condensed" panose="020B0502040204020203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42163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999</Words>
  <Application>Microsoft Office PowerPoint</Application>
  <PresentationFormat>Widescreen</PresentationFormat>
  <Paragraphs>750</Paragraphs>
  <Slides>4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4</vt:i4>
      </vt:variant>
    </vt:vector>
  </HeadingPairs>
  <TitlesOfParts>
    <vt:vector size="51" baseType="lpstr">
      <vt:lpstr>Arial</vt:lpstr>
      <vt:lpstr>Bahnschrift Light Condensed</vt:lpstr>
      <vt:lpstr>Calibri</vt:lpstr>
      <vt:lpstr>Calibri Light</vt:lpstr>
      <vt:lpstr>Times New Roman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rshal Rajan Vaze</dc:creator>
  <cp:lastModifiedBy>Harshal Vaze</cp:lastModifiedBy>
  <cp:revision>136</cp:revision>
  <dcterms:created xsi:type="dcterms:W3CDTF">2022-07-08T09:27:23Z</dcterms:created>
  <dcterms:modified xsi:type="dcterms:W3CDTF">2022-10-04T20:47:51Z</dcterms:modified>
</cp:coreProperties>
</file>